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av" ContentType="audio/x-wav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4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</p:sldMasterIdLst>
  <p:notesMasterIdLst>
    <p:notesMasterId r:id="rId46"/>
  </p:notesMasterIdLst>
  <p:sldIdLst>
    <p:sldId id="261" r:id="rId2"/>
    <p:sldId id="259" r:id="rId3"/>
    <p:sldId id="770" r:id="rId4"/>
    <p:sldId id="997" r:id="rId5"/>
    <p:sldId id="3988" r:id="rId6"/>
    <p:sldId id="3989" r:id="rId7"/>
    <p:sldId id="3990" r:id="rId8"/>
    <p:sldId id="1000" r:id="rId9"/>
    <p:sldId id="3991" r:id="rId10"/>
    <p:sldId id="1017" r:id="rId11"/>
    <p:sldId id="1001" r:id="rId12"/>
    <p:sldId id="3992" r:id="rId13"/>
    <p:sldId id="1002" r:id="rId14"/>
    <p:sldId id="4008" r:id="rId15"/>
    <p:sldId id="3993" r:id="rId16"/>
    <p:sldId id="3994" r:id="rId17"/>
    <p:sldId id="4009" r:id="rId18"/>
    <p:sldId id="3995" r:id="rId19"/>
    <p:sldId id="4010" r:id="rId20"/>
    <p:sldId id="1005" r:id="rId21"/>
    <p:sldId id="3996" r:id="rId22"/>
    <p:sldId id="1006" r:id="rId23"/>
    <p:sldId id="3997" r:id="rId24"/>
    <p:sldId id="3998" r:id="rId25"/>
    <p:sldId id="878" r:id="rId26"/>
    <p:sldId id="774" r:id="rId27"/>
    <p:sldId id="985" r:id="rId28"/>
    <p:sldId id="879" r:id="rId29"/>
    <p:sldId id="4011" r:id="rId30"/>
    <p:sldId id="1015" r:id="rId31"/>
    <p:sldId id="3999" r:id="rId32"/>
    <p:sldId id="1007" r:id="rId33"/>
    <p:sldId id="4003" r:id="rId34"/>
    <p:sldId id="4001" r:id="rId35"/>
    <p:sldId id="4002" r:id="rId36"/>
    <p:sldId id="3978" r:id="rId37"/>
    <p:sldId id="3537" r:id="rId38"/>
    <p:sldId id="3987" r:id="rId39"/>
    <p:sldId id="3979" r:id="rId40"/>
    <p:sldId id="4004" r:id="rId41"/>
    <p:sldId id="4005" r:id="rId42"/>
    <p:sldId id="4006" r:id="rId43"/>
    <p:sldId id="4012" r:id="rId44"/>
    <p:sldId id="1011" r:id="rId45"/>
  </p:sldIdLst>
  <p:sldSz cx="12192000" cy="6858000"/>
  <p:notesSz cx="6858000" cy="9144000"/>
  <p:custDataLst>
    <p:tags r:id="rId4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C7092"/>
    <a:srgbClr val="7F017F"/>
    <a:srgbClr val="EA967A"/>
    <a:srgbClr val="7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29" autoAdjust="0"/>
    <p:restoredTop sz="94660"/>
  </p:normalViewPr>
  <p:slideViewPr>
    <p:cSldViewPr snapToGrid="0" showGuides="1">
      <p:cViewPr varScale="1">
        <p:scale>
          <a:sx n="74" d="100"/>
          <a:sy n="74" d="100"/>
        </p:scale>
        <p:origin x="1219" y="58"/>
      </p:cViewPr>
      <p:guideLst>
        <p:guide orient="horz" pos="2160"/>
        <p:guide pos="384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aroslav Zhydyk" userId="feca11449df7c5ed" providerId="LiveId" clId="{605A4A9E-2782-408C-B679-9B3CC9F6E6B7}"/>
    <pc:docChg chg="custSel modSld">
      <pc:chgData name="Yaroslav Zhydyk" userId="feca11449df7c5ed" providerId="LiveId" clId="{605A4A9E-2782-408C-B679-9B3CC9F6E6B7}" dt="2023-09-09T08:18:42.842" v="0" actId="478"/>
      <pc:docMkLst>
        <pc:docMk/>
      </pc:docMkLst>
      <pc:sldChg chg="delSp mod">
        <pc:chgData name="Yaroslav Zhydyk" userId="feca11449df7c5ed" providerId="LiveId" clId="{605A4A9E-2782-408C-B679-9B3CC9F6E6B7}" dt="2023-09-09T08:18:42.842" v="0" actId="478"/>
        <pc:sldMkLst>
          <pc:docMk/>
          <pc:sldMk cId="980141862" sldId="261"/>
        </pc:sldMkLst>
        <pc:picChg chg="del">
          <ac:chgData name="Yaroslav Zhydyk" userId="feca11449df7c5ed" providerId="LiveId" clId="{605A4A9E-2782-408C-B679-9B3CC9F6E6B7}" dt="2023-09-09T08:18:42.842" v="0" actId="478"/>
          <ac:picMkLst>
            <pc:docMk/>
            <pc:sldMk cId="980141862" sldId="261"/>
            <ac:picMk id="10" creationId="{D33600C4-DC7C-487F-9416-8C7112432B9A}"/>
          </ac:picMkLst>
        </pc:picChg>
      </pc:sldChg>
    </pc:docChg>
  </pc:docChgLst>
  <pc:docChgLst>
    <pc:chgData name="Yaroslav Zhydyk" userId="feca11449df7c5ed" providerId="LiveId" clId="{A66BF2D7-9676-49CA-8938-AE9F6FD557AE}"/>
    <pc:docChg chg="undo redo custSel addSld delSld modSld sldOrd modMainMaster replTag">
      <pc:chgData name="Yaroslav Zhydyk" userId="feca11449df7c5ed" providerId="LiveId" clId="{A66BF2D7-9676-49CA-8938-AE9F6FD557AE}" dt="2022-11-23T10:42:03.729" v="5659" actId="12789"/>
      <pc:docMkLst>
        <pc:docMk/>
      </pc:docMkLst>
      <pc:sldChg chg="del">
        <pc:chgData name="Yaroslav Zhydyk" userId="feca11449df7c5ed" providerId="LiveId" clId="{A66BF2D7-9676-49CA-8938-AE9F6FD557AE}" dt="2022-11-11T16:21:01.932" v="17" actId="47"/>
        <pc:sldMkLst>
          <pc:docMk/>
          <pc:sldMk cId="3493935180" sldId="256"/>
        </pc:sldMkLst>
      </pc:sldChg>
      <pc:sldChg chg="del">
        <pc:chgData name="Yaroslav Zhydyk" userId="feca11449df7c5ed" providerId="LiveId" clId="{A66BF2D7-9676-49CA-8938-AE9F6FD557AE}" dt="2022-11-11T16:21:02.538" v="18" actId="47"/>
        <pc:sldMkLst>
          <pc:docMk/>
          <pc:sldMk cId="2207511441" sldId="257"/>
        </pc:sldMkLst>
      </pc:sldChg>
      <pc:sldChg chg="del">
        <pc:chgData name="Yaroslav Zhydyk" userId="feca11449df7c5ed" providerId="LiveId" clId="{A66BF2D7-9676-49CA-8938-AE9F6FD557AE}" dt="2022-11-11T16:18:04.250" v="11" actId="47"/>
        <pc:sldMkLst>
          <pc:docMk/>
          <pc:sldMk cId="428792147" sldId="258"/>
        </pc:sldMkLst>
      </pc:sldChg>
      <pc:sldChg chg="modSp add mod">
        <pc:chgData name="Yaroslav Zhydyk" userId="feca11449df7c5ed" providerId="LiveId" clId="{A66BF2D7-9676-49CA-8938-AE9F6FD557AE}" dt="2022-11-12T19:58:46.240" v="4737"/>
        <pc:sldMkLst>
          <pc:docMk/>
          <pc:sldMk cId="3074086198" sldId="259"/>
        </pc:sldMkLst>
        <pc:spChg chg="mod">
          <ac:chgData name="Yaroslav Zhydyk" userId="feca11449df7c5ed" providerId="LiveId" clId="{A66BF2D7-9676-49CA-8938-AE9F6FD557AE}" dt="2022-11-12T19:58:46.240" v="4737"/>
          <ac:spMkLst>
            <pc:docMk/>
            <pc:sldMk cId="3074086198" sldId="259"/>
            <ac:spMk id="5" creationId="{805F823C-4B4D-4EC8-15D7-D1C57874B9C0}"/>
          </ac:spMkLst>
        </pc:spChg>
        <pc:spChg chg="mod">
          <ac:chgData name="Yaroslav Zhydyk" userId="feca11449df7c5ed" providerId="LiveId" clId="{A66BF2D7-9676-49CA-8938-AE9F6FD557AE}" dt="2022-11-12T17:17:28.072" v="27" actId="12"/>
          <ac:spMkLst>
            <pc:docMk/>
            <pc:sldMk cId="3074086198" sldId="259"/>
            <ac:spMk id="9" creationId="{C79EB7FD-E4EE-930B-9FB4-B72F4FD018B7}"/>
          </ac:spMkLst>
        </pc:spChg>
      </pc:sldChg>
      <pc:sldChg chg="modSp add mod">
        <pc:chgData name="Yaroslav Zhydyk" userId="feca11449df7c5ed" providerId="LiveId" clId="{A66BF2D7-9676-49CA-8938-AE9F6FD557AE}" dt="2022-11-11T15:59:49.894" v="10"/>
        <pc:sldMkLst>
          <pc:docMk/>
          <pc:sldMk cId="980141862" sldId="261"/>
        </pc:sldMkLst>
        <pc:spChg chg="mod">
          <ac:chgData name="Yaroslav Zhydyk" userId="feca11449df7c5ed" providerId="LiveId" clId="{A66BF2D7-9676-49CA-8938-AE9F6FD557AE}" dt="2022-11-11T15:59:42.341" v="6"/>
          <ac:spMkLst>
            <pc:docMk/>
            <pc:sldMk cId="980141862" sldId="261"/>
            <ac:spMk id="2" creationId="{68D5F1BF-947A-0F44-F59A-88E76FEA875F}"/>
          </ac:spMkLst>
        </pc:spChg>
        <pc:spChg chg="mod">
          <ac:chgData name="Yaroslav Zhydyk" userId="feca11449df7c5ed" providerId="LiveId" clId="{A66BF2D7-9676-49CA-8938-AE9F6FD557AE}" dt="2022-11-11T15:59:49.894" v="10"/>
          <ac:spMkLst>
            <pc:docMk/>
            <pc:sldMk cId="980141862" sldId="261"/>
            <ac:spMk id="12" creationId="{990FB24F-163A-4FA8-0EA2-320C39A2A8C6}"/>
          </ac:spMkLst>
        </pc:spChg>
        <pc:spChg chg="mod">
          <ac:chgData name="Yaroslav Zhydyk" userId="feca11449df7c5ed" providerId="LiveId" clId="{A66BF2D7-9676-49CA-8938-AE9F6FD557AE}" dt="2022-11-11T15:59:46.544" v="8"/>
          <ac:spMkLst>
            <pc:docMk/>
            <pc:sldMk cId="980141862" sldId="261"/>
            <ac:spMk id="13" creationId="{CA70F889-CBA8-64C9-3A37-80280E176B9C}"/>
          </ac:spMkLst>
        </pc:spChg>
      </pc:sldChg>
      <pc:sldChg chg="add del">
        <pc:chgData name="Yaroslav Zhydyk" userId="feca11449df7c5ed" providerId="LiveId" clId="{A66BF2D7-9676-49CA-8938-AE9F6FD557AE}" dt="2022-11-11T16:20:53.772" v="15" actId="47"/>
        <pc:sldMkLst>
          <pc:docMk/>
          <pc:sldMk cId="3470233311" sldId="471"/>
        </pc:sldMkLst>
      </pc:sldChg>
      <pc:sldChg chg="add del">
        <pc:chgData name="Yaroslav Zhydyk" userId="feca11449df7c5ed" providerId="LiveId" clId="{A66BF2D7-9676-49CA-8938-AE9F6FD557AE}" dt="2022-11-11T16:20:53.772" v="15" actId="47"/>
        <pc:sldMkLst>
          <pc:docMk/>
          <pc:sldMk cId="208421320" sldId="472"/>
        </pc:sldMkLst>
      </pc:sldChg>
      <pc:sldChg chg="addSp delSp modSp add mod modClrScheme chgLayout">
        <pc:chgData name="Yaroslav Zhydyk" userId="feca11449df7c5ed" providerId="LiveId" clId="{A66BF2D7-9676-49CA-8938-AE9F6FD557AE}" dt="2022-11-12T19:58:46.240" v="4737"/>
        <pc:sldMkLst>
          <pc:docMk/>
          <pc:sldMk cId="3942285956" sldId="770"/>
        </pc:sldMkLst>
        <pc:spChg chg="mod">
          <ac:chgData name="Yaroslav Zhydyk" userId="feca11449df7c5ed" providerId="LiveId" clId="{A66BF2D7-9676-49CA-8938-AE9F6FD557AE}" dt="2022-11-12T17:18:23.254" v="41" actId="207"/>
          <ac:spMkLst>
            <pc:docMk/>
            <pc:sldMk cId="3942285956" sldId="770"/>
            <ac:spMk id="2" creationId="{28EA5771-CA78-48BE-8A17-314EEC0A0526}"/>
          </ac:spMkLst>
        </pc:spChg>
        <pc:spChg chg="add mod ord">
          <ac:chgData name="Yaroslav Zhydyk" userId="feca11449df7c5ed" providerId="LiveId" clId="{A66BF2D7-9676-49CA-8938-AE9F6FD557AE}" dt="2022-11-12T19:58:46.240" v="4737"/>
          <ac:spMkLst>
            <pc:docMk/>
            <pc:sldMk cId="3942285956" sldId="770"/>
            <ac:spMk id="3" creationId="{62BDA759-9989-8E39-1064-E6FB4762FB5F}"/>
          </ac:spMkLst>
        </pc:spChg>
        <pc:spChg chg="add mod">
          <ac:chgData name="Yaroslav Zhydyk" userId="feca11449df7c5ed" providerId="LiveId" clId="{A66BF2D7-9676-49CA-8938-AE9F6FD557AE}" dt="2022-11-12T17:23:43.587" v="163"/>
          <ac:spMkLst>
            <pc:docMk/>
            <pc:sldMk cId="3942285956" sldId="770"/>
            <ac:spMk id="5" creationId="{C3668492-9114-2769-22F8-8CA0D46132F2}"/>
          </ac:spMkLst>
        </pc:spChg>
        <pc:spChg chg="mod">
          <ac:chgData name="Yaroslav Zhydyk" userId="feca11449df7c5ed" providerId="LiveId" clId="{A66BF2D7-9676-49CA-8938-AE9F6FD557AE}" dt="2022-11-12T17:18:23.254" v="41" actId="207"/>
          <ac:spMkLst>
            <pc:docMk/>
            <pc:sldMk cId="3942285956" sldId="770"/>
            <ac:spMk id="7" creationId="{EE04EC6C-E813-405C-85E0-FCBDC316F647}"/>
          </ac:spMkLst>
        </pc:spChg>
        <pc:spChg chg="mod">
          <ac:chgData name="Yaroslav Zhydyk" userId="feca11449df7c5ed" providerId="LiveId" clId="{A66BF2D7-9676-49CA-8938-AE9F6FD557AE}" dt="2022-11-12T17:18:23.254" v="41" actId="207"/>
          <ac:spMkLst>
            <pc:docMk/>
            <pc:sldMk cId="3942285956" sldId="770"/>
            <ac:spMk id="8" creationId="{6648A949-B8CC-4A6D-94E5-2DFF39DC7ED4}"/>
          </ac:spMkLst>
        </pc:spChg>
        <pc:spChg chg="mod">
          <ac:chgData name="Yaroslav Zhydyk" userId="feca11449df7c5ed" providerId="LiveId" clId="{A66BF2D7-9676-49CA-8938-AE9F6FD557AE}" dt="2022-11-12T17:18:23.254" v="41" actId="207"/>
          <ac:spMkLst>
            <pc:docMk/>
            <pc:sldMk cId="3942285956" sldId="770"/>
            <ac:spMk id="10" creationId="{4B191F34-4590-4925-B7D1-9BBB0BC35E6A}"/>
          </ac:spMkLst>
        </pc:spChg>
        <pc:spChg chg="mod">
          <ac:chgData name="Yaroslav Zhydyk" userId="feca11449df7c5ed" providerId="LiveId" clId="{A66BF2D7-9676-49CA-8938-AE9F6FD557AE}" dt="2022-11-12T17:18:09.963" v="40" actId="207"/>
          <ac:spMkLst>
            <pc:docMk/>
            <pc:sldMk cId="3942285956" sldId="770"/>
            <ac:spMk id="12" creationId="{C33B1DF5-6D37-46EA-8E4C-6280EEF976E8}"/>
          </ac:spMkLst>
        </pc:spChg>
        <pc:spChg chg="mod">
          <ac:chgData name="Yaroslav Zhydyk" userId="feca11449df7c5ed" providerId="LiveId" clId="{A66BF2D7-9676-49CA-8938-AE9F6FD557AE}" dt="2022-11-12T17:18:04.070" v="39" actId="207"/>
          <ac:spMkLst>
            <pc:docMk/>
            <pc:sldMk cId="3942285956" sldId="770"/>
            <ac:spMk id="14" creationId="{A14FE9C0-B3BB-4470-824A-5C18DF861D38}"/>
          </ac:spMkLst>
        </pc:spChg>
        <pc:spChg chg="del">
          <ac:chgData name="Yaroslav Zhydyk" userId="feca11449df7c5ed" providerId="LiveId" clId="{A66BF2D7-9676-49CA-8938-AE9F6FD557AE}" dt="2022-11-12T17:17:45.774" v="31" actId="478"/>
          <ac:spMkLst>
            <pc:docMk/>
            <pc:sldMk cId="3942285956" sldId="770"/>
            <ac:spMk id="15" creationId="{5F387E7A-D543-4DE2-AB7F-AEFE678DFCD4}"/>
          </ac:spMkLst>
        </pc:spChg>
        <pc:spChg chg="mod">
          <ac:chgData name="Yaroslav Zhydyk" userId="feca11449df7c5ed" providerId="LiveId" clId="{A66BF2D7-9676-49CA-8938-AE9F6FD557AE}" dt="2022-11-12T17:18:23.254" v="41" actId="207"/>
          <ac:spMkLst>
            <pc:docMk/>
            <pc:sldMk cId="3942285956" sldId="770"/>
            <ac:spMk id="16" creationId="{E9AF2337-8BDF-4A4D-8773-C8EBDD38FA86}"/>
          </ac:spMkLst>
        </pc:spChg>
        <pc:grpChg chg="mod">
          <ac:chgData name="Yaroslav Zhydyk" userId="feca11449df7c5ed" providerId="LiveId" clId="{A66BF2D7-9676-49CA-8938-AE9F6FD557AE}" dt="2022-11-12T17:17:59.877" v="38" actId="1076"/>
          <ac:grpSpMkLst>
            <pc:docMk/>
            <pc:sldMk cId="3942285956" sldId="770"/>
            <ac:grpSpMk id="4" creationId="{0E5D3BF8-F5B7-40A6-AC70-1FCE6BC0B2F0}"/>
          </ac:grpSpMkLst>
        </pc:grpChg>
      </pc:sldChg>
      <pc:sldChg chg="add">
        <pc:chgData name="Yaroslav Zhydyk" userId="feca11449df7c5ed" providerId="LiveId" clId="{A66BF2D7-9676-49CA-8938-AE9F6FD557AE}" dt="2022-11-11T15:58:43.127" v="0"/>
        <pc:sldMkLst>
          <pc:docMk/>
          <pc:sldMk cId="4253667097" sldId="774"/>
        </pc:sldMkLst>
      </pc:sldChg>
      <pc:sldChg chg="add">
        <pc:chgData name="Yaroslav Zhydyk" userId="feca11449df7c5ed" providerId="LiveId" clId="{A66BF2D7-9676-49CA-8938-AE9F6FD557AE}" dt="2022-11-11T15:58:43.127" v="0"/>
        <pc:sldMkLst>
          <pc:docMk/>
          <pc:sldMk cId="3278012407" sldId="878"/>
        </pc:sldMkLst>
      </pc:sldChg>
      <pc:sldChg chg="add">
        <pc:chgData name="Yaroslav Zhydyk" userId="feca11449df7c5ed" providerId="LiveId" clId="{A66BF2D7-9676-49CA-8938-AE9F6FD557AE}" dt="2022-11-11T15:58:43.127" v="0"/>
        <pc:sldMkLst>
          <pc:docMk/>
          <pc:sldMk cId="1766951438" sldId="879"/>
        </pc:sldMkLst>
      </pc:sldChg>
      <pc:sldChg chg="add del">
        <pc:chgData name="Yaroslav Zhydyk" userId="feca11449df7c5ed" providerId="LiveId" clId="{A66BF2D7-9676-49CA-8938-AE9F6FD557AE}" dt="2022-11-11T16:20:53.772" v="15" actId="47"/>
        <pc:sldMkLst>
          <pc:docMk/>
          <pc:sldMk cId="3305771350" sldId="941"/>
        </pc:sldMkLst>
      </pc:sldChg>
      <pc:sldChg chg="add del">
        <pc:chgData name="Yaroslav Zhydyk" userId="feca11449df7c5ed" providerId="LiveId" clId="{A66BF2D7-9676-49CA-8938-AE9F6FD557AE}" dt="2022-11-11T16:20:53.772" v="15" actId="47"/>
        <pc:sldMkLst>
          <pc:docMk/>
          <pc:sldMk cId="2672179146" sldId="942"/>
        </pc:sldMkLst>
      </pc:sldChg>
      <pc:sldChg chg="add">
        <pc:chgData name="Yaroslav Zhydyk" userId="feca11449df7c5ed" providerId="LiveId" clId="{A66BF2D7-9676-49CA-8938-AE9F6FD557AE}" dt="2022-11-11T15:58:43.127" v="0"/>
        <pc:sldMkLst>
          <pc:docMk/>
          <pc:sldMk cId="1523399635" sldId="985"/>
        </pc:sldMkLst>
      </pc:sldChg>
      <pc:sldChg chg="add del">
        <pc:chgData name="Yaroslav Zhydyk" userId="feca11449df7c5ed" providerId="LiveId" clId="{A66BF2D7-9676-49CA-8938-AE9F6FD557AE}" dt="2022-11-12T17:17:31.685" v="28" actId="47"/>
        <pc:sldMkLst>
          <pc:docMk/>
          <pc:sldMk cId="513196127" sldId="986"/>
        </pc:sldMkLst>
      </pc:sldChg>
      <pc:sldChg chg="add del">
        <pc:chgData name="Yaroslav Zhydyk" userId="feca11449df7c5ed" providerId="LiveId" clId="{A66BF2D7-9676-49CA-8938-AE9F6FD557AE}" dt="2022-11-12T17:24:00.499" v="168" actId="47"/>
        <pc:sldMkLst>
          <pc:docMk/>
          <pc:sldMk cId="4066334955" sldId="987"/>
        </pc:sldMkLst>
      </pc:sldChg>
      <pc:sldChg chg="add del">
        <pc:chgData name="Yaroslav Zhydyk" userId="feca11449df7c5ed" providerId="LiveId" clId="{A66BF2D7-9676-49CA-8938-AE9F6FD557AE}" dt="2022-11-12T17:24:41.759" v="181" actId="47"/>
        <pc:sldMkLst>
          <pc:docMk/>
          <pc:sldMk cId="1834816676" sldId="988"/>
        </pc:sldMkLst>
      </pc:sldChg>
      <pc:sldChg chg="add del">
        <pc:chgData name="Yaroslav Zhydyk" userId="feca11449df7c5ed" providerId="LiveId" clId="{A66BF2D7-9676-49CA-8938-AE9F6FD557AE}" dt="2022-11-12T17:25:07.608" v="193" actId="47"/>
        <pc:sldMkLst>
          <pc:docMk/>
          <pc:sldMk cId="3495769486" sldId="989"/>
        </pc:sldMkLst>
      </pc:sldChg>
      <pc:sldChg chg="add del">
        <pc:chgData name="Yaroslav Zhydyk" userId="feca11449df7c5ed" providerId="LiveId" clId="{A66BF2D7-9676-49CA-8938-AE9F6FD557AE}" dt="2022-11-12T17:26:13.376" v="213" actId="47"/>
        <pc:sldMkLst>
          <pc:docMk/>
          <pc:sldMk cId="1730954005" sldId="990"/>
        </pc:sldMkLst>
      </pc:sldChg>
      <pc:sldChg chg="add del">
        <pc:chgData name="Yaroslav Zhydyk" userId="feca11449df7c5ed" providerId="LiveId" clId="{A66BF2D7-9676-49CA-8938-AE9F6FD557AE}" dt="2022-11-12T17:35:21.523" v="387" actId="47"/>
        <pc:sldMkLst>
          <pc:docMk/>
          <pc:sldMk cId="3730335359" sldId="991"/>
        </pc:sldMkLst>
      </pc:sldChg>
      <pc:sldChg chg="add del">
        <pc:chgData name="Yaroslav Zhydyk" userId="feca11449df7c5ed" providerId="LiveId" clId="{A66BF2D7-9676-49CA-8938-AE9F6FD557AE}" dt="2022-11-12T17:26:55.468" v="233" actId="47"/>
        <pc:sldMkLst>
          <pc:docMk/>
          <pc:sldMk cId="1676592575" sldId="992"/>
        </pc:sldMkLst>
      </pc:sldChg>
      <pc:sldChg chg="add del">
        <pc:chgData name="Yaroslav Zhydyk" userId="feca11449df7c5ed" providerId="LiveId" clId="{A66BF2D7-9676-49CA-8938-AE9F6FD557AE}" dt="2022-11-12T17:36:38.590" v="402" actId="47"/>
        <pc:sldMkLst>
          <pc:docMk/>
          <pc:sldMk cId="1637454008" sldId="993"/>
        </pc:sldMkLst>
      </pc:sldChg>
      <pc:sldChg chg="add del">
        <pc:chgData name="Yaroslav Zhydyk" userId="feca11449df7c5ed" providerId="LiveId" clId="{A66BF2D7-9676-49CA-8938-AE9F6FD557AE}" dt="2022-11-12T17:37:49.643" v="441" actId="47"/>
        <pc:sldMkLst>
          <pc:docMk/>
          <pc:sldMk cId="1054896645" sldId="994"/>
        </pc:sldMkLst>
      </pc:sldChg>
      <pc:sldChg chg="add del">
        <pc:chgData name="Yaroslav Zhydyk" userId="feca11449df7c5ed" providerId="LiveId" clId="{A66BF2D7-9676-49CA-8938-AE9F6FD557AE}" dt="2022-11-12T17:39:46.602" v="480" actId="47"/>
        <pc:sldMkLst>
          <pc:docMk/>
          <pc:sldMk cId="2970951460" sldId="995"/>
        </pc:sldMkLst>
      </pc:sldChg>
      <pc:sldChg chg="add del">
        <pc:chgData name="Yaroslav Zhydyk" userId="feca11449df7c5ed" providerId="LiveId" clId="{A66BF2D7-9676-49CA-8938-AE9F6FD557AE}" dt="2022-11-12T17:41:09.589" v="537" actId="47"/>
        <pc:sldMkLst>
          <pc:docMk/>
          <pc:sldMk cId="2858149348" sldId="996"/>
        </pc:sldMkLst>
      </pc:sldChg>
      <pc:sldChg chg="addSp delSp modSp add mod ord modClrScheme chgLayout">
        <pc:chgData name="Yaroslav Zhydyk" userId="feca11449df7c5ed" providerId="LiveId" clId="{A66BF2D7-9676-49CA-8938-AE9F6FD557AE}" dt="2022-11-12T19:31:41.839" v="625"/>
        <pc:sldMkLst>
          <pc:docMk/>
          <pc:sldMk cId="3349131692" sldId="997"/>
        </pc:sldMkLst>
        <pc:spChg chg="add del mod ord">
          <ac:chgData name="Yaroslav Zhydyk" userId="feca11449df7c5ed" providerId="LiveId" clId="{A66BF2D7-9676-49CA-8938-AE9F6FD557AE}" dt="2022-11-12T17:20:36.246" v="65" actId="478"/>
          <ac:spMkLst>
            <pc:docMk/>
            <pc:sldMk cId="3349131692" sldId="997"/>
            <ac:spMk id="2" creationId="{B4869C1C-7863-0CA8-2546-2FB109D000FD}"/>
          </ac:spMkLst>
        </pc:spChg>
        <pc:spChg chg="add del mod">
          <ac:chgData name="Yaroslav Zhydyk" userId="feca11449df7c5ed" providerId="LiveId" clId="{A66BF2D7-9676-49CA-8938-AE9F6FD557AE}" dt="2022-11-12T19:28:21.587" v="574"/>
          <ac:spMkLst>
            <pc:docMk/>
            <pc:sldMk cId="3349131692" sldId="997"/>
            <ac:spMk id="3" creationId="{B5EEC3EE-6B86-9F89-841D-59CBB8A84617}"/>
          </ac:spMkLst>
        </pc:spChg>
        <pc:spChg chg="add del mod">
          <ac:chgData name="Yaroslav Zhydyk" userId="feca11449df7c5ed" providerId="LiveId" clId="{A66BF2D7-9676-49CA-8938-AE9F6FD557AE}" dt="2022-11-12T19:28:58.271" v="584" actId="1076"/>
          <ac:spMkLst>
            <pc:docMk/>
            <pc:sldMk cId="3349131692" sldId="997"/>
            <ac:spMk id="4" creationId="{4873FEB1-37B5-19FE-837F-7B8559664112}"/>
          </ac:spMkLst>
        </pc:spChg>
        <pc:spChg chg="del mod">
          <ac:chgData name="Yaroslav Zhydyk" userId="feca11449df7c5ed" providerId="LiveId" clId="{A66BF2D7-9676-49CA-8938-AE9F6FD557AE}" dt="2022-11-12T19:28:28.385" v="575" actId="21"/>
          <ac:spMkLst>
            <pc:docMk/>
            <pc:sldMk cId="3349131692" sldId="997"/>
            <ac:spMk id="6" creationId="{5E4E1394-FE05-436E-8398-6C8DAA8FBAD1}"/>
          </ac:spMkLst>
        </pc:spChg>
        <pc:spChg chg="add del mod">
          <ac:chgData name="Yaroslav Zhydyk" userId="feca11449df7c5ed" providerId="LiveId" clId="{A66BF2D7-9676-49CA-8938-AE9F6FD557AE}" dt="2022-11-12T19:28:49.292" v="582"/>
          <ac:spMkLst>
            <pc:docMk/>
            <pc:sldMk cId="3349131692" sldId="997"/>
            <ac:spMk id="8" creationId="{97122D0A-3C49-7E40-0445-98E609458614}"/>
          </ac:spMkLst>
        </pc:spChg>
        <pc:spChg chg="add mod">
          <ac:chgData name="Yaroslav Zhydyk" userId="feca11449df7c5ed" providerId="LiveId" clId="{A66BF2D7-9676-49CA-8938-AE9F6FD557AE}" dt="2022-11-12T19:29:40.165" v="586"/>
          <ac:spMkLst>
            <pc:docMk/>
            <pc:sldMk cId="3349131692" sldId="997"/>
            <ac:spMk id="9" creationId="{35AE1CB9-38CD-64DC-6494-A4560A708AA5}"/>
          </ac:spMkLst>
        </pc:spChg>
        <pc:spChg chg="add mod">
          <ac:chgData name="Yaroslav Zhydyk" userId="feca11449df7c5ed" providerId="LiveId" clId="{A66BF2D7-9676-49CA-8938-AE9F6FD557AE}" dt="2022-11-12T19:29:42.408" v="588"/>
          <ac:spMkLst>
            <pc:docMk/>
            <pc:sldMk cId="3349131692" sldId="997"/>
            <ac:spMk id="10" creationId="{A8B99C9F-ADF3-74D9-7E40-02371F808760}"/>
          </ac:spMkLst>
        </pc:spChg>
        <pc:spChg chg="add mod">
          <ac:chgData name="Yaroslav Zhydyk" userId="feca11449df7c5ed" providerId="LiveId" clId="{A66BF2D7-9676-49CA-8938-AE9F6FD557AE}" dt="2022-11-12T19:29:44.132" v="590"/>
          <ac:spMkLst>
            <pc:docMk/>
            <pc:sldMk cId="3349131692" sldId="997"/>
            <ac:spMk id="11" creationId="{87FFD8A3-5AD0-62CC-B5B7-D1773BE94DF7}"/>
          </ac:spMkLst>
        </pc:spChg>
        <pc:spChg chg="add del mod topLvl">
          <ac:chgData name="Yaroslav Zhydyk" userId="feca11449df7c5ed" providerId="LiveId" clId="{A66BF2D7-9676-49CA-8938-AE9F6FD557AE}" dt="2022-11-12T19:31:24.378" v="613" actId="478"/>
          <ac:spMkLst>
            <pc:docMk/>
            <pc:sldMk cId="3349131692" sldId="997"/>
            <ac:spMk id="12" creationId="{F29FE147-91D4-3D37-FCD5-971773C58C3B}"/>
          </ac:spMkLst>
        </pc:spChg>
        <pc:spChg chg="add del mod topLvl">
          <ac:chgData name="Yaroslav Zhydyk" userId="feca11449df7c5ed" providerId="LiveId" clId="{A66BF2D7-9676-49CA-8938-AE9F6FD557AE}" dt="2022-11-12T19:31:24.378" v="613" actId="478"/>
          <ac:spMkLst>
            <pc:docMk/>
            <pc:sldMk cId="3349131692" sldId="997"/>
            <ac:spMk id="13" creationId="{D9CD0518-A5FE-FFA7-399B-C2CFFA62CE6B}"/>
          </ac:spMkLst>
        </pc:spChg>
        <pc:grpChg chg="add del mod">
          <ac:chgData name="Yaroslav Zhydyk" userId="feca11449df7c5ed" providerId="LiveId" clId="{A66BF2D7-9676-49CA-8938-AE9F6FD557AE}" dt="2022-11-12T19:30:42.162" v="611" actId="165"/>
          <ac:grpSpMkLst>
            <pc:docMk/>
            <pc:sldMk cId="3349131692" sldId="997"/>
            <ac:grpSpMk id="14" creationId="{8206C346-7FD1-98F9-F948-1EBB0E87A0AE}"/>
          </ac:grpSpMkLst>
        </pc:grpChg>
      </pc:sldChg>
      <pc:sldChg chg="add del">
        <pc:chgData name="Yaroslav Zhydyk" userId="feca11449df7c5ed" providerId="LiveId" clId="{A66BF2D7-9676-49CA-8938-AE9F6FD557AE}" dt="2022-11-12T17:22:23.906" v="86" actId="47"/>
        <pc:sldMkLst>
          <pc:docMk/>
          <pc:sldMk cId="2842969743" sldId="998"/>
        </pc:sldMkLst>
      </pc:sldChg>
      <pc:sldChg chg="add del">
        <pc:chgData name="Yaroslav Zhydyk" userId="feca11449df7c5ed" providerId="LiveId" clId="{A66BF2D7-9676-49CA-8938-AE9F6FD557AE}" dt="2022-11-12T17:22:23.103" v="85" actId="47"/>
        <pc:sldMkLst>
          <pc:docMk/>
          <pc:sldMk cId="2429456208" sldId="999"/>
        </pc:sldMkLst>
      </pc:sldChg>
      <pc:sldChg chg="addSp modSp add mod">
        <pc:chgData name="Yaroslav Zhydyk" userId="feca11449df7c5ed" providerId="LiveId" clId="{A66BF2D7-9676-49CA-8938-AE9F6FD557AE}" dt="2022-11-12T19:39:29.804" v="739" actId="18613"/>
        <pc:sldMkLst>
          <pc:docMk/>
          <pc:sldMk cId="1416472426" sldId="1000"/>
        </pc:sldMkLst>
        <pc:spChg chg="add mod">
          <ac:chgData name="Yaroslav Zhydyk" userId="feca11449df7c5ed" providerId="LiveId" clId="{A66BF2D7-9676-49CA-8938-AE9F6FD557AE}" dt="2022-11-12T17:25:17.890" v="194"/>
          <ac:spMkLst>
            <pc:docMk/>
            <pc:sldMk cId="1416472426" sldId="1000"/>
            <ac:spMk id="2" creationId="{01125A7D-0A3C-506E-94D3-987E0C2EBD8F}"/>
          </ac:spMkLst>
        </pc:spChg>
        <pc:spChg chg="mod">
          <ac:chgData name="Yaroslav Zhydyk" userId="feca11449df7c5ed" providerId="LiveId" clId="{A66BF2D7-9676-49CA-8938-AE9F6FD557AE}" dt="2022-11-12T17:25:28.443" v="197" actId="120"/>
          <ac:spMkLst>
            <pc:docMk/>
            <pc:sldMk cId="1416472426" sldId="1000"/>
            <ac:spMk id="8" creationId="{8E673FB6-E0FE-4DF3-8E96-F1AA425DA93E}"/>
          </ac:spMkLst>
        </pc:spChg>
        <pc:picChg chg="mod">
          <ac:chgData name="Yaroslav Zhydyk" userId="feca11449df7c5ed" providerId="LiveId" clId="{A66BF2D7-9676-49CA-8938-AE9F6FD557AE}" dt="2022-11-12T19:39:29.804" v="739" actId="18613"/>
          <ac:picMkLst>
            <pc:docMk/>
            <pc:sldMk cId="1416472426" sldId="1000"/>
            <ac:picMk id="3" creationId="{0DB2D7C5-5AA1-4AF4-9CF0-C987AE54748B}"/>
          </ac:picMkLst>
        </pc:picChg>
      </pc:sldChg>
      <pc:sldChg chg="modSp add mod">
        <pc:chgData name="Yaroslav Zhydyk" userId="feca11449df7c5ed" providerId="LiveId" clId="{A66BF2D7-9676-49CA-8938-AE9F6FD557AE}" dt="2022-11-12T19:58:47" v="5626"/>
        <pc:sldMkLst>
          <pc:docMk/>
          <pc:sldMk cId="3483277577" sldId="1001"/>
        </pc:sldMkLst>
        <pc:spChg chg="mod">
          <ac:chgData name="Yaroslav Zhydyk" userId="feca11449df7c5ed" providerId="LiveId" clId="{A66BF2D7-9676-49CA-8938-AE9F6FD557AE}" dt="2022-11-12T19:58:46.240" v="4737"/>
          <ac:spMkLst>
            <pc:docMk/>
            <pc:sldMk cId="3483277577" sldId="1001"/>
            <ac:spMk id="2" creationId="{CA9E2EE7-188F-4FDC-ABAA-76D99FC5C39A}"/>
          </ac:spMkLst>
        </pc:spChg>
        <pc:spChg chg="mod">
          <ac:chgData name="Yaroslav Zhydyk" userId="feca11449df7c5ed" providerId="LiveId" clId="{A66BF2D7-9676-49CA-8938-AE9F6FD557AE}" dt="2022-11-12T19:58:46.240" v="4737"/>
          <ac:spMkLst>
            <pc:docMk/>
            <pc:sldMk cId="3483277577" sldId="1001"/>
            <ac:spMk id="3" creationId="{972543EE-C5EE-498C-9291-776BDFB4ED20}"/>
          </ac:spMkLst>
        </pc:spChg>
        <pc:spChg chg="mod">
          <ac:chgData name="Yaroslav Zhydyk" userId="feca11449df7c5ed" providerId="LiveId" clId="{A66BF2D7-9676-49CA-8938-AE9F6FD557AE}" dt="2022-11-12T19:58:46.240" v="4737"/>
          <ac:spMkLst>
            <pc:docMk/>
            <pc:sldMk cId="3483277577" sldId="1001"/>
            <ac:spMk id="4" creationId="{BEFC6E3E-2DCB-4D7E-8A84-8C04DA81122A}"/>
          </ac:spMkLst>
        </pc:spChg>
        <pc:graphicFrameChg chg="mod">
          <ac:chgData name="Yaroslav Zhydyk" userId="feca11449df7c5ed" providerId="LiveId" clId="{A66BF2D7-9676-49CA-8938-AE9F6FD557AE}" dt="2022-11-12T19:58:47" v="5626"/>
          <ac:graphicFrameMkLst>
            <pc:docMk/>
            <pc:sldMk cId="3483277577" sldId="1001"/>
            <ac:graphicFrameMk id="6" creationId="{45D5EBB6-39BD-444B-81C9-382FD9769BAD}"/>
          </ac:graphicFrameMkLst>
        </pc:graphicFrameChg>
      </pc:sldChg>
      <pc:sldChg chg="addSp modSp add mod">
        <pc:chgData name="Yaroslav Zhydyk" userId="feca11449df7c5ed" providerId="LiveId" clId="{A66BF2D7-9676-49CA-8938-AE9F6FD557AE}" dt="2022-11-12T17:25:44.619" v="199" actId="1076"/>
        <pc:sldMkLst>
          <pc:docMk/>
          <pc:sldMk cId="3282573392" sldId="1002"/>
        </pc:sldMkLst>
        <pc:spChg chg="add mod">
          <ac:chgData name="Yaroslav Zhydyk" userId="feca11449df7c5ed" providerId="LiveId" clId="{A66BF2D7-9676-49CA-8938-AE9F6FD557AE}" dt="2022-11-12T17:25:38.414" v="198"/>
          <ac:spMkLst>
            <pc:docMk/>
            <pc:sldMk cId="3282573392" sldId="1002"/>
            <ac:spMk id="2" creationId="{3ED88575-2380-51E8-F77D-6228906CA691}"/>
          </ac:spMkLst>
        </pc:spChg>
        <pc:spChg chg="mod">
          <ac:chgData name="Yaroslav Zhydyk" userId="feca11449df7c5ed" providerId="LiveId" clId="{A66BF2D7-9676-49CA-8938-AE9F6FD557AE}" dt="2022-11-12T17:25:44.619" v="199" actId="1076"/>
          <ac:spMkLst>
            <pc:docMk/>
            <pc:sldMk cId="3282573392" sldId="1002"/>
            <ac:spMk id="8" creationId="{8E673FB6-E0FE-4DF3-8E96-F1AA425DA93E}"/>
          </ac:spMkLst>
        </pc:spChg>
        <pc:picChg chg="mod">
          <ac:chgData name="Yaroslav Zhydyk" userId="feca11449df7c5ed" providerId="LiveId" clId="{A66BF2D7-9676-49CA-8938-AE9F6FD557AE}" dt="2022-11-12T17:25:44.619" v="199" actId="1076"/>
          <ac:picMkLst>
            <pc:docMk/>
            <pc:sldMk cId="3282573392" sldId="1002"/>
            <ac:picMk id="4" creationId="{114DAFB0-A196-4299-844E-BB0478CC9D75}"/>
          </ac:picMkLst>
        </pc:picChg>
      </pc:sldChg>
      <pc:sldChg chg="add del">
        <pc:chgData name="Yaroslav Zhydyk" userId="feca11449df7c5ed" providerId="LiveId" clId="{A66BF2D7-9676-49CA-8938-AE9F6FD557AE}" dt="2022-11-12T17:26:33.109" v="221" actId="47"/>
        <pc:sldMkLst>
          <pc:docMk/>
          <pc:sldMk cId="3020593613" sldId="1003"/>
        </pc:sldMkLst>
      </pc:sldChg>
      <pc:sldChg chg="addSp delSp modSp add mod">
        <pc:chgData name="Yaroslav Zhydyk" userId="feca11449df7c5ed" providerId="LiveId" clId="{A66BF2D7-9676-49CA-8938-AE9F6FD557AE}" dt="2022-11-12T17:27:32.419" v="240" actId="1076"/>
        <pc:sldMkLst>
          <pc:docMk/>
          <pc:sldMk cId="586585614" sldId="1005"/>
        </pc:sldMkLst>
        <pc:spChg chg="add mod">
          <ac:chgData name="Yaroslav Zhydyk" userId="feca11449df7c5ed" providerId="LiveId" clId="{A66BF2D7-9676-49CA-8938-AE9F6FD557AE}" dt="2022-11-12T17:27:03.386" v="235"/>
          <ac:spMkLst>
            <pc:docMk/>
            <pc:sldMk cId="586585614" sldId="1005"/>
            <ac:spMk id="2" creationId="{E2E81FC4-2D39-6BC8-7688-B614993735C1}"/>
          </ac:spMkLst>
        </pc:spChg>
        <pc:spChg chg="add mod">
          <ac:chgData name="Yaroslav Zhydyk" userId="feca11449df7c5ed" providerId="LiveId" clId="{A66BF2D7-9676-49CA-8938-AE9F6FD557AE}" dt="2022-11-12T17:27:32.419" v="240" actId="1076"/>
          <ac:spMkLst>
            <pc:docMk/>
            <pc:sldMk cId="586585614" sldId="1005"/>
            <ac:spMk id="3" creationId="{84D2E573-F94C-77D6-84A7-9B3E522E9F64}"/>
          </ac:spMkLst>
        </pc:spChg>
        <pc:spChg chg="del mod">
          <ac:chgData name="Yaroslav Zhydyk" userId="feca11449df7c5ed" providerId="LiveId" clId="{A66BF2D7-9676-49CA-8938-AE9F6FD557AE}" dt="2022-11-12T17:27:26.277" v="239" actId="478"/>
          <ac:spMkLst>
            <pc:docMk/>
            <pc:sldMk cId="586585614" sldId="1005"/>
            <ac:spMk id="8" creationId="{8E673FB6-E0FE-4DF3-8E96-F1AA425DA93E}"/>
          </ac:spMkLst>
        </pc:spChg>
      </pc:sldChg>
      <pc:sldChg chg="addSp delSp modSp add mod modClrScheme chgLayout">
        <pc:chgData name="Yaroslav Zhydyk" userId="feca11449df7c5ed" providerId="LiveId" clId="{A66BF2D7-9676-49CA-8938-AE9F6FD557AE}" dt="2022-11-12T17:33:32.819" v="353" actId="207"/>
        <pc:sldMkLst>
          <pc:docMk/>
          <pc:sldMk cId="2082116497" sldId="1006"/>
        </pc:sldMkLst>
        <pc:spChg chg="add mod">
          <ac:chgData name="Yaroslav Zhydyk" userId="feca11449df7c5ed" providerId="LiveId" clId="{A66BF2D7-9676-49CA-8938-AE9F6FD557AE}" dt="2022-11-12T17:28:18.197" v="251"/>
          <ac:spMkLst>
            <pc:docMk/>
            <pc:sldMk cId="2082116497" sldId="1006"/>
            <ac:spMk id="2" creationId="{45366B40-9C6D-06B4-51C1-A615A445F71A}"/>
          </ac:spMkLst>
        </pc:spChg>
        <pc:spChg chg="add del mod ord">
          <ac:chgData name="Yaroslav Zhydyk" userId="feca11449df7c5ed" providerId="LiveId" clId="{A66BF2D7-9676-49CA-8938-AE9F6FD557AE}" dt="2022-11-12T17:31:39.238" v="297" actId="478"/>
          <ac:spMkLst>
            <pc:docMk/>
            <pc:sldMk cId="2082116497" sldId="1006"/>
            <ac:spMk id="3" creationId="{6B1B2D98-6E66-8EA5-AC81-747CFAFFF22A}"/>
          </ac:spMkLst>
        </pc:spChg>
        <pc:spChg chg="mod">
          <ac:chgData name="Yaroslav Zhydyk" userId="feca11449df7c5ed" providerId="LiveId" clId="{A66BF2D7-9676-49CA-8938-AE9F6FD557AE}" dt="2022-11-12T17:33:32.819" v="353" actId="207"/>
          <ac:spMkLst>
            <pc:docMk/>
            <pc:sldMk cId="2082116497" sldId="1006"/>
            <ac:spMk id="14" creationId="{A14FE9C0-B3BB-4470-824A-5C18DF861D38}"/>
          </ac:spMkLst>
        </pc:spChg>
        <pc:spChg chg="del mod">
          <ac:chgData name="Yaroslav Zhydyk" userId="feca11449df7c5ed" providerId="LiveId" clId="{A66BF2D7-9676-49CA-8938-AE9F6FD557AE}" dt="2022-11-12T17:28:45.855" v="274" actId="478"/>
          <ac:spMkLst>
            <pc:docMk/>
            <pc:sldMk cId="2082116497" sldId="1006"/>
            <ac:spMk id="15" creationId="{5F387E7A-D543-4DE2-AB7F-AEFE678DFCD4}"/>
          </ac:spMkLst>
        </pc:spChg>
        <pc:spChg chg="add del mod">
          <ac:chgData name="Yaroslav Zhydyk" userId="feca11449df7c5ed" providerId="LiveId" clId="{A66BF2D7-9676-49CA-8938-AE9F6FD557AE}" dt="2022-11-12T17:31:43.008" v="298" actId="478"/>
          <ac:spMkLst>
            <pc:docMk/>
            <pc:sldMk cId="2082116497" sldId="1006"/>
            <ac:spMk id="22" creationId="{C0E7EB22-A7BF-BE1C-CEEA-9B81CD93E4B7}"/>
          </ac:spMkLst>
        </pc:spChg>
        <pc:spChg chg="add del mod">
          <ac:chgData name="Yaroslav Zhydyk" userId="feca11449df7c5ed" providerId="LiveId" clId="{A66BF2D7-9676-49CA-8938-AE9F6FD557AE}" dt="2022-11-12T17:32:27.330" v="306" actId="478"/>
          <ac:spMkLst>
            <pc:docMk/>
            <pc:sldMk cId="2082116497" sldId="1006"/>
            <ac:spMk id="23" creationId="{6ED42DE8-3BCA-9E2B-76B6-E495C32C0AF5}"/>
          </ac:spMkLst>
        </pc:spChg>
        <pc:picChg chg="add del mod">
          <ac:chgData name="Yaroslav Zhydyk" userId="feca11449df7c5ed" providerId="LiveId" clId="{A66BF2D7-9676-49CA-8938-AE9F6FD557AE}" dt="2022-11-12T17:29:42.289" v="281" actId="478"/>
          <ac:picMkLst>
            <pc:docMk/>
            <pc:sldMk cId="2082116497" sldId="1006"/>
            <ac:picMk id="5" creationId="{2B3A0D8F-9F5E-9082-D891-C22A08AC0E32}"/>
          </ac:picMkLst>
        </pc:picChg>
        <pc:picChg chg="add mod">
          <ac:chgData name="Yaroslav Zhydyk" userId="feca11449df7c5ed" providerId="LiveId" clId="{A66BF2D7-9676-49CA-8938-AE9F6FD557AE}" dt="2022-11-12T17:31:48.616" v="300" actId="1076"/>
          <ac:picMkLst>
            <pc:docMk/>
            <pc:sldMk cId="2082116497" sldId="1006"/>
            <ac:picMk id="8" creationId="{57203068-F8D5-EBE5-44C9-122C5A99179A}"/>
          </ac:picMkLst>
        </pc:picChg>
        <pc:picChg chg="add mod">
          <ac:chgData name="Yaroslav Zhydyk" userId="feca11449df7c5ed" providerId="LiveId" clId="{A66BF2D7-9676-49CA-8938-AE9F6FD557AE}" dt="2022-11-12T17:31:51.178" v="301" actId="408"/>
          <ac:picMkLst>
            <pc:docMk/>
            <pc:sldMk cId="2082116497" sldId="1006"/>
            <ac:picMk id="10" creationId="{3E6B7C54-5D86-142D-ACFE-BE952B0F4562}"/>
          </ac:picMkLst>
        </pc:picChg>
        <pc:picChg chg="add del mod">
          <ac:chgData name="Yaroslav Zhydyk" userId="feca11449df7c5ed" providerId="LiveId" clId="{A66BF2D7-9676-49CA-8938-AE9F6FD557AE}" dt="2022-11-12T17:31:33.566" v="296" actId="478"/>
          <ac:picMkLst>
            <pc:docMk/>
            <pc:sldMk cId="2082116497" sldId="1006"/>
            <ac:picMk id="12" creationId="{5C0BD2F7-1A85-210D-809F-08AEA9F52E61}"/>
          </ac:picMkLst>
        </pc:picChg>
        <pc:picChg chg="add del mod">
          <ac:chgData name="Yaroslav Zhydyk" userId="feca11449df7c5ed" providerId="LiveId" clId="{A66BF2D7-9676-49CA-8938-AE9F6FD557AE}" dt="2022-11-12T17:31:12.587" v="288" actId="478"/>
          <ac:picMkLst>
            <pc:docMk/>
            <pc:sldMk cId="2082116497" sldId="1006"/>
            <ac:picMk id="16" creationId="{41F5BE1D-A321-E93D-54E9-9A07CEA5960F}"/>
          </ac:picMkLst>
        </pc:picChg>
        <pc:picChg chg="add mod">
          <ac:chgData name="Yaroslav Zhydyk" userId="feca11449df7c5ed" providerId="LiveId" clId="{A66BF2D7-9676-49CA-8938-AE9F6FD557AE}" dt="2022-11-12T17:31:51.178" v="301" actId="408"/>
          <ac:picMkLst>
            <pc:docMk/>
            <pc:sldMk cId="2082116497" sldId="1006"/>
            <ac:picMk id="18" creationId="{FAF7FCC3-D0EA-96B6-EB7F-FCE86E2EE132}"/>
          </ac:picMkLst>
        </pc:picChg>
        <pc:picChg chg="add mod">
          <ac:chgData name="Yaroslav Zhydyk" userId="feca11449df7c5ed" providerId="LiveId" clId="{A66BF2D7-9676-49CA-8938-AE9F6FD557AE}" dt="2022-11-12T17:31:46.042" v="299" actId="1076"/>
          <ac:picMkLst>
            <pc:docMk/>
            <pc:sldMk cId="2082116497" sldId="1006"/>
            <ac:picMk id="20" creationId="{307F89B0-A43C-2893-AAA5-636D336E1D3F}"/>
          </ac:picMkLst>
        </pc:picChg>
      </pc:sldChg>
      <pc:sldChg chg="addSp modSp add mod">
        <pc:chgData name="Yaroslav Zhydyk" userId="feca11449df7c5ed" providerId="LiveId" clId="{A66BF2D7-9676-49CA-8938-AE9F6FD557AE}" dt="2022-11-12T17:38:21.121" v="452" actId="207"/>
        <pc:sldMkLst>
          <pc:docMk/>
          <pc:sldMk cId="1486218281" sldId="1007"/>
        </pc:sldMkLst>
        <pc:spChg chg="add mod">
          <ac:chgData name="Yaroslav Zhydyk" userId="feca11449df7c5ed" providerId="LiveId" clId="{A66BF2D7-9676-49CA-8938-AE9F6FD557AE}" dt="2022-11-12T17:38:01.668" v="448"/>
          <ac:spMkLst>
            <pc:docMk/>
            <pc:sldMk cId="1486218281" sldId="1007"/>
            <ac:spMk id="2" creationId="{FFCA77DB-D7D6-45CD-B0AD-078A59077E88}"/>
          </ac:spMkLst>
        </pc:spChg>
        <pc:spChg chg="mod">
          <ac:chgData name="Yaroslav Zhydyk" userId="feca11449df7c5ed" providerId="LiveId" clId="{A66BF2D7-9676-49CA-8938-AE9F6FD557AE}" dt="2022-11-12T17:38:21.121" v="452" actId="207"/>
          <ac:spMkLst>
            <pc:docMk/>
            <pc:sldMk cId="1486218281" sldId="1007"/>
            <ac:spMk id="5" creationId="{796C6AAA-A745-4753-AD98-F33AA6E090F7}"/>
          </ac:spMkLst>
        </pc:spChg>
        <pc:picChg chg="mod">
          <ac:chgData name="Yaroslav Zhydyk" userId="feca11449df7c5ed" providerId="LiveId" clId="{A66BF2D7-9676-49CA-8938-AE9F6FD557AE}" dt="2022-11-12T17:38:10.376" v="451" actId="552"/>
          <ac:picMkLst>
            <pc:docMk/>
            <pc:sldMk cId="1486218281" sldId="1007"/>
            <ac:picMk id="4" creationId="{6ABA96BC-155E-4DD7-9982-0D1EEF6738AC}"/>
          </ac:picMkLst>
        </pc:picChg>
      </pc:sldChg>
      <pc:sldChg chg="delSp add del mod">
        <pc:chgData name="Yaroslav Zhydyk" userId="feca11449df7c5ed" providerId="LiveId" clId="{A66BF2D7-9676-49CA-8938-AE9F6FD557AE}" dt="2022-11-12T17:39:03.980" v="461" actId="47"/>
        <pc:sldMkLst>
          <pc:docMk/>
          <pc:sldMk cId="1730084069" sldId="1008"/>
        </pc:sldMkLst>
        <pc:picChg chg="del">
          <ac:chgData name="Yaroslav Zhydyk" userId="feca11449df7c5ed" providerId="LiveId" clId="{A66BF2D7-9676-49CA-8938-AE9F6FD557AE}" dt="2022-11-12T17:38:48.106" v="455" actId="21"/>
          <ac:picMkLst>
            <pc:docMk/>
            <pc:sldMk cId="1730084069" sldId="1008"/>
            <ac:picMk id="3" creationId="{3E22FCB2-5F36-4673-A1ED-AEE09B557205}"/>
          </ac:picMkLst>
        </pc:picChg>
      </pc:sldChg>
      <pc:sldChg chg="add del">
        <pc:chgData name="Yaroslav Zhydyk" userId="feca11449df7c5ed" providerId="LiveId" clId="{A66BF2D7-9676-49CA-8938-AE9F6FD557AE}" dt="2022-11-12T17:40:37.098" v="528" actId="47"/>
        <pc:sldMkLst>
          <pc:docMk/>
          <pc:sldMk cId="3192185987" sldId="1009"/>
        </pc:sldMkLst>
      </pc:sldChg>
      <pc:sldChg chg="delSp add del mod">
        <pc:chgData name="Yaroslav Zhydyk" userId="feca11449df7c5ed" providerId="LiveId" clId="{A66BF2D7-9676-49CA-8938-AE9F6FD557AE}" dt="2022-11-12T17:41:47.974" v="549" actId="47"/>
        <pc:sldMkLst>
          <pc:docMk/>
          <pc:sldMk cId="781314857" sldId="1010"/>
        </pc:sldMkLst>
        <pc:picChg chg="del">
          <ac:chgData name="Yaroslav Zhydyk" userId="feca11449df7c5ed" providerId="LiveId" clId="{A66BF2D7-9676-49CA-8938-AE9F6FD557AE}" dt="2022-11-12T17:41:19.024" v="539" actId="21"/>
          <ac:picMkLst>
            <pc:docMk/>
            <pc:sldMk cId="781314857" sldId="1010"/>
            <ac:picMk id="4" creationId="{CC534390-AF05-4EA4-9EDA-E9ECB26F922E}"/>
          </ac:picMkLst>
        </pc:picChg>
      </pc:sldChg>
      <pc:sldChg chg="add">
        <pc:chgData name="Yaroslav Zhydyk" userId="feca11449df7c5ed" providerId="LiveId" clId="{A66BF2D7-9676-49CA-8938-AE9F6FD557AE}" dt="2022-11-11T15:58:43.127" v="0"/>
        <pc:sldMkLst>
          <pc:docMk/>
          <pc:sldMk cId="4240681389" sldId="1011"/>
        </pc:sldMkLst>
      </pc:sldChg>
      <pc:sldChg chg="add del">
        <pc:chgData name="Yaroslav Zhydyk" userId="feca11449df7c5ed" providerId="LiveId" clId="{A66BF2D7-9676-49CA-8938-AE9F6FD557AE}" dt="2022-11-12T17:24:04.360" v="169" actId="47"/>
        <pc:sldMkLst>
          <pc:docMk/>
          <pc:sldMk cId="3739181297" sldId="1012"/>
        </pc:sldMkLst>
      </pc:sldChg>
      <pc:sldChg chg="add del">
        <pc:chgData name="Yaroslav Zhydyk" userId="feca11449df7c5ed" providerId="LiveId" clId="{A66BF2D7-9676-49CA-8938-AE9F6FD557AE}" dt="2022-11-11T16:18:47.882" v="14" actId="47"/>
        <pc:sldMkLst>
          <pc:docMk/>
          <pc:sldMk cId="2915898852" sldId="1013"/>
        </pc:sldMkLst>
      </pc:sldChg>
      <pc:sldChg chg="delSp add del">
        <pc:chgData name="Yaroslav Zhydyk" userId="feca11449df7c5ed" providerId="LiveId" clId="{A66BF2D7-9676-49CA-8938-AE9F6FD557AE}" dt="2022-11-12T17:27:57.889" v="250" actId="47"/>
        <pc:sldMkLst>
          <pc:docMk/>
          <pc:sldMk cId="2211249961" sldId="1014"/>
        </pc:sldMkLst>
        <pc:picChg chg="del">
          <ac:chgData name="Yaroslav Zhydyk" userId="feca11449df7c5ed" providerId="LiveId" clId="{A66BF2D7-9676-49CA-8938-AE9F6FD557AE}" dt="2022-11-12T17:27:44.889" v="244" actId="21"/>
          <ac:picMkLst>
            <pc:docMk/>
            <pc:sldMk cId="2211249961" sldId="1014"/>
            <ac:picMk id="17" creationId="{5384E70E-D0B2-4CC2-AAB0-661A9B4CF945}"/>
          </ac:picMkLst>
        </pc:picChg>
        <pc:picChg chg="del">
          <ac:chgData name="Yaroslav Zhydyk" userId="feca11449df7c5ed" providerId="LiveId" clId="{A66BF2D7-9676-49CA-8938-AE9F6FD557AE}" dt="2022-11-12T17:27:44.889" v="244" actId="21"/>
          <ac:picMkLst>
            <pc:docMk/>
            <pc:sldMk cId="2211249961" sldId="1014"/>
            <ac:picMk id="136194" creationId="{E0494514-EF77-4386-A3CC-08D49C658479}"/>
          </ac:picMkLst>
        </pc:picChg>
      </pc:sldChg>
      <pc:sldChg chg="addSp delSp modSp add mod">
        <pc:chgData name="Yaroslav Zhydyk" userId="feca11449df7c5ed" providerId="LiveId" clId="{A66BF2D7-9676-49CA-8938-AE9F6FD557AE}" dt="2022-11-12T19:57:29.424" v="3292" actId="14100"/>
        <pc:sldMkLst>
          <pc:docMk/>
          <pc:sldMk cId="2386025508" sldId="1015"/>
        </pc:sldMkLst>
        <pc:spChg chg="add mod topLvl">
          <ac:chgData name="Yaroslav Zhydyk" userId="feca11449df7c5ed" providerId="LiveId" clId="{A66BF2D7-9676-49CA-8938-AE9F6FD557AE}" dt="2022-11-12T19:57:11.234" v="3285" actId="20577"/>
          <ac:spMkLst>
            <pc:docMk/>
            <pc:sldMk cId="2386025508" sldId="1015"/>
            <ac:spMk id="2" creationId="{8E195BA2-6999-BAF5-B353-D93B53449C5E}"/>
          </ac:spMkLst>
        </pc:spChg>
        <pc:spChg chg="add mod topLvl">
          <ac:chgData name="Yaroslav Zhydyk" userId="feca11449df7c5ed" providerId="LiveId" clId="{A66BF2D7-9676-49CA-8938-AE9F6FD557AE}" dt="2022-11-12T19:56:57.934" v="3275" actId="165"/>
          <ac:spMkLst>
            <pc:docMk/>
            <pc:sldMk cId="2386025508" sldId="1015"/>
            <ac:spMk id="3" creationId="{2555016B-441C-D97E-88A2-BFB42FB453A4}"/>
          </ac:spMkLst>
        </pc:spChg>
        <pc:spChg chg="del">
          <ac:chgData name="Yaroslav Zhydyk" userId="feca11449df7c5ed" providerId="LiveId" clId="{A66BF2D7-9676-49CA-8938-AE9F6FD557AE}" dt="2022-11-12T19:56:30.019" v="3255" actId="478"/>
          <ac:spMkLst>
            <pc:docMk/>
            <pc:sldMk cId="2386025508" sldId="1015"/>
            <ac:spMk id="4" creationId="{6A1F4439-C595-4E6D-8179-EF146C833628}"/>
          </ac:spMkLst>
        </pc:spChg>
        <pc:spChg chg="del">
          <ac:chgData name="Yaroslav Zhydyk" userId="feca11449df7c5ed" providerId="LiveId" clId="{A66BF2D7-9676-49CA-8938-AE9F6FD557AE}" dt="2022-11-12T19:56:30.019" v="3255" actId="478"/>
          <ac:spMkLst>
            <pc:docMk/>
            <pc:sldMk cId="2386025508" sldId="1015"/>
            <ac:spMk id="5" creationId="{4AFD2B65-5D63-487B-AD4B-1FB86D2625E8}"/>
          </ac:spMkLst>
        </pc:spChg>
        <pc:spChg chg="del mod">
          <ac:chgData name="Yaroslav Zhydyk" userId="feca11449df7c5ed" providerId="LiveId" clId="{A66BF2D7-9676-49CA-8938-AE9F6FD557AE}" dt="2022-11-12T19:56:30.019" v="3255" actId="478"/>
          <ac:spMkLst>
            <pc:docMk/>
            <pc:sldMk cId="2386025508" sldId="1015"/>
            <ac:spMk id="6" creationId="{FD1E7FC7-A077-4425-8CB6-0457EC277906}"/>
          </ac:spMkLst>
        </pc:spChg>
        <pc:spChg chg="del">
          <ac:chgData name="Yaroslav Zhydyk" userId="feca11449df7c5ed" providerId="LiveId" clId="{A66BF2D7-9676-49CA-8938-AE9F6FD557AE}" dt="2022-11-12T19:56:30.019" v="3255" actId="478"/>
          <ac:spMkLst>
            <pc:docMk/>
            <pc:sldMk cId="2386025508" sldId="1015"/>
            <ac:spMk id="7" creationId="{C7729C7C-1424-4555-A0DB-860D0D97631B}"/>
          </ac:spMkLst>
        </pc:spChg>
        <pc:spChg chg="add mod topLvl">
          <ac:chgData name="Yaroslav Zhydyk" userId="feca11449df7c5ed" providerId="LiveId" clId="{A66BF2D7-9676-49CA-8938-AE9F6FD557AE}" dt="2022-11-12T19:57:02.734" v="3277" actId="1076"/>
          <ac:spMkLst>
            <pc:docMk/>
            <pc:sldMk cId="2386025508" sldId="1015"/>
            <ac:spMk id="8" creationId="{08A4BC55-7F32-1A5B-A785-F65A73AA7CCD}"/>
          </ac:spMkLst>
        </pc:spChg>
        <pc:spChg chg="add mod topLvl">
          <ac:chgData name="Yaroslav Zhydyk" userId="feca11449df7c5ed" providerId="LiveId" clId="{A66BF2D7-9676-49CA-8938-AE9F6FD557AE}" dt="2022-11-12T19:56:57.934" v="3275" actId="165"/>
          <ac:spMkLst>
            <pc:docMk/>
            <pc:sldMk cId="2386025508" sldId="1015"/>
            <ac:spMk id="11" creationId="{6DF394F3-3B5B-DB98-6D47-184EAA2D9BC2}"/>
          </ac:spMkLst>
        </pc:spChg>
        <pc:grpChg chg="add del mod">
          <ac:chgData name="Yaroslav Zhydyk" userId="feca11449df7c5ed" providerId="LiveId" clId="{A66BF2D7-9676-49CA-8938-AE9F6FD557AE}" dt="2022-11-12T19:56:57.934" v="3275" actId="165"/>
          <ac:grpSpMkLst>
            <pc:docMk/>
            <pc:sldMk cId="2386025508" sldId="1015"/>
            <ac:grpSpMk id="12" creationId="{4C1A769F-E394-F170-CA44-560435CF1624}"/>
          </ac:grpSpMkLst>
        </pc:grpChg>
        <pc:cxnChg chg="del mod">
          <ac:chgData name="Yaroslav Zhydyk" userId="feca11449df7c5ed" providerId="LiveId" clId="{A66BF2D7-9676-49CA-8938-AE9F6FD557AE}" dt="2022-11-12T19:56:30.019" v="3255" actId="478"/>
          <ac:cxnSpMkLst>
            <pc:docMk/>
            <pc:sldMk cId="2386025508" sldId="1015"/>
            <ac:cxnSpMk id="9" creationId="{5CCCBD7A-3EDE-43B7-BF87-A8D0191D0D54}"/>
          </ac:cxnSpMkLst>
        </pc:cxnChg>
        <pc:cxnChg chg="del mod">
          <ac:chgData name="Yaroslav Zhydyk" userId="feca11449df7c5ed" providerId="LiveId" clId="{A66BF2D7-9676-49CA-8938-AE9F6FD557AE}" dt="2022-11-12T19:56:30.019" v="3255" actId="478"/>
          <ac:cxnSpMkLst>
            <pc:docMk/>
            <pc:sldMk cId="2386025508" sldId="1015"/>
            <ac:cxnSpMk id="10" creationId="{9F1929C6-A6F5-4E66-8DC7-DAAA8799E156}"/>
          </ac:cxnSpMkLst>
        </pc:cxnChg>
        <pc:cxnChg chg="del mod">
          <ac:chgData name="Yaroslav Zhydyk" userId="feca11449df7c5ed" providerId="LiveId" clId="{A66BF2D7-9676-49CA-8938-AE9F6FD557AE}" dt="2022-11-12T19:56:30.019" v="3255" actId="478"/>
          <ac:cxnSpMkLst>
            <pc:docMk/>
            <pc:sldMk cId="2386025508" sldId="1015"/>
            <ac:cxnSpMk id="14" creationId="{4C2DA47F-C9B3-471E-8636-DBE4D12A65A0}"/>
          </ac:cxnSpMkLst>
        </pc:cxnChg>
        <pc:cxnChg chg="add">
          <ac:chgData name="Yaroslav Zhydyk" userId="feca11449df7c5ed" providerId="LiveId" clId="{A66BF2D7-9676-49CA-8938-AE9F6FD557AE}" dt="2022-11-12T19:57:19.430" v="3286" actId="11529"/>
          <ac:cxnSpMkLst>
            <pc:docMk/>
            <pc:sldMk cId="2386025508" sldId="1015"/>
            <ac:cxnSpMk id="15" creationId="{6FF85353-F6FD-CD68-47E1-4EA6DF697C4F}"/>
          </ac:cxnSpMkLst>
        </pc:cxnChg>
        <pc:cxnChg chg="add mod">
          <ac:chgData name="Yaroslav Zhydyk" userId="feca11449df7c5ed" providerId="LiveId" clId="{A66BF2D7-9676-49CA-8938-AE9F6FD557AE}" dt="2022-11-12T19:57:24.894" v="3289" actId="14100"/>
          <ac:cxnSpMkLst>
            <pc:docMk/>
            <pc:sldMk cId="2386025508" sldId="1015"/>
            <ac:cxnSpMk id="16" creationId="{C60E6BBB-D468-B716-8C95-2C89ED46EEB3}"/>
          </ac:cxnSpMkLst>
        </pc:cxnChg>
        <pc:cxnChg chg="add mod">
          <ac:chgData name="Yaroslav Zhydyk" userId="feca11449df7c5ed" providerId="LiveId" clId="{A66BF2D7-9676-49CA-8938-AE9F6FD557AE}" dt="2022-11-12T19:57:29.424" v="3292" actId="14100"/>
          <ac:cxnSpMkLst>
            <pc:docMk/>
            <pc:sldMk cId="2386025508" sldId="1015"/>
            <ac:cxnSpMk id="19" creationId="{98706604-3173-8C04-00C3-E5B9F08859E0}"/>
          </ac:cxnSpMkLst>
        </pc:cxnChg>
      </pc:sldChg>
      <pc:sldChg chg="add del">
        <pc:chgData name="Yaroslav Zhydyk" userId="feca11449df7c5ed" providerId="LiveId" clId="{A66BF2D7-9676-49CA-8938-AE9F6FD557AE}" dt="2022-11-12T17:42:22.585" v="562" actId="47"/>
        <pc:sldMkLst>
          <pc:docMk/>
          <pc:sldMk cId="4100016874" sldId="1016"/>
        </pc:sldMkLst>
      </pc:sldChg>
      <pc:sldChg chg="modSp new add mod">
        <pc:chgData name="Yaroslav Zhydyk" userId="feca11449df7c5ed" providerId="LiveId" clId="{A66BF2D7-9676-49CA-8938-AE9F6FD557AE}" dt="2022-11-12T19:58:46.240" v="4737"/>
        <pc:sldMkLst>
          <pc:docMk/>
          <pc:sldMk cId="742555592" sldId="1017"/>
        </pc:sldMkLst>
        <pc:spChg chg="mod">
          <ac:chgData name="Yaroslav Zhydyk" userId="feca11449df7c5ed" providerId="LiveId" clId="{A66BF2D7-9676-49CA-8938-AE9F6FD557AE}" dt="2022-11-12T19:58:46.240" v="4737"/>
          <ac:spMkLst>
            <pc:docMk/>
            <pc:sldMk cId="742555592" sldId="1017"/>
            <ac:spMk id="2" creationId="{EFE17672-BE7D-9F59-A27A-F52DD40B96E2}"/>
          </ac:spMkLst>
        </pc:spChg>
      </pc:sldChg>
      <pc:sldChg chg="addSp delSp modSp add mod">
        <pc:chgData name="Yaroslav Zhydyk" userId="feca11449df7c5ed" providerId="LiveId" clId="{A66BF2D7-9676-49CA-8938-AE9F6FD557AE}" dt="2022-11-12T19:58:47.004" v="5630"/>
        <pc:sldMkLst>
          <pc:docMk/>
          <pc:sldMk cId="3890253844" sldId="3537"/>
        </pc:sldMkLst>
        <pc:spChg chg="mod ord">
          <ac:chgData name="Yaroslav Zhydyk" userId="feca11449df7c5ed" providerId="LiveId" clId="{A66BF2D7-9676-49CA-8938-AE9F6FD557AE}" dt="2022-11-12T19:58:46.814" v="5331"/>
          <ac:spMkLst>
            <pc:docMk/>
            <pc:sldMk cId="3890253844" sldId="3537"/>
            <ac:spMk id="2" creationId="{0469D5E5-D8D2-40A7-8B42-08E579E802AE}"/>
          </ac:spMkLst>
        </pc:spChg>
        <pc:spChg chg="add del mod modVis">
          <ac:chgData name="Yaroslav Zhydyk" userId="feca11449df7c5ed" providerId="LiveId" clId="{A66BF2D7-9676-49CA-8938-AE9F6FD557AE}" dt="2022-11-12T19:51:42.031" v="2280" actId="16037"/>
          <ac:spMkLst>
            <pc:docMk/>
            <pc:sldMk cId="3890253844" sldId="3537"/>
            <ac:spMk id="3" creationId="{8E5868BF-6787-51EF-4376-663CADA77601}"/>
          </ac:spMkLst>
        </pc:spChg>
        <pc:spChg chg="add del mod modVis">
          <ac:chgData name="Yaroslav Zhydyk" userId="feca11449df7c5ed" providerId="LiveId" clId="{A66BF2D7-9676-49CA-8938-AE9F6FD557AE}" dt="2022-11-12T19:51:42.719" v="3169"/>
          <ac:spMkLst>
            <pc:docMk/>
            <pc:sldMk cId="3890253844" sldId="3537"/>
            <ac:spMk id="5" creationId="{F66C29FC-EE46-C441-2159-62AAA692E7BA}"/>
          </ac:spMkLst>
        </pc:spChg>
        <pc:spChg chg="mod ord">
          <ac:chgData name="Yaroslav Zhydyk" userId="feca11449df7c5ed" providerId="LiveId" clId="{A66BF2D7-9676-49CA-8938-AE9F6FD557AE}" dt="2022-11-12T19:58:46.811" v="5315"/>
          <ac:spMkLst>
            <pc:docMk/>
            <pc:sldMk cId="3890253844" sldId="3537"/>
            <ac:spMk id="8" creationId="{BA8A7333-567E-4D9F-BE90-59920FB8FC11}"/>
          </ac:spMkLst>
        </pc:spChg>
        <pc:spChg chg="add del mod modVis">
          <ac:chgData name="Yaroslav Zhydyk" userId="feca11449df7c5ed" providerId="LiveId" clId="{A66BF2D7-9676-49CA-8938-AE9F6FD557AE}" dt="2022-11-12T19:58:46.240" v="4737"/>
          <ac:spMkLst>
            <pc:docMk/>
            <pc:sldMk cId="3890253844" sldId="3537"/>
            <ac:spMk id="9" creationId="{37009EDA-FE82-F70C-273C-711D86FF14BB}"/>
          </ac:spMkLst>
        </pc:spChg>
        <pc:spChg chg="mod ord">
          <ac:chgData name="Yaroslav Zhydyk" userId="feca11449df7c5ed" providerId="LiveId" clId="{A66BF2D7-9676-49CA-8938-AE9F6FD557AE}" dt="2022-11-12T19:58:46.814" v="5333"/>
          <ac:spMkLst>
            <pc:docMk/>
            <pc:sldMk cId="3890253844" sldId="3537"/>
            <ac:spMk id="10" creationId="{24A81F54-E913-4C82-98C7-EF97DDB315B3}"/>
          </ac:spMkLst>
        </pc:spChg>
        <pc:spChg chg="add del mod modVis">
          <ac:chgData name="Yaroslav Zhydyk" userId="feca11449df7c5ed" providerId="LiveId" clId="{A66BF2D7-9676-49CA-8938-AE9F6FD557AE}" dt="2022-11-12T19:58:47.001" v="5628"/>
          <ac:spMkLst>
            <pc:docMk/>
            <pc:sldMk cId="3890253844" sldId="3537"/>
            <ac:spMk id="12" creationId="{C846D7BC-FBA4-9DAF-3834-AA9BE0188472}"/>
          </ac:spMkLst>
        </pc:spChg>
        <pc:spChg chg="mod">
          <ac:chgData name="Yaroslav Zhydyk" userId="feca11449df7c5ed" providerId="LiveId" clId="{A66BF2D7-9676-49CA-8938-AE9F6FD557AE}" dt="2022-11-12T19:58:46.819" v="5354"/>
          <ac:spMkLst>
            <pc:docMk/>
            <pc:sldMk cId="3890253844" sldId="3537"/>
            <ac:spMk id="60" creationId="{DD10EC83-2502-4BAA-A90A-A6E96AD14606}"/>
          </ac:spMkLst>
        </pc:spChg>
        <pc:spChg chg="mod ord">
          <ac:chgData name="Yaroslav Zhydyk" userId="feca11449df7c5ed" providerId="LiveId" clId="{A66BF2D7-9676-49CA-8938-AE9F6FD557AE}" dt="2022-11-12T19:58:46.812" v="5317"/>
          <ac:spMkLst>
            <pc:docMk/>
            <pc:sldMk cId="3890253844" sldId="3537"/>
            <ac:spMk id="71" creationId="{E57AD8F6-B769-4F9E-82F0-56EFACE37D6E}"/>
          </ac:spMkLst>
        </pc:spChg>
        <pc:spChg chg="mod ord">
          <ac:chgData name="Yaroslav Zhydyk" userId="feca11449df7c5ed" providerId="LiveId" clId="{A66BF2D7-9676-49CA-8938-AE9F6FD557AE}" dt="2022-11-12T19:58:46.814" v="5335"/>
          <ac:spMkLst>
            <pc:docMk/>
            <pc:sldMk cId="3890253844" sldId="3537"/>
            <ac:spMk id="74" creationId="{989286E4-CF7F-4AEE-BB1F-AAD71370A965}"/>
          </ac:spMkLst>
        </pc:spChg>
        <pc:spChg chg="mod ord">
          <ac:chgData name="Yaroslav Zhydyk" userId="feca11449df7c5ed" providerId="LiveId" clId="{A66BF2D7-9676-49CA-8938-AE9F6FD557AE}" dt="2022-11-12T19:58:46.815" v="5337"/>
          <ac:spMkLst>
            <pc:docMk/>
            <pc:sldMk cId="3890253844" sldId="3537"/>
            <ac:spMk id="75" creationId="{997F9F35-9467-4773-A185-E4DA39497DD7}"/>
          </ac:spMkLst>
        </pc:spChg>
        <pc:spChg chg="mod ord">
          <ac:chgData name="Yaroslav Zhydyk" userId="feca11449df7c5ed" providerId="LiveId" clId="{A66BF2D7-9676-49CA-8938-AE9F6FD557AE}" dt="2022-11-12T19:58:46.819" v="5356"/>
          <ac:spMkLst>
            <pc:docMk/>
            <pc:sldMk cId="3890253844" sldId="3537"/>
            <ac:spMk id="76" creationId="{1844A5BD-B022-4F9E-8CDF-4BE51DDC8980}"/>
          </ac:spMkLst>
        </pc:spChg>
        <pc:spChg chg="mod">
          <ac:chgData name="Yaroslav Zhydyk" userId="feca11449df7c5ed" providerId="LiveId" clId="{A66BF2D7-9676-49CA-8938-AE9F6FD557AE}" dt="2022-11-12T19:58:46.816" v="5341"/>
          <ac:spMkLst>
            <pc:docMk/>
            <pc:sldMk cId="3890253844" sldId="3537"/>
            <ac:spMk id="278" creationId="{DD10EC83-2502-4BAA-A90A-A6E96AD14606}"/>
          </ac:spMkLst>
        </pc:spChg>
        <pc:spChg chg="mod">
          <ac:chgData name="Yaroslav Zhydyk" userId="feca11449df7c5ed" providerId="LiveId" clId="{A66BF2D7-9676-49CA-8938-AE9F6FD557AE}" dt="2022-11-12T19:58:46.815" v="5340"/>
          <ac:spMkLst>
            <pc:docMk/>
            <pc:sldMk cId="3890253844" sldId="3537"/>
            <ac:spMk id="280" creationId="{DD10EC83-2502-4BAA-A90A-A6E96AD14606}"/>
          </ac:spMkLst>
        </pc:spChg>
        <pc:spChg chg="mod">
          <ac:chgData name="Yaroslav Zhydyk" userId="feca11449df7c5ed" providerId="LiveId" clId="{A66BF2D7-9676-49CA-8938-AE9F6FD557AE}" dt="2022-11-12T19:58:46.816" v="5343"/>
          <ac:spMkLst>
            <pc:docMk/>
            <pc:sldMk cId="3890253844" sldId="3537"/>
            <ac:spMk id="282" creationId="{DD10EC83-2502-4BAA-A90A-A6E96AD14606}"/>
          </ac:spMkLst>
        </pc:spChg>
        <pc:spChg chg="mod">
          <ac:chgData name="Yaroslav Zhydyk" userId="feca11449df7c5ed" providerId="LiveId" clId="{A66BF2D7-9676-49CA-8938-AE9F6FD557AE}" dt="2022-11-12T19:58:46.817" v="5344"/>
          <ac:spMkLst>
            <pc:docMk/>
            <pc:sldMk cId="3890253844" sldId="3537"/>
            <ac:spMk id="284" creationId="{DD10EC83-2502-4BAA-A90A-A6E96AD14606}"/>
          </ac:spMkLst>
        </pc:spChg>
        <pc:spChg chg="mod">
          <ac:chgData name="Yaroslav Zhydyk" userId="feca11449df7c5ed" providerId="LiveId" clId="{A66BF2D7-9676-49CA-8938-AE9F6FD557AE}" dt="2022-11-12T19:58:46.816" v="5342"/>
          <ac:spMkLst>
            <pc:docMk/>
            <pc:sldMk cId="3890253844" sldId="3537"/>
            <ac:spMk id="286" creationId="{DD10EC83-2502-4BAA-A90A-A6E96AD14606}"/>
          </ac:spMkLst>
        </pc:spChg>
        <pc:spChg chg="mod">
          <ac:chgData name="Yaroslav Zhydyk" userId="feca11449df7c5ed" providerId="LiveId" clId="{A66BF2D7-9676-49CA-8938-AE9F6FD557AE}" dt="2022-11-12T19:58:46.817" v="5345"/>
          <ac:spMkLst>
            <pc:docMk/>
            <pc:sldMk cId="3890253844" sldId="3537"/>
            <ac:spMk id="288" creationId="{DD10EC83-2502-4BAA-A90A-A6E96AD14606}"/>
          </ac:spMkLst>
        </pc:spChg>
        <pc:spChg chg="mod">
          <ac:chgData name="Yaroslav Zhydyk" userId="feca11449df7c5ed" providerId="LiveId" clId="{A66BF2D7-9676-49CA-8938-AE9F6FD557AE}" dt="2022-11-12T19:58:46.817" v="5347"/>
          <ac:spMkLst>
            <pc:docMk/>
            <pc:sldMk cId="3890253844" sldId="3537"/>
            <ac:spMk id="290" creationId="{DD10EC83-2502-4BAA-A90A-A6E96AD14606}"/>
          </ac:spMkLst>
        </pc:spChg>
        <pc:spChg chg="mod">
          <ac:chgData name="Yaroslav Zhydyk" userId="feca11449df7c5ed" providerId="LiveId" clId="{A66BF2D7-9676-49CA-8938-AE9F6FD557AE}" dt="2022-11-12T19:58:46.817" v="5346"/>
          <ac:spMkLst>
            <pc:docMk/>
            <pc:sldMk cId="3890253844" sldId="3537"/>
            <ac:spMk id="292" creationId="{DD10EC83-2502-4BAA-A90A-A6E96AD14606}"/>
          </ac:spMkLst>
        </pc:spChg>
        <pc:spChg chg="mod ord">
          <ac:chgData name="Yaroslav Zhydyk" userId="feca11449df7c5ed" providerId="LiveId" clId="{A66BF2D7-9676-49CA-8938-AE9F6FD557AE}" dt="2022-11-12T19:58:46.813" v="5321"/>
          <ac:spMkLst>
            <pc:docMk/>
            <pc:sldMk cId="3890253844" sldId="3537"/>
            <ac:spMk id="344" creationId="{B993E5AE-364B-4118-867B-47FA16948B8E}"/>
          </ac:spMkLst>
        </pc:spChg>
        <pc:spChg chg="mod ord">
          <ac:chgData name="Yaroslav Zhydyk" userId="feca11449df7c5ed" providerId="LiveId" clId="{A66BF2D7-9676-49CA-8938-AE9F6FD557AE}" dt="2022-11-12T19:58:46.813" v="5323"/>
          <ac:spMkLst>
            <pc:docMk/>
            <pc:sldMk cId="3890253844" sldId="3537"/>
            <ac:spMk id="345" creationId="{890F61AA-D989-4767-892E-E424F378D657}"/>
          </ac:spMkLst>
        </pc:spChg>
        <pc:spChg chg="mod ord">
          <ac:chgData name="Yaroslav Zhydyk" userId="feca11449df7c5ed" providerId="LiveId" clId="{A66BF2D7-9676-49CA-8938-AE9F6FD557AE}" dt="2022-11-12T19:58:46.813" v="5325"/>
          <ac:spMkLst>
            <pc:docMk/>
            <pc:sldMk cId="3890253844" sldId="3537"/>
            <ac:spMk id="354" creationId="{F520962F-89B0-4715-8E09-21CFF19D3544}"/>
          </ac:spMkLst>
        </pc:spChg>
        <pc:spChg chg="mod ord">
          <ac:chgData name="Yaroslav Zhydyk" userId="feca11449df7c5ed" providerId="LiveId" clId="{A66BF2D7-9676-49CA-8938-AE9F6FD557AE}" dt="2022-11-12T19:58:46.811" v="5313"/>
          <ac:spMkLst>
            <pc:docMk/>
            <pc:sldMk cId="3890253844" sldId="3537"/>
            <ac:spMk id="355" creationId="{0F8EC2FB-DF9F-49B8-98A1-B8BC071E805C}"/>
          </ac:spMkLst>
        </pc:spChg>
        <pc:spChg chg="mod ord">
          <ac:chgData name="Yaroslav Zhydyk" userId="feca11449df7c5ed" providerId="LiveId" clId="{A66BF2D7-9676-49CA-8938-AE9F6FD557AE}" dt="2022-11-12T19:58:46.810" v="5311"/>
          <ac:spMkLst>
            <pc:docMk/>
            <pc:sldMk cId="3890253844" sldId="3537"/>
            <ac:spMk id="356" creationId="{E130A6AA-FF2E-4488-B475-85F52ABB7C03}"/>
          </ac:spMkLst>
        </pc:spChg>
        <pc:spChg chg="mod ord">
          <ac:chgData name="Yaroslav Zhydyk" userId="feca11449df7c5ed" providerId="LiveId" clId="{A66BF2D7-9676-49CA-8938-AE9F6FD557AE}" dt="2022-11-12T19:58:46.813" v="5327"/>
          <ac:spMkLst>
            <pc:docMk/>
            <pc:sldMk cId="3890253844" sldId="3537"/>
            <ac:spMk id="357" creationId="{F8021899-75CC-4EA7-95CA-B19109BC9FB7}"/>
          </ac:spMkLst>
        </pc:spChg>
        <pc:spChg chg="mod ord">
          <ac:chgData name="Yaroslav Zhydyk" userId="feca11449df7c5ed" providerId="LiveId" clId="{A66BF2D7-9676-49CA-8938-AE9F6FD557AE}" dt="2022-11-12T19:58:46.814" v="5329"/>
          <ac:spMkLst>
            <pc:docMk/>
            <pc:sldMk cId="3890253844" sldId="3537"/>
            <ac:spMk id="358" creationId="{2EB50A18-789E-468A-9426-5499A49BFCC8}"/>
          </ac:spMkLst>
        </pc:spChg>
        <pc:grpChg chg="mod ord">
          <ac:chgData name="Yaroslav Zhydyk" userId="feca11449df7c5ed" providerId="LiveId" clId="{A66BF2D7-9676-49CA-8938-AE9F6FD557AE}" dt="2022-11-12T19:58:46.812" v="5319"/>
          <ac:grpSpMkLst>
            <pc:docMk/>
            <pc:sldMk cId="3890253844" sldId="3537"/>
            <ac:grpSpMk id="347" creationId="{D21C95E2-EC8C-4BCC-AC2B-2AB27B614BD0}"/>
          </ac:grpSpMkLst>
        </pc:grpChg>
        <pc:graphicFrameChg chg="add mod ord replST delST">
          <ac:chgData name="Yaroslav Zhydyk" userId="feca11449df7c5ed" providerId="LiveId" clId="{A66BF2D7-9676-49CA-8938-AE9F6FD557AE}" dt="2022-11-12T19:51:42.031" v="2280" actId="16037"/>
          <ac:graphicFrameMkLst>
            <pc:docMk/>
            <pc:sldMk cId="3890253844" sldId="3537"/>
            <ac:graphicFrameMk id="4" creationId="{BAB9754F-0A1B-3AFF-9488-6D10126DE40E}"/>
          </ac:graphicFrameMkLst>
        </pc:graphicFrameChg>
        <pc:graphicFrameChg chg="add del mod ord replST">
          <ac:chgData name="Yaroslav Zhydyk" userId="feca11449df7c5ed" providerId="LiveId" clId="{A66BF2D7-9676-49CA-8938-AE9F6FD557AE}" dt="2022-11-12T19:58:46.795" v="5303"/>
          <ac:graphicFrameMkLst>
            <pc:docMk/>
            <pc:sldMk cId="3890253844" sldId="3537"/>
            <ac:graphicFrameMk id="6" creationId="{A158405D-F405-F119-F3B3-ABC14E0392B6}"/>
          </ac:graphicFrameMkLst>
        </pc:graphicFrameChg>
        <pc:graphicFrameChg chg="mod">
          <ac:chgData name="Yaroslav Zhydyk" userId="feca11449df7c5ed" providerId="LiveId" clId="{A66BF2D7-9676-49CA-8938-AE9F6FD557AE}" dt="2022-11-12T19:58:47.004" v="5630"/>
          <ac:graphicFrameMkLst>
            <pc:docMk/>
            <pc:sldMk cId="3890253844" sldId="3537"/>
            <ac:graphicFrameMk id="7" creationId="{5E5FF50D-F96D-4904-A92C-F99C8A8081E4}"/>
          </ac:graphicFrameMkLst>
        </pc:graphicFrameChg>
        <pc:graphicFrameChg chg="add mod ord replST delST">
          <ac:chgData name="Yaroslav Zhydyk" userId="feca11449df7c5ed" providerId="LiveId" clId="{A66BF2D7-9676-49CA-8938-AE9F6FD557AE}" dt="2022-11-12T19:58:46.240" v="4737"/>
          <ac:graphicFrameMkLst>
            <pc:docMk/>
            <pc:sldMk cId="3890253844" sldId="3537"/>
            <ac:graphicFrameMk id="11" creationId="{5215BF57-BFA7-8924-8209-E6433FA113A6}"/>
          </ac:graphicFrameMkLst>
        </pc:graphicFrameChg>
        <pc:graphicFrameChg chg="add mod ord replST">
          <ac:chgData name="Yaroslav Zhydyk" userId="feca11449df7c5ed" providerId="LiveId" clId="{A66BF2D7-9676-49CA-8938-AE9F6FD557AE}" dt="2022-11-12T19:58:46.815" v="5339"/>
          <ac:graphicFrameMkLst>
            <pc:docMk/>
            <pc:sldMk cId="3890253844" sldId="3537"/>
            <ac:graphicFrameMk id="13" creationId="{13B5E79F-D568-0F89-8FD6-9E820B4E7F32}"/>
          </ac:graphicFrameMkLst>
        </pc:graphicFrameChg>
        <pc:graphicFrameChg chg="add del">
          <ac:chgData name="Yaroslav Zhydyk" userId="feca11449df7c5ed" providerId="LiveId" clId="{A66BF2D7-9676-49CA-8938-AE9F6FD557AE}" dt="2022-11-12T19:51:42.459" v="2844"/>
          <ac:graphicFrameMkLst>
            <pc:docMk/>
            <pc:sldMk cId="3890253844" sldId="3537"/>
            <ac:graphicFrameMk id="68" creationId="{A54C12B7-AF10-82A1-D1DC-606AC64942A2}"/>
          </ac:graphicFrameMkLst>
        </pc:graphicFrameChg>
        <pc:picChg chg="mod">
          <ac:chgData name="Yaroslav Zhydyk" userId="feca11449df7c5ed" providerId="LiveId" clId="{A66BF2D7-9676-49CA-8938-AE9F6FD557AE}" dt="2022-11-12T19:58:46.820" v="5357"/>
          <ac:picMkLst>
            <pc:docMk/>
            <pc:sldMk cId="3890253844" sldId="3537"/>
            <ac:picMk id="77" creationId="{A8D3E765-5E25-431D-94C7-F3CF595C6A67}"/>
          </ac:picMkLst>
        </pc:picChg>
        <pc:cxnChg chg="mod ord">
          <ac:chgData name="Yaroslav Zhydyk" userId="feca11449df7c5ed" providerId="LiveId" clId="{A66BF2D7-9676-49CA-8938-AE9F6FD557AE}" dt="2022-11-12T19:58:46.819" v="5351"/>
          <ac:cxnSpMkLst>
            <pc:docMk/>
            <pc:sldMk cId="3890253844" sldId="3537"/>
            <ac:cxnSpMk id="312" creationId="{064EEF99-BD88-47D5-B263-C1A29F9A3F48}"/>
          </ac:cxnSpMkLst>
        </pc:cxnChg>
        <pc:cxnChg chg="mod ord">
          <ac:chgData name="Yaroslav Zhydyk" userId="feca11449df7c5ed" providerId="LiveId" clId="{A66BF2D7-9676-49CA-8938-AE9F6FD557AE}" dt="2022-11-12T19:58:46.819" v="5353"/>
          <ac:cxnSpMkLst>
            <pc:docMk/>
            <pc:sldMk cId="3890253844" sldId="3537"/>
            <ac:cxnSpMk id="317" creationId="{5F15E72C-2A5C-4817-9435-74E070BB1198}"/>
          </ac:cxnSpMkLst>
        </pc:cxnChg>
        <pc:cxnChg chg="mod ord">
          <ac:chgData name="Yaroslav Zhydyk" userId="feca11449df7c5ed" providerId="LiveId" clId="{A66BF2D7-9676-49CA-8938-AE9F6FD557AE}" dt="2022-11-12T19:58:46.819" v="5349"/>
          <ac:cxnSpMkLst>
            <pc:docMk/>
            <pc:sldMk cId="3890253844" sldId="3537"/>
            <ac:cxnSpMk id="322" creationId="{A799A8CD-B462-4E18-BDF9-9554AD18DEA6}"/>
          </ac:cxnSpMkLst>
        </pc:cxnChg>
      </pc:sldChg>
      <pc:sldChg chg="addSp delSp modSp add mod">
        <pc:chgData name="Yaroslav Zhydyk" userId="feca11449df7c5ed" providerId="LiveId" clId="{A66BF2D7-9676-49CA-8938-AE9F6FD557AE}" dt="2022-11-12T19:58:47.015" v="5638"/>
        <pc:sldMkLst>
          <pc:docMk/>
          <pc:sldMk cId="1746414120" sldId="3978"/>
        </pc:sldMkLst>
        <pc:spChg chg="add del mod modVis">
          <ac:chgData name="Yaroslav Zhydyk" userId="feca11449df7c5ed" providerId="LiveId" clId="{A66BF2D7-9676-49CA-8938-AE9F6FD557AE}" dt="2022-11-12T19:51:42.031" v="2280" actId="16037"/>
          <ac:spMkLst>
            <pc:docMk/>
            <pc:sldMk cId="1746414120" sldId="3978"/>
            <ac:spMk id="2" creationId="{3F65D863-43AB-96B4-7B99-AD14A8F5C9F4}"/>
          </ac:spMkLst>
        </pc:spChg>
        <pc:spChg chg="mod ord">
          <ac:chgData name="Yaroslav Zhydyk" userId="feca11449df7c5ed" providerId="LiveId" clId="{A66BF2D7-9676-49CA-8938-AE9F6FD557AE}" dt="2022-11-12T19:58:46.988" v="5583"/>
          <ac:spMkLst>
            <pc:docMk/>
            <pc:sldMk cId="1746414120" sldId="3978"/>
            <ac:spMk id="8" creationId="{BA8A7333-567E-4D9F-BE90-59920FB8FC11}"/>
          </ac:spMkLst>
        </pc:spChg>
        <pc:spChg chg="add del mod modVis">
          <ac:chgData name="Yaroslav Zhydyk" userId="feca11449df7c5ed" providerId="LiveId" clId="{A66BF2D7-9676-49CA-8938-AE9F6FD557AE}" dt="2022-11-12T19:51:42.729" v="3177"/>
          <ac:spMkLst>
            <pc:docMk/>
            <pc:sldMk cId="1746414120" sldId="3978"/>
            <ac:spMk id="9" creationId="{91A07E98-281F-7505-9DB4-F7C3693811B3}"/>
          </ac:spMkLst>
        </pc:spChg>
        <pc:spChg chg="add del mod modVis">
          <ac:chgData name="Yaroslav Zhydyk" userId="feca11449df7c5ed" providerId="LiveId" clId="{A66BF2D7-9676-49CA-8938-AE9F6FD557AE}" dt="2022-11-12T19:58:46.240" v="4737"/>
          <ac:spMkLst>
            <pc:docMk/>
            <pc:sldMk cId="1746414120" sldId="3978"/>
            <ac:spMk id="11" creationId="{253C2CE3-0644-5C84-2863-99B26A02E6CA}"/>
          </ac:spMkLst>
        </pc:spChg>
        <pc:spChg chg="add del mod modVis">
          <ac:chgData name="Yaroslav Zhydyk" userId="feca11449df7c5ed" providerId="LiveId" clId="{A66BF2D7-9676-49CA-8938-AE9F6FD557AE}" dt="2022-11-12T19:58:47.010" v="5636"/>
          <ac:spMkLst>
            <pc:docMk/>
            <pc:sldMk cId="1746414120" sldId="3978"/>
            <ac:spMk id="13" creationId="{873956B6-B9D1-1520-3954-95D768D1920A}"/>
          </ac:spMkLst>
        </pc:spChg>
        <pc:spChg chg="mod ord">
          <ac:chgData name="Yaroslav Zhydyk" userId="feca11449df7c5ed" providerId="LiveId" clId="{A66BF2D7-9676-49CA-8938-AE9F6FD557AE}" dt="2022-11-12T19:58:46.988" v="5587"/>
          <ac:spMkLst>
            <pc:docMk/>
            <pc:sldMk cId="1746414120" sldId="3978"/>
            <ac:spMk id="61" creationId="{E3A1E631-4F11-4508-8B33-D5448D3467D7}"/>
          </ac:spMkLst>
        </pc:spChg>
        <pc:spChg chg="mod ord">
          <ac:chgData name="Yaroslav Zhydyk" userId="feca11449df7c5ed" providerId="LiveId" clId="{A66BF2D7-9676-49CA-8938-AE9F6FD557AE}" dt="2022-11-12T19:58:46.989" v="5589"/>
          <ac:spMkLst>
            <pc:docMk/>
            <pc:sldMk cId="1746414120" sldId="3978"/>
            <ac:spMk id="70" creationId="{7930F74B-ACFC-49BB-BE7B-49938F206772}"/>
          </ac:spMkLst>
        </pc:spChg>
        <pc:spChg chg="mod ord">
          <ac:chgData name="Yaroslav Zhydyk" userId="feca11449df7c5ed" providerId="LiveId" clId="{A66BF2D7-9676-49CA-8938-AE9F6FD557AE}" dt="2022-11-12T19:58:46.988" v="5585"/>
          <ac:spMkLst>
            <pc:docMk/>
            <pc:sldMk cId="1746414120" sldId="3978"/>
            <ac:spMk id="71" creationId="{E57AD8F6-B769-4F9E-82F0-56EFACE37D6E}"/>
          </ac:spMkLst>
        </pc:spChg>
        <pc:spChg chg="mod ord">
          <ac:chgData name="Yaroslav Zhydyk" userId="feca11449df7c5ed" providerId="LiveId" clId="{A66BF2D7-9676-49CA-8938-AE9F6FD557AE}" dt="2022-11-12T19:58:46.990" v="5591"/>
          <ac:spMkLst>
            <pc:docMk/>
            <pc:sldMk cId="1746414120" sldId="3978"/>
            <ac:spMk id="72" creationId="{ED2EEE5A-052B-4EDE-9854-6DA74B3E5217}"/>
          </ac:spMkLst>
        </pc:spChg>
        <pc:spChg chg="mod ord">
          <ac:chgData name="Yaroslav Zhydyk" userId="feca11449df7c5ed" providerId="LiveId" clId="{A66BF2D7-9676-49CA-8938-AE9F6FD557AE}" dt="2022-11-12T19:58:46.992" v="5595"/>
          <ac:spMkLst>
            <pc:docMk/>
            <pc:sldMk cId="1746414120" sldId="3978"/>
            <ac:spMk id="109" creationId="{7F343594-ECE2-4B76-AB83-7689E982C359}"/>
          </ac:spMkLst>
        </pc:spChg>
        <pc:spChg chg="mod ord">
          <ac:chgData name="Yaroslav Zhydyk" userId="feca11449df7c5ed" providerId="LiveId" clId="{A66BF2D7-9676-49CA-8938-AE9F6FD557AE}" dt="2022-11-12T19:58:46.992" v="5597"/>
          <ac:spMkLst>
            <pc:docMk/>
            <pc:sldMk cId="1746414120" sldId="3978"/>
            <ac:spMk id="110" creationId="{EE867585-E195-452C-A98B-5EE1CD68D783}"/>
          </ac:spMkLst>
        </pc:spChg>
        <pc:spChg chg="mod ord">
          <ac:chgData name="Yaroslav Zhydyk" userId="feca11449df7c5ed" providerId="LiveId" clId="{A66BF2D7-9676-49CA-8938-AE9F6FD557AE}" dt="2022-11-12T19:58:46.992" v="5599"/>
          <ac:spMkLst>
            <pc:docMk/>
            <pc:sldMk cId="1746414120" sldId="3978"/>
            <ac:spMk id="111" creationId="{21F5A67D-35FA-4DF9-8954-D07EBC9BD432}"/>
          </ac:spMkLst>
        </pc:spChg>
        <pc:spChg chg="mod ord">
          <ac:chgData name="Yaroslav Zhydyk" userId="feca11449df7c5ed" providerId="LiveId" clId="{A66BF2D7-9676-49CA-8938-AE9F6FD557AE}" dt="2022-11-12T19:58:46.993" v="5601"/>
          <ac:spMkLst>
            <pc:docMk/>
            <pc:sldMk cId="1746414120" sldId="3978"/>
            <ac:spMk id="112" creationId="{7173DA0E-50D5-4912-8E1A-D3C62158FC2E}"/>
          </ac:spMkLst>
        </pc:spChg>
        <pc:spChg chg="mod ord">
          <ac:chgData name="Yaroslav Zhydyk" userId="feca11449df7c5ed" providerId="LiveId" clId="{A66BF2D7-9676-49CA-8938-AE9F6FD557AE}" dt="2022-11-12T19:58:46.993" v="5603"/>
          <ac:spMkLst>
            <pc:docMk/>
            <pc:sldMk cId="1746414120" sldId="3978"/>
            <ac:spMk id="113" creationId="{D5E1D69D-0F78-4145-9236-916FA7D15C32}"/>
          </ac:spMkLst>
        </pc:spChg>
        <pc:spChg chg="mod">
          <ac:chgData name="Yaroslav Zhydyk" userId="feca11449df7c5ed" providerId="LiveId" clId="{A66BF2D7-9676-49CA-8938-AE9F6FD557AE}" dt="2022-11-12T19:58:46.995" v="5607"/>
          <ac:spMkLst>
            <pc:docMk/>
            <pc:sldMk cId="1746414120" sldId="3978"/>
            <ac:spMk id="115" creationId="{DFD23BD6-B6CB-4565-B2BE-EAD88BA01163}"/>
          </ac:spMkLst>
        </pc:spChg>
        <pc:spChg chg="mod">
          <ac:chgData name="Yaroslav Zhydyk" userId="feca11449df7c5ed" providerId="LiveId" clId="{A66BF2D7-9676-49CA-8938-AE9F6FD557AE}" dt="2022-11-12T19:58:46.995" v="5606"/>
          <ac:spMkLst>
            <pc:docMk/>
            <pc:sldMk cId="1746414120" sldId="3978"/>
            <ac:spMk id="117" creationId="{84E28A71-80E6-4185-9AC8-496090263671}"/>
          </ac:spMkLst>
        </pc:spChg>
        <pc:spChg chg="mod">
          <ac:chgData name="Yaroslav Zhydyk" userId="feca11449df7c5ed" providerId="LiveId" clId="{A66BF2D7-9676-49CA-8938-AE9F6FD557AE}" dt="2022-11-12T19:58:46.995" v="5609"/>
          <ac:spMkLst>
            <pc:docMk/>
            <pc:sldMk cId="1746414120" sldId="3978"/>
            <ac:spMk id="118" creationId="{30B864A3-5095-4200-BCAF-082BF32A2C69}"/>
          </ac:spMkLst>
        </pc:spChg>
        <pc:spChg chg="mod">
          <ac:chgData name="Yaroslav Zhydyk" userId="feca11449df7c5ed" providerId="LiveId" clId="{A66BF2D7-9676-49CA-8938-AE9F6FD557AE}" dt="2022-11-12T19:58:46.995" v="5610"/>
          <ac:spMkLst>
            <pc:docMk/>
            <pc:sldMk cId="1746414120" sldId="3978"/>
            <ac:spMk id="119" creationId="{E503EDFC-0B7C-4092-B712-DC73D41DED22}"/>
          </ac:spMkLst>
        </pc:spChg>
        <pc:spChg chg="mod">
          <ac:chgData name="Yaroslav Zhydyk" userId="feca11449df7c5ed" providerId="LiveId" clId="{A66BF2D7-9676-49CA-8938-AE9F6FD557AE}" dt="2022-11-12T19:58:46.995" v="5611"/>
          <ac:spMkLst>
            <pc:docMk/>
            <pc:sldMk cId="1746414120" sldId="3978"/>
            <ac:spMk id="120" creationId="{1803875E-7828-4D4B-B6E7-DB9BBBFE911D}"/>
          </ac:spMkLst>
        </pc:spChg>
        <pc:spChg chg="mod">
          <ac:chgData name="Yaroslav Zhydyk" userId="feca11449df7c5ed" providerId="LiveId" clId="{A66BF2D7-9676-49CA-8938-AE9F6FD557AE}" dt="2022-11-12T19:58:46.996" v="5613"/>
          <ac:spMkLst>
            <pc:docMk/>
            <pc:sldMk cId="1746414120" sldId="3978"/>
            <ac:spMk id="121" creationId="{ADF07291-C42D-4D83-B295-7F1F2C62034C}"/>
          </ac:spMkLst>
        </pc:spChg>
        <pc:spChg chg="mod">
          <ac:chgData name="Yaroslav Zhydyk" userId="feca11449df7c5ed" providerId="LiveId" clId="{A66BF2D7-9676-49CA-8938-AE9F6FD557AE}" dt="2022-11-12T19:58:46.995" v="5608"/>
          <ac:spMkLst>
            <pc:docMk/>
            <pc:sldMk cId="1746414120" sldId="3978"/>
            <ac:spMk id="122" creationId="{749326EB-C7FB-4439-B3CD-21EAC7D4119E}"/>
          </ac:spMkLst>
        </pc:spChg>
        <pc:spChg chg="mod">
          <ac:chgData name="Yaroslav Zhydyk" userId="feca11449df7c5ed" providerId="LiveId" clId="{A66BF2D7-9676-49CA-8938-AE9F6FD557AE}" dt="2022-11-12T19:58:46.995" v="5612"/>
          <ac:spMkLst>
            <pc:docMk/>
            <pc:sldMk cId="1746414120" sldId="3978"/>
            <ac:spMk id="123" creationId="{3BF981B3-4992-49C7-A5FD-8DCE31870654}"/>
          </ac:spMkLst>
        </pc:spChg>
        <pc:spChg chg="mod">
          <ac:chgData name="Yaroslav Zhydyk" userId="feca11449df7c5ed" providerId="LiveId" clId="{A66BF2D7-9676-49CA-8938-AE9F6FD557AE}" dt="2022-11-12T19:58:46.998" v="5620"/>
          <ac:spMkLst>
            <pc:docMk/>
            <pc:sldMk cId="1746414120" sldId="3978"/>
            <ac:spMk id="127" creationId="{23FBFD70-0C09-45E1-88D8-0847353A35FB}"/>
          </ac:spMkLst>
        </pc:spChg>
        <pc:spChg chg="mod ord">
          <ac:chgData name="Yaroslav Zhydyk" userId="feca11449df7c5ed" providerId="LiveId" clId="{A66BF2D7-9676-49CA-8938-AE9F6FD557AE}" dt="2022-11-12T19:58:46.998" v="5622"/>
          <ac:spMkLst>
            <pc:docMk/>
            <pc:sldMk cId="1746414120" sldId="3978"/>
            <ac:spMk id="128" creationId="{38D29163-D72D-48CD-93B0-CB995DE4841D}"/>
          </ac:spMkLst>
        </pc:spChg>
        <pc:grpChg chg="mod ord">
          <ac:chgData name="Yaroslav Zhydyk" userId="feca11449df7c5ed" providerId="LiveId" clId="{A66BF2D7-9676-49CA-8938-AE9F6FD557AE}" dt="2022-11-12T19:58:46.987" v="5581"/>
          <ac:grpSpMkLst>
            <pc:docMk/>
            <pc:sldMk cId="1746414120" sldId="3978"/>
            <ac:grpSpMk id="5" creationId="{A45935B3-B55E-4ADC-81EC-3DF8053D1194}"/>
          </ac:grpSpMkLst>
        </pc:grpChg>
        <pc:grpChg chg="mod ord">
          <ac:chgData name="Yaroslav Zhydyk" userId="feca11449df7c5ed" providerId="LiveId" clId="{A66BF2D7-9676-49CA-8938-AE9F6FD557AE}" dt="2022-11-12T19:58:46.991" v="5593"/>
          <ac:grpSpMkLst>
            <pc:docMk/>
            <pc:sldMk cId="1746414120" sldId="3978"/>
            <ac:grpSpMk id="73" creationId="{D6B5BFB8-C91F-4D4B-B796-137558C6A44B}"/>
          </ac:grpSpMkLst>
        </pc:grpChg>
        <pc:graphicFrameChg chg="add mod ord replST delST">
          <ac:chgData name="Yaroslav Zhydyk" userId="feca11449df7c5ed" providerId="LiveId" clId="{A66BF2D7-9676-49CA-8938-AE9F6FD557AE}" dt="2022-11-12T19:51:42.031" v="2280" actId="16037"/>
          <ac:graphicFrameMkLst>
            <pc:docMk/>
            <pc:sldMk cId="1746414120" sldId="3978"/>
            <ac:graphicFrameMk id="6" creationId="{5700082F-9F20-5A87-E783-43C158C0F7DA}"/>
          </ac:graphicFrameMkLst>
        </pc:graphicFrameChg>
        <pc:graphicFrameChg chg="mod">
          <ac:chgData name="Yaroslav Zhydyk" userId="feca11449df7c5ed" providerId="LiveId" clId="{A66BF2D7-9676-49CA-8938-AE9F6FD557AE}" dt="2022-11-12T19:58:47.015" v="5638"/>
          <ac:graphicFrameMkLst>
            <pc:docMk/>
            <pc:sldMk cId="1746414120" sldId="3978"/>
            <ac:graphicFrameMk id="7" creationId="{5E5FF50D-F96D-4904-A92C-F99C8A8081E4}"/>
          </ac:graphicFrameMkLst>
        </pc:graphicFrameChg>
        <pc:graphicFrameChg chg="add del mod ord replST">
          <ac:chgData name="Yaroslav Zhydyk" userId="feca11449df7c5ed" providerId="LiveId" clId="{A66BF2D7-9676-49CA-8938-AE9F6FD557AE}" dt="2022-11-12T19:58:46.971" v="5571"/>
          <ac:graphicFrameMkLst>
            <pc:docMk/>
            <pc:sldMk cId="1746414120" sldId="3978"/>
            <ac:graphicFrameMk id="10" creationId="{D6107554-3866-FE01-3BFD-6E016D687DE8}"/>
          </ac:graphicFrameMkLst>
        </pc:graphicFrameChg>
        <pc:graphicFrameChg chg="add mod ord replST delST">
          <ac:chgData name="Yaroslav Zhydyk" userId="feca11449df7c5ed" providerId="LiveId" clId="{A66BF2D7-9676-49CA-8938-AE9F6FD557AE}" dt="2022-11-12T19:58:46.240" v="4737"/>
          <ac:graphicFrameMkLst>
            <pc:docMk/>
            <pc:sldMk cId="1746414120" sldId="3978"/>
            <ac:graphicFrameMk id="12" creationId="{43C66CBF-593F-A7EA-8554-EEBEC696FCF9}"/>
          </ac:graphicFrameMkLst>
        </pc:graphicFrameChg>
        <pc:graphicFrameChg chg="add mod ord replST">
          <ac:chgData name="Yaroslav Zhydyk" userId="feca11449df7c5ed" providerId="LiveId" clId="{A66BF2D7-9676-49CA-8938-AE9F6FD557AE}" dt="2022-11-12T19:58:46.993" v="5605"/>
          <ac:graphicFrameMkLst>
            <pc:docMk/>
            <pc:sldMk cId="1746414120" sldId="3978"/>
            <ac:graphicFrameMk id="14" creationId="{6A37C810-4112-A964-0737-D84F251A8F80}"/>
          </ac:graphicFrameMkLst>
        </pc:graphicFrameChg>
        <pc:graphicFrameChg chg="add del">
          <ac:chgData name="Yaroslav Zhydyk" userId="feca11449df7c5ed" providerId="LiveId" clId="{A66BF2D7-9676-49CA-8938-AE9F6FD557AE}" dt="2022-11-12T19:51:42.689" v="3112"/>
          <ac:graphicFrameMkLst>
            <pc:docMk/>
            <pc:sldMk cId="1746414120" sldId="3978"/>
            <ac:graphicFrameMk id="114" creationId="{A96E2E07-6A13-3F1A-6D9A-CD38EC494D7B}"/>
          </ac:graphicFrameMkLst>
        </pc:graphicFrameChg>
        <pc:cxnChg chg="mod ord">
          <ac:chgData name="Yaroslav Zhydyk" userId="feca11449df7c5ed" providerId="LiveId" clId="{A66BF2D7-9676-49CA-8938-AE9F6FD557AE}" dt="2022-11-12T19:58:46.987" v="5579"/>
          <ac:cxnSpMkLst>
            <pc:docMk/>
            <pc:sldMk cId="1746414120" sldId="3978"/>
            <ac:cxnSpMk id="3" creationId="{424B0517-C8C1-458D-8A83-3BF8CE2DE02D}"/>
          </ac:cxnSpMkLst>
        </pc:cxnChg>
        <pc:cxnChg chg="mod ord">
          <ac:chgData name="Yaroslav Zhydyk" userId="feca11449df7c5ed" providerId="LiveId" clId="{A66BF2D7-9676-49CA-8938-AE9F6FD557AE}" dt="2022-11-12T19:58:46.998" v="5619"/>
          <ac:cxnSpMkLst>
            <pc:docMk/>
            <pc:sldMk cId="1746414120" sldId="3978"/>
            <ac:cxnSpMk id="124" creationId="{2EDB84D1-7A3C-4362-8B75-F910CA2BACD8}"/>
          </ac:cxnSpMkLst>
        </pc:cxnChg>
        <pc:cxnChg chg="mod ord">
          <ac:chgData name="Yaroslav Zhydyk" userId="feca11449df7c5ed" providerId="LiveId" clId="{A66BF2D7-9676-49CA-8938-AE9F6FD557AE}" dt="2022-11-12T19:58:46.996" v="5617"/>
          <ac:cxnSpMkLst>
            <pc:docMk/>
            <pc:sldMk cId="1746414120" sldId="3978"/>
            <ac:cxnSpMk id="125" creationId="{144B4D4A-D649-4B88-BB3D-7C9D9F5C493C}"/>
          </ac:cxnSpMkLst>
        </pc:cxnChg>
        <pc:cxnChg chg="mod ord">
          <ac:chgData name="Yaroslav Zhydyk" userId="feca11449df7c5ed" providerId="LiveId" clId="{A66BF2D7-9676-49CA-8938-AE9F6FD557AE}" dt="2022-11-12T19:58:46.996" v="5615"/>
          <ac:cxnSpMkLst>
            <pc:docMk/>
            <pc:sldMk cId="1746414120" sldId="3978"/>
            <ac:cxnSpMk id="126" creationId="{F98A1155-CA05-49ED-B439-2C97DFADD11F}"/>
          </ac:cxnSpMkLst>
        </pc:cxnChg>
      </pc:sldChg>
      <pc:sldChg chg="add modTransition">
        <pc:chgData name="Yaroslav Zhydyk" userId="feca11449df7c5ed" providerId="LiveId" clId="{A66BF2D7-9676-49CA-8938-AE9F6FD557AE}" dt="2022-11-12T20:00:19.847" v="5641"/>
        <pc:sldMkLst>
          <pc:docMk/>
          <pc:sldMk cId="558104021" sldId="3979"/>
        </pc:sldMkLst>
      </pc:sldChg>
      <pc:sldChg chg="addSp delSp modSp add mod">
        <pc:chgData name="Yaroslav Zhydyk" userId="feca11449df7c5ed" providerId="LiveId" clId="{A66BF2D7-9676-49CA-8938-AE9F6FD557AE}" dt="2022-11-12T19:58:47.010" v="5634"/>
        <pc:sldMkLst>
          <pc:docMk/>
          <pc:sldMk cId="1494458417" sldId="3987"/>
        </pc:sldMkLst>
        <pc:spChg chg="mod ord">
          <ac:chgData name="Yaroslav Zhydyk" userId="feca11449df7c5ed" providerId="LiveId" clId="{A66BF2D7-9676-49CA-8938-AE9F6FD557AE}" dt="2022-11-12T19:58:46.903" v="5466"/>
          <ac:spMkLst>
            <pc:docMk/>
            <pc:sldMk cId="1494458417" sldId="3987"/>
            <ac:spMk id="2" creationId="{0469D5E5-D8D2-40A7-8B42-08E579E802AE}"/>
          </ac:spMkLst>
        </pc:spChg>
        <pc:spChg chg="add del mod modVis">
          <ac:chgData name="Yaroslav Zhydyk" userId="feca11449df7c5ed" providerId="LiveId" clId="{A66BF2D7-9676-49CA-8938-AE9F6FD557AE}" dt="2022-11-12T19:51:42.031" v="2280" actId="16037"/>
          <ac:spMkLst>
            <pc:docMk/>
            <pc:sldMk cId="1494458417" sldId="3987"/>
            <ac:spMk id="3" creationId="{C84EB551-6B60-E61F-7AA1-8C6D021D205E}"/>
          </ac:spMkLst>
        </pc:spChg>
        <pc:spChg chg="add del mod modVis">
          <ac:chgData name="Yaroslav Zhydyk" userId="feca11449df7c5ed" providerId="LiveId" clId="{A66BF2D7-9676-49CA-8938-AE9F6FD557AE}" dt="2022-11-12T19:51:42.724" v="3173"/>
          <ac:spMkLst>
            <pc:docMk/>
            <pc:sldMk cId="1494458417" sldId="3987"/>
            <ac:spMk id="5" creationId="{3E998D07-0DD6-6FED-E9D8-19290818C2C0}"/>
          </ac:spMkLst>
        </pc:spChg>
        <pc:spChg chg="mod ord">
          <ac:chgData name="Yaroslav Zhydyk" userId="feca11449df7c5ed" providerId="LiveId" clId="{A66BF2D7-9676-49CA-8938-AE9F6FD557AE}" dt="2022-11-12T19:58:46.900" v="5448"/>
          <ac:spMkLst>
            <pc:docMk/>
            <pc:sldMk cId="1494458417" sldId="3987"/>
            <ac:spMk id="8" creationId="{BA8A7333-567E-4D9F-BE90-59920FB8FC11}"/>
          </ac:spMkLst>
        </pc:spChg>
        <pc:spChg chg="add del mod modVis">
          <ac:chgData name="Yaroslav Zhydyk" userId="feca11449df7c5ed" providerId="LiveId" clId="{A66BF2D7-9676-49CA-8938-AE9F6FD557AE}" dt="2022-11-12T19:58:46.240" v="4737"/>
          <ac:spMkLst>
            <pc:docMk/>
            <pc:sldMk cId="1494458417" sldId="3987"/>
            <ac:spMk id="9" creationId="{7281C778-FB54-D4E8-1B92-3877029DDC14}"/>
          </ac:spMkLst>
        </pc:spChg>
        <pc:spChg chg="mod ord">
          <ac:chgData name="Yaroslav Zhydyk" userId="feca11449df7c5ed" providerId="LiveId" clId="{A66BF2D7-9676-49CA-8938-AE9F6FD557AE}" dt="2022-11-12T19:58:46.903" v="5468"/>
          <ac:spMkLst>
            <pc:docMk/>
            <pc:sldMk cId="1494458417" sldId="3987"/>
            <ac:spMk id="10" creationId="{24A81F54-E913-4C82-98C7-EF97DDB315B3}"/>
          </ac:spMkLst>
        </pc:spChg>
        <pc:spChg chg="add del mod modVis">
          <ac:chgData name="Yaroslav Zhydyk" userId="feca11449df7c5ed" providerId="LiveId" clId="{A66BF2D7-9676-49CA-8938-AE9F6FD557AE}" dt="2022-11-12T19:58:47.005" v="5632"/>
          <ac:spMkLst>
            <pc:docMk/>
            <pc:sldMk cId="1494458417" sldId="3987"/>
            <ac:spMk id="12" creationId="{5A678A57-C28A-3CE1-A985-CF333C2ABB48}"/>
          </ac:spMkLst>
        </pc:spChg>
        <pc:spChg chg="mod">
          <ac:chgData name="Yaroslav Zhydyk" userId="feca11449df7c5ed" providerId="LiveId" clId="{A66BF2D7-9676-49CA-8938-AE9F6FD557AE}" dt="2022-11-12T19:58:46.907" v="5489"/>
          <ac:spMkLst>
            <pc:docMk/>
            <pc:sldMk cId="1494458417" sldId="3987"/>
            <ac:spMk id="60" creationId="{DD10EC83-2502-4BAA-A90A-A6E96AD14606}"/>
          </ac:spMkLst>
        </pc:spChg>
        <pc:spChg chg="mod ord">
          <ac:chgData name="Yaroslav Zhydyk" userId="feca11449df7c5ed" providerId="LiveId" clId="{A66BF2D7-9676-49CA-8938-AE9F6FD557AE}" dt="2022-11-12T19:58:46.901" v="5450"/>
          <ac:spMkLst>
            <pc:docMk/>
            <pc:sldMk cId="1494458417" sldId="3987"/>
            <ac:spMk id="71" creationId="{E57AD8F6-B769-4F9E-82F0-56EFACE37D6E}"/>
          </ac:spMkLst>
        </pc:spChg>
        <pc:spChg chg="mod ord">
          <ac:chgData name="Yaroslav Zhydyk" userId="feca11449df7c5ed" providerId="LiveId" clId="{A66BF2D7-9676-49CA-8938-AE9F6FD557AE}" dt="2022-11-12T19:58:46.903" v="5470"/>
          <ac:spMkLst>
            <pc:docMk/>
            <pc:sldMk cId="1494458417" sldId="3987"/>
            <ac:spMk id="74" creationId="{989286E4-CF7F-4AEE-BB1F-AAD71370A965}"/>
          </ac:spMkLst>
        </pc:spChg>
        <pc:spChg chg="mod ord">
          <ac:chgData name="Yaroslav Zhydyk" userId="feca11449df7c5ed" providerId="LiveId" clId="{A66BF2D7-9676-49CA-8938-AE9F6FD557AE}" dt="2022-11-12T19:58:46.905" v="5472"/>
          <ac:spMkLst>
            <pc:docMk/>
            <pc:sldMk cId="1494458417" sldId="3987"/>
            <ac:spMk id="75" creationId="{997F9F35-9467-4773-A185-E4DA39497DD7}"/>
          </ac:spMkLst>
        </pc:spChg>
        <pc:spChg chg="mod ord">
          <ac:chgData name="Yaroslav Zhydyk" userId="feca11449df7c5ed" providerId="LiveId" clId="{A66BF2D7-9676-49CA-8938-AE9F6FD557AE}" dt="2022-11-12T19:58:46.908" v="5491"/>
          <ac:spMkLst>
            <pc:docMk/>
            <pc:sldMk cId="1494458417" sldId="3987"/>
            <ac:spMk id="76" creationId="{1844A5BD-B022-4F9E-8CDF-4BE51DDC8980}"/>
          </ac:spMkLst>
        </pc:spChg>
        <pc:spChg chg="mod">
          <ac:chgData name="Yaroslav Zhydyk" userId="feca11449df7c5ed" providerId="LiveId" clId="{A66BF2D7-9676-49CA-8938-AE9F6FD557AE}" dt="2022-11-12T19:58:46.906" v="5477"/>
          <ac:spMkLst>
            <pc:docMk/>
            <pc:sldMk cId="1494458417" sldId="3987"/>
            <ac:spMk id="278" creationId="{DD10EC83-2502-4BAA-A90A-A6E96AD14606}"/>
          </ac:spMkLst>
        </pc:spChg>
        <pc:spChg chg="mod">
          <ac:chgData name="Yaroslav Zhydyk" userId="feca11449df7c5ed" providerId="LiveId" clId="{A66BF2D7-9676-49CA-8938-AE9F6FD557AE}" dt="2022-11-12T19:58:46.905" v="5476"/>
          <ac:spMkLst>
            <pc:docMk/>
            <pc:sldMk cId="1494458417" sldId="3987"/>
            <ac:spMk id="280" creationId="{DD10EC83-2502-4BAA-A90A-A6E96AD14606}"/>
          </ac:spMkLst>
        </pc:spChg>
        <pc:spChg chg="mod">
          <ac:chgData name="Yaroslav Zhydyk" userId="feca11449df7c5ed" providerId="LiveId" clId="{A66BF2D7-9676-49CA-8938-AE9F6FD557AE}" dt="2022-11-12T19:58:46.906" v="5480"/>
          <ac:spMkLst>
            <pc:docMk/>
            <pc:sldMk cId="1494458417" sldId="3987"/>
            <ac:spMk id="282" creationId="{DD10EC83-2502-4BAA-A90A-A6E96AD14606}"/>
          </ac:spMkLst>
        </pc:spChg>
        <pc:spChg chg="mod">
          <ac:chgData name="Yaroslav Zhydyk" userId="feca11449df7c5ed" providerId="LiveId" clId="{A66BF2D7-9676-49CA-8938-AE9F6FD557AE}" dt="2022-11-12T19:58:46.906" v="5479"/>
          <ac:spMkLst>
            <pc:docMk/>
            <pc:sldMk cId="1494458417" sldId="3987"/>
            <ac:spMk id="284" creationId="{DD10EC83-2502-4BAA-A90A-A6E96AD14606}"/>
          </ac:spMkLst>
        </pc:spChg>
        <pc:spChg chg="mod">
          <ac:chgData name="Yaroslav Zhydyk" userId="feca11449df7c5ed" providerId="LiveId" clId="{A66BF2D7-9676-49CA-8938-AE9F6FD557AE}" dt="2022-11-12T19:58:46.906" v="5481"/>
          <ac:spMkLst>
            <pc:docMk/>
            <pc:sldMk cId="1494458417" sldId="3987"/>
            <ac:spMk id="286" creationId="{DD10EC83-2502-4BAA-A90A-A6E96AD14606}"/>
          </ac:spMkLst>
        </pc:spChg>
        <pc:spChg chg="mod">
          <ac:chgData name="Yaroslav Zhydyk" userId="feca11449df7c5ed" providerId="LiveId" clId="{A66BF2D7-9676-49CA-8938-AE9F6FD557AE}" dt="2022-11-12T19:58:46.905" v="5475"/>
          <ac:spMkLst>
            <pc:docMk/>
            <pc:sldMk cId="1494458417" sldId="3987"/>
            <ac:spMk id="288" creationId="{DD10EC83-2502-4BAA-A90A-A6E96AD14606}"/>
          </ac:spMkLst>
        </pc:spChg>
        <pc:spChg chg="mod">
          <ac:chgData name="Yaroslav Zhydyk" userId="feca11449df7c5ed" providerId="LiveId" clId="{A66BF2D7-9676-49CA-8938-AE9F6FD557AE}" dt="2022-11-12T19:58:46.906" v="5482"/>
          <ac:spMkLst>
            <pc:docMk/>
            <pc:sldMk cId="1494458417" sldId="3987"/>
            <ac:spMk id="290" creationId="{DD10EC83-2502-4BAA-A90A-A6E96AD14606}"/>
          </ac:spMkLst>
        </pc:spChg>
        <pc:spChg chg="mod">
          <ac:chgData name="Yaroslav Zhydyk" userId="feca11449df7c5ed" providerId="LiveId" clId="{A66BF2D7-9676-49CA-8938-AE9F6FD557AE}" dt="2022-11-12T19:58:46.906" v="5478"/>
          <ac:spMkLst>
            <pc:docMk/>
            <pc:sldMk cId="1494458417" sldId="3987"/>
            <ac:spMk id="292" creationId="{DD10EC83-2502-4BAA-A90A-A6E96AD14606}"/>
          </ac:spMkLst>
        </pc:spChg>
        <pc:spChg chg="mod ord">
          <ac:chgData name="Yaroslav Zhydyk" userId="feca11449df7c5ed" providerId="LiveId" clId="{A66BF2D7-9676-49CA-8938-AE9F6FD557AE}" dt="2022-11-12T19:58:46.902" v="5456"/>
          <ac:spMkLst>
            <pc:docMk/>
            <pc:sldMk cId="1494458417" sldId="3987"/>
            <ac:spMk id="344" creationId="{B993E5AE-364B-4118-867B-47FA16948B8E}"/>
          </ac:spMkLst>
        </pc:spChg>
        <pc:spChg chg="mod ord">
          <ac:chgData name="Yaroslav Zhydyk" userId="feca11449df7c5ed" providerId="LiveId" clId="{A66BF2D7-9676-49CA-8938-AE9F6FD557AE}" dt="2022-11-12T19:58:46.902" v="5458"/>
          <ac:spMkLst>
            <pc:docMk/>
            <pc:sldMk cId="1494458417" sldId="3987"/>
            <ac:spMk id="345" creationId="{890F61AA-D989-4767-892E-E424F378D657}"/>
          </ac:spMkLst>
        </pc:spChg>
        <pc:spChg chg="mod ord">
          <ac:chgData name="Yaroslav Zhydyk" userId="feca11449df7c5ed" providerId="LiveId" clId="{A66BF2D7-9676-49CA-8938-AE9F6FD557AE}" dt="2022-11-12T19:58:46.902" v="5460"/>
          <ac:spMkLst>
            <pc:docMk/>
            <pc:sldMk cId="1494458417" sldId="3987"/>
            <ac:spMk id="354" creationId="{F520962F-89B0-4715-8E09-21CFF19D3544}"/>
          </ac:spMkLst>
        </pc:spChg>
        <pc:spChg chg="mod ord">
          <ac:chgData name="Yaroslav Zhydyk" userId="feca11449df7c5ed" providerId="LiveId" clId="{A66BF2D7-9676-49CA-8938-AE9F6FD557AE}" dt="2022-11-12T19:58:46.900" v="5446"/>
          <ac:spMkLst>
            <pc:docMk/>
            <pc:sldMk cId="1494458417" sldId="3987"/>
            <ac:spMk id="355" creationId="{0F8EC2FB-DF9F-49B8-98A1-B8BC071E805C}"/>
          </ac:spMkLst>
        </pc:spChg>
        <pc:spChg chg="mod ord">
          <ac:chgData name="Yaroslav Zhydyk" userId="feca11449df7c5ed" providerId="LiveId" clId="{A66BF2D7-9676-49CA-8938-AE9F6FD557AE}" dt="2022-11-12T19:58:46.900" v="5444"/>
          <ac:spMkLst>
            <pc:docMk/>
            <pc:sldMk cId="1494458417" sldId="3987"/>
            <ac:spMk id="356" creationId="{E130A6AA-FF2E-4488-B475-85F52ABB7C03}"/>
          </ac:spMkLst>
        </pc:spChg>
        <pc:spChg chg="mod ord">
          <ac:chgData name="Yaroslav Zhydyk" userId="feca11449df7c5ed" providerId="LiveId" clId="{A66BF2D7-9676-49CA-8938-AE9F6FD557AE}" dt="2022-11-12T19:58:46.902" v="5462"/>
          <ac:spMkLst>
            <pc:docMk/>
            <pc:sldMk cId="1494458417" sldId="3987"/>
            <ac:spMk id="357" creationId="{F8021899-75CC-4EA7-95CA-B19109BC9FB7}"/>
          </ac:spMkLst>
        </pc:spChg>
        <pc:spChg chg="mod ord">
          <ac:chgData name="Yaroslav Zhydyk" userId="feca11449df7c5ed" providerId="LiveId" clId="{A66BF2D7-9676-49CA-8938-AE9F6FD557AE}" dt="2022-11-12T19:58:46.903" v="5464"/>
          <ac:spMkLst>
            <pc:docMk/>
            <pc:sldMk cId="1494458417" sldId="3987"/>
            <ac:spMk id="358" creationId="{2EB50A18-789E-468A-9426-5499A49BFCC8}"/>
          </ac:spMkLst>
        </pc:spChg>
        <pc:grpChg chg="mod ord">
          <ac:chgData name="Yaroslav Zhydyk" userId="feca11449df7c5ed" providerId="LiveId" clId="{A66BF2D7-9676-49CA-8938-AE9F6FD557AE}" dt="2022-11-12T19:58:46.901" v="5452"/>
          <ac:grpSpMkLst>
            <pc:docMk/>
            <pc:sldMk cId="1494458417" sldId="3987"/>
            <ac:grpSpMk id="17" creationId="{3A47DA56-44D4-4A48-8AF3-D8FFD4B5D902}"/>
          </ac:grpSpMkLst>
        </pc:grpChg>
        <pc:grpChg chg="mod ord">
          <ac:chgData name="Yaroslav Zhydyk" userId="feca11449df7c5ed" providerId="LiveId" clId="{A66BF2D7-9676-49CA-8938-AE9F6FD557AE}" dt="2022-11-12T19:58:46.902" v="5454"/>
          <ac:grpSpMkLst>
            <pc:docMk/>
            <pc:sldMk cId="1494458417" sldId="3987"/>
            <ac:grpSpMk id="346" creationId="{CB4A8256-AA31-4E4F-89A9-3E0D1D4DE527}"/>
          </ac:grpSpMkLst>
        </pc:grpChg>
        <pc:graphicFrameChg chg="add mod ord replST delST">
          <ac:chgData name="Yaroslav Zhydyk" userId="feca11449df7c5ed" providerId="LiveId" clId="{A66BF2D7-9676-49CA-8938-AE9F6FD557AE}" dt="2022-11-12T19:51:42.031" v="2280" actId="16037"/>
          <ac:graphicFrameMkLst>
            <pc:docMk/>
            <pc:sldMk cId="1494458417" sldId="3987"/>
            <ac:graphicFrameMk id="4" creationId="{0CBFF6E2-B25A-698B-D3DC-7B08FA43FAFA}"/>
          </ac:graphicFrameMkLst>
        </pc:graphicFrameChg>
        <pc:graphicFrameChg chg="add del mod ord replST">
          <ac:chgData name="Yaroslav Zhydyk" userId="feca11449df7c5ed" providerId="LiveId" clId="{A66BF2D7-9676-49CA-8938-AE9F6FD557AE}" dt="2022-11-12T19:58:46.887" v="5436"/>
          <ac:graphicFrameMkLst>
            <pc:docMk/>
            <pc:sldMk cId="1494458417" sldId="3987"/>
            <ac:graphicFrameMk id="6" creationId="{9F5A8977-B357-0D8A-9B14-A2D851137C6A}"/>
          </ac:graphicFrameMkLst>
        </pc:graphicFrameChg>
        <pc:graphicFrameChg chg="mod">
          <ac:chgData name="Yaroslav Zhydyk" userId="feca11449df7c5ed" providerId="LiveId" clId="{A66BF2D7-9676-49CA-8938-AE9F6FD557AE}" dt="2022-11-12T19:58:47.010" v="5634"/>
          <ac:graphicFrameMkLst>
            <pc:docMk/>
            <pc:sldMk cId="1494458417" sldId="3987"/>
            <ac:graphicFrameMk id="7" creationId="{5E5FF50D-F96D-4904-A92C-F99C8A8081E4}"/>
          </ac:graphicFrameMkLst>
        </pc:graphicFrameChg>
        <pc:graphicFrameChg chg="add mod ord replST delST">
          <ac:chgData name="Yaroslav Zhydyk" userId="feca11449df7c5ed" providerId="LiveId" clId="{A66BF2D7-9676-49CA-8938-AE9F6FD557AE}" dt="2022-11-12T19:58:46.240" v="4737"/>
          <ac:graphicFrameMkLst>
            <pc:docMk/>
            <pc:sldMk cId="1494458417" sldId="3987"/>
            <ac:graphicFrameMk id="11" creationId="{915F6C0D-567D-F651-08D8-E9FE4C4F43AB}"/>
          </ac:graphicFrameMkLst>
        </pc:graphicFrameChg>
        <pc:graphicFrameChg chg="add mod ord replST">
          <ac:chgData name="Yaroslav Zhydyk" userId="feca11449df7c5ed" providerId="LiveId" clId="{A66BF2D7-9676-49CA-8938-AE9F6FD557AE}" dt="2022-11-12T19:58:46.905" v="5474"/>
          <ac:graphicFrameMkLst>
            <pc:docMk/>
            <pc:sldMk cId="1494458417" sldId="3987"/>
            <ac:graphicFrameMk id="13" creationId="{5FF8758B-9D79-2431-8F45-F5851F16B78B}"/>
          </ac:graphicFrameMkLst>
        </pc:graphicFrameChg>
        <pc:graphicFrameChg chg="add del">
          <ac:chgData name="Yaroslav Zhydyk" userId="feca11449df7c5ed" providerId="LiveId" clId="{A66BF2D7-9676-49CA-8938-AE9F6FD557AE}" dt="2022-11-12T19:51:42.552" v="2977"/>
          <ac:graphicFrameMkLst>
            <pc:docMk/>
            <pc:sldMk cId="1494458417" sldId="3987"/>
            <ac:graphicFrameMk id="68" creationId="{08C650A5-6F3C-964A-8040-25CB4C899E14}"/>
          </ac:graphicFrameMkLst>
        </pc:graphicFrameChg>
        <pc:picChg chg="mod">
          <ac:chgData name="Yaroslav Zhydyk" userId="feca11449df7c5ed" providerId="LiveId" clId="{A66BF2D7-9676-49CA-8938-AE9F6FD557AE}" dt="2022-11-12T19:58:46.908" v="5492"/>
          <ac:picMkLst>
            <pc:docMk/>
            <pc:sldMk cId="1494458417" sldId="3987"/>
            <ac:picMk id="77" creationId="{A8D3E765-5E25-431D-94C7-F3CF595C6A67}"/>
          </ac:picMkLst>
        </pc:picChg>
        <pc:cxnChg chg="mod ord">
          <ac:chgData name="Yaroslav Zhydyk" userId="feca11449df7c5ed" providerId="LiveId" clId="{A66BF2D7-9676-49CA-8938-AE9F6FD557AE}" dt="2022-11-12T19:58:46.906" v="5484"/>
          <ac:cxnSpMkLst>
            <pc:docMk/>
            <pc:sldMk cId="1494458417" sldId="3987"/>
            <ac:cxnSpMk id="312" creationId="{064EEF99-BD88-47D5-B263-C1A29F9A3F48}"/>
          </ac:cxnSpMkLst>
        </pc:cxnChg>
        <pc:cxnChg chg="mod ord">
          <ac:chgData name="Yaroslav Zhydyk" userId="feca11449df7c5ed" providerId="LiveId" clId="{A66BF2D7-9676-49CA-8938-AE9F6FD557AE}" dt="2022-11-12T19:58:46.907" v="5488"/>
          <ac:cxnSpMkLst>
            <pc:docMk/>
            <pc:sldMk cId="1494458417" sldId="3987"/>
            <ac:cxnSpMk id="317" creationId="{5F15E72C-2A5C-4817-9435-74E070BB1198}"/>
          </ac:cxnSpMkLst>
        </pc:cxnChg>
        <pc:cxnChg chg="mod ord">
          <ac:chgData name="Yaroslav Zhydyk" userId="feca11449df7c5ed" providerId="LiveId" clId="{A66BF2D7-9676-49CA-8938-AE9F6FD557AE}" dt="2022-11-12T19:58:46.907" v="5486"/>
          <ac:cxnSpMkLst>
            <pc:docMk/>
            <pc:sldMk cId="1494458417" sldId="3987"/>
            <ac:cxnSpMk id="322" creationId="{A799A8CD-B462-4E18-BDF9-9554AD18DEA6}"/>
          </ac:cxnSpMkLst>
        </pc:cxnChg>
      </pc:sldChg>
      <pc:sldChg chg="addSp delSp modSp add mod">
        <pc:chgData name="Yaroslav Zhydyk" userId="feca11449df7c5ed" providerId="LiveId" clId="{A66BF2D7-9676-49CA-8938-AE9F6FD557AE}" dt="2022-11-12T19:33:28.572" v="640" actId="21"/>
        <pc:sldMkLst>
          <pc:docMk/>
          <pc:sldMk cId="1987667762" sldId="3988"/>
        </pc:sldMkLst>
        <pc:spChg chg="add del mod">
          <ac:chgData name="Yaroslav Zhydyk" userId="feca11449df7c5ed" providerId="LiveId" clId="{A66BF2D7-9676-49CA-8938-AE9F6FD557AE}" dt="2022-11-12T19:33:28.572" v="640" actId="21"/>
          <ac:spMkLst>
            <pc:docMk/>
            <pc:sldMk cId="1987667762" sldId="3988"/>
            <ac:spMk id="2" creationId="{44D428D0-280B-011B-7201-4EE5228BE47D}"/>
          </ac:spMkLst>
        </pc:spChg>
        <pc:spChg chg="add del mod">
          <ac:chgData name="Yaroslav Zhydyk" userId="feca11449df7c5ed" providerId="LiveId" clId="{A66BF2D7-9676-49CA-8938-AE9F6FD557AE}" dt="2022-11-12T19:32:11.063" v="629"/>
          <ac:spMkLst>
            <pc:docMk/>
            <pc:sldMk cId="1987667762" sldId="3988"/>
            <ac:spMk id="3" creationId="{3847967A-8F08-7439-EA44-3A467CF32CC4}"/>
          </ac:spMkLst>
        </pc:spChg>
        <pc:spChg chg="add mod">
          <ac:chgData name="Yaroslav Zhydyk" userId="feca11449df7c5ed" providerId="LiveId" clId="{A66BF2D7-9676-49CA-8938-AE9F6FD557AE}" dt="2022-11-12T19:32:19.238" v="631" actId="571"/>
          <ac:spMkLst>
            <pc:docMk/>
            <pc:sldMk cId="1987667762" sldId="3988"/>
            <ac:spMk id="4" creationId="{D1787D84-63C8-8B2E-B7B3-19539523FD8E}"/>
          </ac:spMkLst>
        </pc:spChg>
        <pc:spChg chg="mod">
          <ac:chgData name="Yaroslav Zhydyk" userId="feca11449df7c5ed" providerId="LiveId" clId="{A66BF2D7-9676-49CA-8938-AE9F6FD557AE}" dt="2022-11-12T17:22:00.276" v="77" actId="6549"/>
          <ac:spMkLst>
            <pc:docMk/>
            <pc:sldMk cId="1987667762" sldId="3988"/>
            <ac:spMk id="6" creationId="{5E4E1394-FE05-436E-8398-6C8DAA8FBAD1}"/>
          </ac:spMkLst>
        </pc:spChg>
        <pc:spChg chg="add mod">
          <ac:chgData name="Yaroslav Zhydyk" userId="feca11449df7c5ed" providerId="LiveId" clId="{A66BF2D7-9676-49CA-8938-AE9F6FD557AE}" dt="2022-11-12T19:32:45.157" v="633" actId="571"/>
          <ac:spMkLst>
            <pc:docMk/>
            <pc:sldMk cId="1987667762" sldId="3988"/>
            <ac:spMk id="8" creationId="{36AE4A04-6EDC-3092-AA8C-B9536F0963CB}"/>
          </ac:spMkLst>
        </pc:spChg>
        <pc:spChg chg="add mod">
          <ac:chgData name="Yaroslav Zhydyk" userId="feca11449df7c5ed" providerId="LiveId" clId="{A66BF2D7-9676-49CA-8938-AE9F6FD557AE}" dt="2022-11-12T19:33:01.555" v="635" actId="571"/>
          <ac:spMkLst>
            <pc:docMk/>
            <pc:sldMk cId="1987667762" sldId="3988"/>
            <ac:spMk id="9" creationId="{834D26F0-0BB7-8D5F-9DF8-AF4A2990CE9B}"/>
          </ac:spMkLst>
        </pc:spChg>
        <pc:spChg chg="add mod">
          <ac:chgData name="Yaroslav Zhydyk" userId="feca11449df7c5ed" providerId="LiveId" clId="{A66BF2D7-9676-49CA-8938-AE9F6FD557AE}" dt="2022-11-12T19:33:15.106" v="637" actId="571"/>
          <ac:spMkLst>
            <pc:docMk/>
            <pc:sldMk cId="1987667762" sldId="3988"/>
            <ac:spMk id="10" creationId="{D0BC1F49-6835-9096-1ACA-A8ED6434F5BF}"/>
          </ac:spMkLst>
        </pc:spChg>
        <pc:spChg chg="add mod">
          <ac:chgData name="Yaroslav Zhydyk" userId="feca11449df7c5ed" providerId="LiveId" clId="{A66BF2D7-9676-49CA-8938-AE9F6FD557AE}" dt="2022-11-12T19:33:21.848" v="639" actId="571"/>
          <ac:spMkLst>
            <pc:docMk/>
            <pc:sldMk cId="1987667762" sldId="3988"/>
            <ac:spMk id="11" creationId="{31C44C88-E765-8610-8E60-2C4468403683}"/>
          </ac:spMkLst>
        </pc:spChg>
      </pc:sldChg>
      <pc:sldChg chg="delSp modSp add del mod ord">
        <pc:chgData name="Yaroslav Zhydyk" userId="feca11449df7c5ed" providerId="LiveId" clId="{A66BF2D7-9676-49CA-8938-AE9F6FD557AE}" dt="2022-11-12T17:20:55.983" v="70" actId="47"/>
        <pc:sldMkLst>
          <pc:docMk/>
          <pc:sldMk cId="2379912986" sldId="3988"/>
        </pc:sldMkLst>
        <pc:spChg chg="del mod">
          <ac:chgData name="Yaroslav Zhydyk" userId="feca11449df7c5ed" providerId="LiveId" clId="{A66BF2D7-9676-49CA-8938-AE9F6FD557AE}" dt="2022-11-12T17:20:26.915" v="62" actId="21"/>
          <ac:spMkLst>
            <pc:docMk/>
            <pc:sldMk cId="2379912986" sldId="3988"/>
            <ac:spMk id="9" creationId="{C79EB7FD-E4EE-930B-9FB4-B72F4FD018B7}"/>
          </ac:spMkLst>
        </pc:spChg>
      </pc:sldChg>
      <pc:sldChg chg="new add del">
        <pc:chgData name="Yaroslav Zhydyk" userId="feca11449df7c5ed" providerId="LiveId" clId="{A66BF2D7-9676-49CA-8938-AE9F6FD557AE}" dt="2022-11-12T17:20:55.983" v="70" actId="47"/>
        <pc:sldMkLst>
          <pc:docMk/>
          <pc:sldMk cId="381846547" sldId="3989"/>
        </pc:sldMkLst>
      </pc:sldChg>
      <pc:sldChg chg="addSp delSp modSp add mod">
        <pc:chgData name="Yaroslav Zhydyk" userId="feca11449df7c5ed" providerId="LiveId" clId="{A66BF2D7-9676-49CA-8938-AE9F6FD557AE}" dt="2022-11-23T10:41:30.549" v="5645" actId="478"/>
        <pc:sldMkLst>
          <pc:docMk/>
          <pc:sldMk cId="2787577295" sldId="3989"/>
        </pc:sldMkLst>
        <pc:spChg chg="add del mod">
          <ac:chgData name="Yaroslav Zhydyk" userId="feca11449df7c5ed" providerId="LiveId" clId="{A66BF2D7-9676-49CA-8938-AE9F6FD557AE}" dt="2022-11-23T10:41:30.549" v="5645" actId="478"/>
          <ac:spMkLst>
            <pc:docMk/>
            <pc:sldMk cId="2787577295" sldId="3989"/>
            <ac:spMk id="2" creationId="{D389EE6A-D5CE-404B-95DF-6E2D1E5BB4D5}"/>
          </ac:spMkLst>
        </pc:spChg>
        <pc:spChg chg="add del mod">
          <ac:chgData name="Yaroslav Zhydyk" userId="feca11449df7c5ed" providerId="LiveId" clId="{A66BF2D7-9676-49CA-8938-AE9F6FD557AE}" dt="2022-11-12T19:36:15.886" v="668"/>
          <ac:spMkLst>
            <pc:docMk/>
            <pc:sldMk cId="2787577295" sldId="3989"/>
            <ac:spMk id="4" creationId="{72A74259-BF68-93CD-0B01-ACB42299E99A}"/>
          </ac:spMkLst>
        </pc:spChg>
        <pc:spChg chg="mod">
          <ac:chgData name="Yaroslav Zhydyk" userId="feca11449df7c5ed" providerId="LiveId" clId="{A66BF2D7-9676-49CA-8938-AE9F6FD557AE}" dt="2022-11-12T19:35:05.029" v="659"/>
          <ac:spMkLst>
            <pc:docMk/>
            <pc:sldMk cId="2787577295" sldId="3989"/>
            <ac:spMk id="6" creationId="{5E4E1394-FE05-436E-8398-6C8DAA8FBAD1}"/>
          </ac:spMkLst>
        </pc:spChg>
        <pc:picChg chg="add del mod">
          <ac:chgData name="Yaroslav Zhydyk" userId="feca11449df7c5ed" providerId="LiveId" clId="{A66BF2D7-9676-49CA-8938-AE9F6FD557AE}" dt="2022-11-12T19:36:12.515" v="666" actId="478"/>
          <ac:picMkLst>
            <pc:docMk/>
            <pc:sldMk cId="2787577295" sldId="3989"/>
            <ac:picMk id="3" creationId="{4968D608-BB72-FF0D-8C21-79D763970100}"/>
          </ac:picMkLst>
        </pc:picChg>
      </pc:sldChg>
      <pc:sldChg chg="addSp modSp add mod">
        <pc:chgData name="Yaroslav Zhydyk" userId="feca11449df7c5ed" providerId="LiveId" clId="{A66BF2D7-9676-49CA-8938-AE9F6FD557AE}" dt="2022-11-12T19:58:46.240" v="4737"/>
        <pc:sldMkLst>
          <pc:docMk/>
          <pc:sldMk cId="4139024153" sldId="3990"/>
        </pc:sldMkLst>
        <pc:spChg chg="mod ord">
          <ac:chgData name="Yaroslav Zhydyk" userId="feca11449df7c5ed" providerId="LiveId" clId="{A66BF2D7-9676-49CA-8938-AE9F6FD557AE}" dt="2022-11-12T19:58:46.240" v="4737"/>
          <ac:spMkLst>
            <pc:docMk/>
            <pc:sldMk cId="4139024153" sldId="3990"/>
            <ac:spMk id="3" creationId="{62BDA759-9989-8E39-1064-E6FB4762FB5F}"/>
          </ac:spMkLst>
        </pc:spChg>
        <pc:spChg chg="add mod ord">
          <ac:chgData name="Yaroslav Zhydyk" userId="feca11449df7c5ed" providerId="LiveId" clId="{A66BF2D7-9676-49CA-8938-AE9F6FD557AE}" dt="2022-11-12T19:38:21.847" v="723"/>
          <ac:spMkLst>
            <pc:docMk/>
            <pc:sldMk cId="4139024153" sldId="3990"/>
            <ac:spMk id="5" creationId="{C7A2AC60-1E62-E622-2FB8-603A1A204365}"/>
          </ac:spMkLst>
        </pc:spChg>
        <pc:spChg chg="mod">
          <ac:chgData name="Yaroslav Zhydyk" userId="feca11449df7c5ed" providerId="LiveId" clId="{A66BF2D7-9676-49CA-8938-AE9F6FD557AE}" dt="2022-11-12T17:23:53.119" v="165"/>
          <ac:spMkLst>
            <pc:docMk/>
            <pc:sldMk cId="4139024153" sldId="3990"/>
            <ac:spMk id="10" creationId="{4B191F34-4590-4925-B7D1-9BBB0BC35E6A}"/>
          </ac:spMkLst>
        </pc:spChg>
        <pc:spChg chg="mod">
          <ac:chgData name="Yaroslav Zhydyk" userId="feca11449df7c5ed" providerId="LiveId" clId="{A66BF2D7-9676-49CA-8938-AE9F6FD557AE}" dt="2022-11-12T17:23:57.200" v="167"/>
          <ac:spMkLst>
            <pc:docMk/>
            <pc:sldMk cId="4139024153" sldId="3990"/>
            <ac:spMk id="12" creationId="{C33B1DF5-6D37-46EA-8E4C-6280EEF976E8}"/>
          </ac:spMkLst>
        </pc:spChg>
        <pc:spChg chg="mod ord">
          <ac:chgData name="Yaroslav Zhydyk" userId="feca11449df7c5ed" providerId="LiveId" clId="{A66BF2D7-9676-49CA-8938-AE9F6FD557AE}" dt="2022-11-12T19:38:21.847" v="723"/>
          <ac:spMkLst>
            <pc:docMk/>
            <pc:sldMk cId="4139024153" sldId="3990"/>
            <ac:spMk id="14" creationId="{A14FE9C0-B3BB-4470-824A-5C18DF861D38}"/>
          </ac:spMkLst>
        </pc:spChg>
        <pc:grpChg chg="mod ord">
          <ac:chgData name="Yaroslav Zhydyk" userId="feca11449df7c5ed" providerId="LiveId" clId="{A66BF2D7-9676-49CA-8938-AE9F6FD557AE}" dt="2022-11-12T19:38:21.847" v="723"/>
          <ac:grpSpMkLst>
            <pc:docMk/>
            <pc:sldMk cId="4139024153" sldId="3990"/>
            <ac:grpSpMk id="4" creationId="{0E5D3BF8-F5B7-40A6-AC70-1FCE6BC0B2F0}"/>
          </ac:grpSpMkLst>
        </pc:grpChg>
        <pc:graphicFrameChg chg="mod">
          <ac:chgData name="Yaroslav Zhydyk" userId="feca11449df7c5ed" providerId="LiveId" clId="{A66BF2D7-9676-49CA-8938-AE9F6FD557AE}" dt="2022-11-12T19:38:21.855" v="725"/>
          <ac:graphicFrameMkLst>
            <pc:docMk/>
            <pc:sldMk cId="4139024153" sldId="3990"/>
            <ac:graphicFrameMk id="6" creationId="{1C554B64-4457-450E-87F9-A52B139EA829}"/>
          </ac:graphicFrameMkLst>
        </pc:graphicFrameChg>
      </pc:sldChg>
      <pc:sldChg chg="modSp add mod ord">
        <pc:chgData name="Yaroslav Zhydyk" userId="feca11449df7c5ed" providerId="LiveId" clId="{A66BF2D7-9676-49CA-8938-AE9F6FD557AE}" dt="2022-11-12T19:58:46.240" v="4737"/>
        <pc:sldMkLst>
          <pc:docMk/>
          <pc:sldMk cId="996216129" sldId="3991"/>
        </pc:sldMkLst>
        <pc:spChg chg="mod">
          <ac:chgData name="Yaroslav Zhydyk" userId="feca11449df7c5ed" providerId="LiveId" clId="{A66BF2D7-9676-49CA-8938-AE9F6FD557AE}" dt="2022-11-12T19:58:46.240" v="4737"/>
          <ac:spMkLst>
            <pc:docMk/>
            <pc:sldMk cId="996216129" sldId="3991"/>
            <ac:spMk id="3" creationId="{62BDA759-9989-8E39-1064-E6FB4762FB5F}"/>
          </ac:spMkLst>
        </pc:spChg>
        <pc:spChg chg="mod">
          <ac:chgData name="Yaroslav Zhydyk" userId="feca11449df7c5ed" providerId="LiveId" clId="{A66BF2D7-9676-49CA-8938-AE9F6FD557AE}" dt="2022-11-12T17:24:34.635" v="178"/>
          <ac:spMkLst>
            <pc:docMk/>
            <pc:sldMk cId="996216129" sldId="3991"/>
            <ac:spMk id="8" creationId="{6648A949-B8CC-4A6D-94E5-2DFF39DC7ED4}"/>
          </ac:spMkLst>
        </pc:spChg>
        <pc:spChg chg="mod">
          <ac:chgData name="Yaroslav Zhydyk" userId="feca11449df7c5ed" providerId="LiveId" clId="{A66BF2D7-9676-49CA-8938-AE9F6FD557AE}" dt="2022-11-12T17:24:39.145" v="180"/>
          <ac:spMkLst>
            <pc:docMk/>
            <pc:sldMk cId="996216129" sldId="3991"/>
            <ac:spMk id="10" creationId="{4B191F34-4590-4925-B7D1-9BBB0BC35E6A}"/>
          </ac:spMkLst>
        </pc:spChg>
      </pc:sldChg>
      <pc:sldChg chg="modSp add mod ord">
        <pc:chgData name="Yaroslav Zhydyk" userId="feca11449df7c5ed" providerId="LiveId" clId="{A66BF2D7-9676-49CA-8938-AE9F6FD557AE}" dt="2022-11-12T19:58:46.240" v="4737"/>
        <pc:sldMkLst>
          <pc:docMk/>
          <pc:sldMk cId="685284766" sldId="3992"/>
        </pc:sldMkLst>
        <pc:spChg chg="mod">
          <ac:chgData name="Yaroslav Zhydyk" userId="feca11449df7c5ed" providerId="LiveId" clId="{A66BF2D7-9676-49CA-8938-AE9F6FD557AE}" dt="2022-11-12T17:25:02.347" v="190"/>
          <ac:spMkLst>
            <pc:docMk/>
            <pc:sldMk cId="685284766" sldId="3992"/>
            <ac:spMk id="2" creationId="{28EA5771-CA78-48BE-8A17-314EEC0A0526}"/>
          </ac:spMkLst>
        </pc:spChg>
        <pc:spChg chg="mod">
          <ac:chgData name="Yaroslav Zhydyk" userId="feca11449df7c5ed" providerId="LiveId" clId="{A66BF2D7-9676-49CA-8938-AE9F6FD557AE}" dt="2022-11-12T19:58:46.240" v="4737"/>
          <ac:spMkLst>
            <pc:docMk/>
            <pc:sldMk cId="685284766" sldId="3992"/>
            <ac:spMk id="3" creationId="{62BDA759-9989-8E39-1064-E6FB4762FB5F}"/>
          </ac:spMkLst>
        </pc:spChg>
        <pc:spChg chg="mod">
          <ac:chgData name="Yaroslav Zhydyk" userId="feca11449df7c5ed" providerId="LiveId" clId="{A66BF2D7-9676-49CA-8938-AE9F6FD557AE}" dt="2022-11-12T17:25:05.638" v="192"/>
          <ac:spMkLst>
            <pc:docMk/>
            <pc:sldMk cId="685284766" sldId="3992"/>
            <ac:spMk id="8" creationId="{6648A949-B8CC-4A6D-94E5-2DFF39DC7ED4}"/>
          </ac:spMkLst>
        </pc:spChg>
      </pc:sldChg>
      <pc:sldChg chg="modSp add mod ord">
        <pc:chgData name="Yaroslav Zhydyk" userId="feca11449df7c5ed" providerId="LiveId" clId="{A66BF2D7-9676-49CA-8938-AE9F6FD557AE}" dt="2022-11-12T19:58:46.240" v="4737"/>
        <pc:sldMkLst>
          <pc:docMk/>
          <pc:sldMk cId="3903313282" sldId="3993"/>
        </pc:sldMkLst>
        <pc:spChg chg="mod">
          <ac:chgData name="Yaroslav Zhydyk" userId="feca11449df7c5ed" providerId="LiveId" clId="{A66BF2D7-9676-49CA-8938-AE9F6FD557AE}" dt="2022-11-12T17:26:03.626" v="207"/>
          <ac:spMkLst>
            <pc:docMk/>
            <pc:sldMk cId="3903313282" sldId="3993"/>
            <ac:spMk id="2" creationId="{28EA5771-CA78-48BE-8A17-314EEC0A0526}"/>
          </ac:spMkLst>
        </pc:spChg>
        <pc:spChg chg="mod">
          <ac:chgData name="Yaroslav Zhydyk" userId="feca11449df7c5ed" providerId="LiveId" clId="{A66BF2D7-9676-49CA-8938-AE9F6FD557AE}" dt="2022-11-12T19:58:46.240" v="4737"/>
          <ac:spMkLst>
            <pc:docMk/>
            <pc:sldMk cId="3903313282" sldId="3993"/>
            <ac:spMk id="3" creationId="{62BDA759-9989-8E39-1064-E6FB4762FB5F}"/>
          </ac:spMkLst>
        </pc:spChg>
        <pc:spChg chg="mod">
          <ac:chgData name="Yaroslav Zhydyk" userId="feca11449df7c5ed" providerId="LiveId" clId="{A66BF2D7-9676-49CA-8938-AE9F6FD557AE}" dt="2022-11-12T17:26:00" v="205"/>
          <ac:spMkLst>
            <pc:docMk/>
            <pc:sldMk cId="3903313282" sldId="3993"/>
            <ac:spMk id="7" creationId="{EE04EC6C-E813-405C-85E0-FCBDC316F647}"/>
          </ac:spMkLst>
        </pc:spChg>
      </pc:sldChg>
      <pc:sldChg chg="addSp delSp modSp add mod ord">
        <pc:chgData name="Yaroslav Zhydyk" userId="feca11449df7c5ed" providerId="LiveId" clId="{A66BF2D7-9676-49CA-8938-AE9F6FD557AE}" dt="2022-11-12T17:26:29.181" v="220" actId="478"/>
        <pc:sldMkLst>
          <pc:docMk/>
          <pc:sldMk cId="2754207423" sldId="3994"/>
        </pc:sldMkLst>
        <pc:picChg chg="add mod">
          <ac:chgData name="Yaroslav Zhydyk" userId="feca11449df7c5ed" providerId="LiveId" clId="{A66BF2D7-9676-49CA-8938-AE9F6FD557AE}" dt="2022-11-12T17:26:27.878" v="219" actId="1076"/>
          <ac:picMkLst>
            <pc:docMk/>
            <pc:sldMk cId="2754207423" sldId="3994"/>
            <ac:picMk id="3" creationId="{24D2F5E3-00BC-895A-0BFB-224396A4B231}"/>
          </ac:picMkLst>
        </pc:picChg>
        <pc:picChg chg="del">
          <ac:chgData name="Yaroslav Zhydyk" userId="feca11449df7c5ed" providerId="LiveId" clId="{A66BF2D7-9676-49CA-8938-AE9F6FD557AE}" dt="2022-11-12T17:26:29.181" v="220" actId="478"/>
          <ac:picMkLst>
            <pc:docMk/>
            <pc:sldMk cId="2754207423" sldId="3994"/>
            <ac:picMk id="4" creationId="{114DAFB0-A196-4299-844E-BB0478CC9D75}"/>
          </ac:picMkLst>
        </pc:picChg>
      </pc:sldChg>
      <pc:sldChg chg="modSp add mod ord modClrScheme chgLayout">
        <pc:chgData name="Yaroslav Zhydyk" userId="feca11449df7c5ed" providerId="LiveId" clId="{A66BF2D7-9676-49CA-8938-AE9F6FD557AE}" dt="2022-11-12T19:58:46.240" v="4737"/>
        <pc:sldMkLst>
          <pc:docMk/>
          <pc:sldMk cId="1385656512" sldId="3995"/>
        </pc:sldMkLst>
        <pc:spChg chg="mod ord">
          <ac:chgData name="Yaroslav Zhydyk" userId="feca11449df7c5ed" providerId="LiveId" clId="{A66BF2D7-9676-49CA-8938-AE9F6FD557AE}" dt="2022-11-12T19:58:46.240" v="4737"/>
          <ac:spMkLst>
            <pc:docMk/>
            <pc:sldMk cId="1385656512" sldId="3995"/>
            <ac:spMk id="3" creationId="{62BDA759-9989-8E39-1064-E6FB4762FB5F}"/>
          </ac:spMkLst>
        </pc:spChg>
        <pc:spChg chg="mod">
          <ac:chgData name="Yaroslav Zhydyk" userId="feca11449df7c5ed" providerId="LiveId" clId="{A66BF2D7-9676-49CA-8938-AE9F6FD557AE}" dt="2022-11-12T17:26:45.974" v="229"/>
          <ac:spMkLst>
            <pc:docMk/>
            <pc:sldMk cId="1385656512" sldId="3995"/>
            <ac:spMk id="7" creationId="{EE04EC6C-E813-405C-85E0-FCBDC316F647}"/>
          </ac:spMkLst>
        </pc:spChg>
        <pc:spChg chg="mod">
          <ac:chgData name="Yaroslav Zhydyk" userId="feca11449df7c5ed" providerId="LiveId" clId="{A66BF2D7-9676-49CA-8938-AE9F6FD557AE}" dt="2022-11-12T17:26:43.048" v="227"/>
          <ac:spMkLst>
            <pc:docMk/>
            <pc:sldMk cId="1385656512" sldId="3995"/>
            <ac:spMk id="16" creationId="{E9AF2337-8BDF-4A4D-8773-C8EBDD38FA86}"/>
          </ac:spMkLst>
        </pc:spChg>
      </pc:sldChg>
      <pc:sldChg chg="addSp delSp modSp new add mod">
        <pc:chgData name="Yaroslav Zhydyk" userId="feca11449df7c5ed" providerId="LiveId" clId="{A66BF2D7-9676-49CA-8938-AE9F6FD557AE}" dt="2022-11-23T10:42:03.729" v="5659" actId="12789"/>
        <pc:sldMkLst>
          <pc:docMk/>
          <pc:sldMk cId="1447264257" sldId="3996"/>
        </pc:sldMkLst>
        <pc:spChg chg="del">
          <ac:chgData name="Yaroslav Zhydyk" userId="feca11449df7c5ed" providerId="LiveId" clId="{A66BF2D7-9676-49CA-8938-AE9F6FD557AE}" dt="2022-11-12T17:27:41.959" v="243" actId="478"/>
          <ac:spMkLst>
            <pc:docMk/>
            <pc:sldMk cId="1447264257" sldId="3996"/>
            <ac:spMk id="2" creationId="{9AD6DCE5-2474-871F-E1E9-73BF97EF0E76}"/>
          </ac:spMkLst>
        </pc:spChg>
        <pc:grpChg chg="add mod">
          <ac:chgData name="Yaroslav Zhydyk" userId="feca11449df7c5ed" providerId="LiveId" clId="{A66BF2D7-9676-49CA-8938-AE9F6FD557AE}" dt="2022-11-23T10:42:03.729" v="5659" actId="12789"/>
          <ac:grpSpMkLst>
            <pc:docMk/>
            <pc:sldMk cId="1447264257" sldId="3996"/>
            <ac:grpSpMk id="2" creationId="{16A6D14E-1B39-3709-1373-2BC8ABB5464B}"/>
          </ac:grpSpMkLst>
        </pc:grpChg>
        <pc:grpChg chg="add del mod">
          <ac:chgData name="Yaroslav Zhydyk" userId="feca11449df7c5ed" providerId="LiveId" clId="{A66BF2D7-9676-49CA-8938-AE9F6FD557AE}" dt="2022-11-12T19:53:17.713" v="3195" actId="165"/>
          <ac:grpSpMkLst>
            <pc:docMk/>
            <pc:sldMk cId="1447264257" sldId="3996"/>
            <ac:grpSpMk id="5" creationId="{9192DD05-66C4-FFBF-CB51-A060F3C00540}"/>
          </ac:grpSpMkLst>
        </pc:grpChg>
        <pc:picChg chg="add del mod topLvl">
          <ac:chgData name="Yaroslav Zhydyk" userId="feca11449df7c5ed" providerId="LiveId" clId="{A66BF2D7-9676-49CA-8938-AE9F6FD557AE}" dt="2022-11-12T19:53:19.220" v="3196" actId="478"/>
          <ac:picMkLst>
            <pc:docMk/>
            <pc:sldMk cId="1447264257" sldId="3996"/>
            <ac:picMk id="3" creationId="{0F83FBC9-8AF8-40F3-E530-AB5343D852C2}"/>
          </ac:picMkLst>
        </pc:picChg>
        <pc:picChg chg="add mod topLvl">
          <ac:chgData name="Yaroslav Zhydyk" userId="feca11449df7c5ed" providerId="LiveId" clId="{A66BF2D7-9676-49CA-8938-AE9F6FD557AE}" dt="2022-11-23T10:42:03.729" v="5659" actId="12789"/>
          <ac:picMkLst>
            <pc:docMk/>
            <pc:sldMk cId="1447264257" sldId="3996"/>
            <ac:picMk id="4" creationId="{E2FEF0C8-AF45-61F0-9B80-6F843C004560}"/>
          </ac:picMkLst>
        </pc:picChg>
        <pc:picChg chg="add mod">
          <ac:chgData name="Yaroslav Zhydyk" userId="feca11449df7c5ed" providerId="LiveId" clId="{A66BF2D7-9676-49CA-8938-AE9F6FD557AE}" dt="2022-11-23T10:42:03.729" v="5659" actId="12789"/>
          <ac:picMkLst>
            <pc:docMk/>
            <pc:sldMk cId="1447264257" sldId="3996"/>
            <ac:picMk id="6" creationId="{9B02992A-92CE-FD8A-3181-3787069818DD}"/>
          </ac:picMkLst>
        </pc:picChg>
        <pc:picChg chg="add mod">
          <ac:chgData name="Yaroslav Zhydyk" userId="feca11449df7c5ed" providerId="LiveId" clId="{A66BF2D7-9676-49CA-8938-AE9F6FD557AE}" dt="2022-11-23T10:42:03.729" v="5659" actId="12789"/>
          <ac:picMkLst>
            <pc:docMk/>
            <pc:sldMk cId="1447264257" sldId="3996"/>
            <ac:picMk id="2050" creationId="{1035F4EE-8D7C-3222-9691-775F6FFB8582}"/>
          </ac:picMkLst>
        </pc:picChg>
      </pc:sldChg>
      <pc:sldChg chg="addSp modSp add mod">
        <pc:chgData name="Yaroslav Zhydyk" userId="feca11449df7c5ed" providerId="LiveId" clId="{A66BF2D7-9676-49CA-8938-AE9F6FD557AE}" dt="2022-11-12T19:58:46.240" v="4737"/>
        <pc:sldMkLst>
          <pc:docMk/>
          <pc:sldMk cId="2999202990" sldId="3997"/>
        </pc:sldMkLst>
        <pc:spChg chg="add mod">
          <ac:chgData name="Yaroslav Zhydyk" userId="feca11449df7c5ed" providerId="LiveId" clId="{A66BF2D7-9676-49CA-8938-AE9F6FD557AE}" dt="2022-11-12T17:35:15.428" v="384" actId="20577"/>
          <ac:spMkLst>
            <pc:docMk/>
            <pc:sldMk cId="2999202990" sldId="3997"/>
            <ac:spMk id="2" creationId="{13259852-43B5-E657-A95A-914172BA2282}"/>
          </ac:spMkLst>
        </pc:spChg>
        <pc:spChg chg="mod">
          <ac:chgData name="Yaroslav Zhydyk" userId="feca11449df7c5ed" providerId="LiveId" clId="{A66BF2D7-9676-49CA-8938-AE9F6FD557AE}" dt="2022-11-12T19:58:46.240" v="4737"/>
          <ac:spMkLst>
            <pc:docMk/>
            <pc:sldMk cId="2999202990" sldId="3997"/>
            <ac:spMk id="5" creationId="{805F823C-4B4D-4EC8-15D7-D1C57874B9C0}"/>
          </ac:spMkLst>
        </pc:spChg>
        <pc:spChg chg="mod">
          <ac:chgData name="Yaroslav Zhydyk" userId="feca11449df7c5ed" providerId="LiveId" clId="{A66BF2D7-9676-49CA-8938-AE9F6FD557AE}" dt="2022-11-12T17:35:17.553" v="386" actId="20577"/>
          <ac:spMkLst>
            <pc:docMk/>
            <pc:sldMk cId="2999202990" sldId="3997"/>
            <ac:spMk id="9" creationId="{C79EB7FD-E4EE-930B-9FB4-B72F4FD018B7}"/>
          </ac:spMkLst>
        </pc:spChg>
      </pc:sldChg>
      <pc:sldChg chg="delSp modSp add mod">
        <pc:chgData name="Yaroslav Zhydyk" userId="feca11449df7c5ed" providerId="LiveId" clId="{A66BF2D7-9676-49CA-8938-AE9F6FD557AE}" dt="2022-11-12T19:58:46.240" v="4737"/>
        <pc:sldMkLst>
          <pc:docMk/>
          <pc:sldMk cId="304709472" sldId="3998"/>
        </pc:sldMkLst>
        <pc:spChg chg="mod">
          <ac:chgData name="Yaroslav Zhydyk" userId="feca11449df7c5ed" providerId="LiveId" clId="{A66BF2D7-9676-49CA-8938-AE9F6FD557AE}" dt="2022-11-12T17:36:22.930" v="396" actId="207"/>
          <ac:spMkLst>
            <pc:docMk/>
            <pc:sldMk cId="304709472" sldId="3998"/>
            <ac:spMk id="2" creationId="{28EA5771-CA78-48BE-8A17-314EEC0A0526}"/>
          </ac:spMkLst>
        </pc:spChg>
        <pc:spChg chg="mod">
          <ac:chgData name="Yaroslav Zhydyk" userId="feca11449df7c5ed" providerId="LiveId" clId="{A66BF2D7-9676-49CA-8938-AE9F6FD557AE}" dt="2022-11-12T19:58:46.240" v="4737"/>
          <ac:spMkLst>
            <pc:docMk/>
            <pc:sldMk cId="304709472" sldId="3998"/>
            <ac:spMk id="3" creationId="{62BDA759-9989-8E39-1064-E6FB4762FB5F}"/>
          </ac:spMkLst>
        </pc:spChg>
        <pc:spChg chg="del">
          <ac:chgData name="Yaroslav Zhydyk" userId="feca11449df7c5ed" providerId="LiveId" clId="{A66BF2D7-9676-49CA-8938-AE9F6FD557AE}" dt="2022-11-12T17:36:07.710" v="392" actId="478"/>
          <ac:spMkLst>
            <pc:docMk/>
            <pc:sldMk cId="304709472" sldId="3998"/>
            <ac:spMk id="7" creationId="{EE04EC6C-E813-405C-85E0-FCBDC316F647}"/>
          </ac:spMkLst>
        </pc:spChg>
        <pc:spChg chg="mod">
          <ac:chgData name="Yaroslav Zhydyk" userId="feca11449df7c5ed" providerId="LiveId" clId="{A66BF2D7-9676-49CA-8938-AE9F6FD557AE}" dt="2022-11-12T17:36:22.930" v="396" actId="207"/>
          <ac:spMkLst>
            <pc:docMk/>
            <pc:sldMk cId="304709472" sldId="3998"/>
            <ac:spMk id="8" creationId="{6648A949-B8CC-4A6D-94E5-2DFF39DC7ED4}"/>
          </ac:spMkLst>
        </pc:spChg>
        <pc:spChg chg="mod">
          <ac:chgData name="Yaroslav Zhydyk" userId="feca11449df7c5ed" providerId="LiveId" clId="{A66BF2D7-9676-49CA-8938-AE9F6FD557AE}" dt="2022-11-12T17:36:22.930" v="396" actId="207"/>
          <ac:spMkLst>
            <pc:docMk/>
            <pc:sldMk cId="304709472" sldId="3998"/>
            <ac:spMk id="10" creationId="{4B191F34-4590-4925-B7D1-9BBB0BC35E6A}"/>
          </ac:spMkLst>
        </pc:spChg>
        <pc:spChg chg="mod">
          <ac:chgData name="Yaroslav Zhydyk" userId="feca11449df7c5ed" providerId="LiveId" clId="{A66BF2D7-9676-49CA-8938-AE9F6FD557AE}" dt="2022-11-12T17:36:16.798" v="394" actId="207"/>
          <ac:spMkLst>
            <pc:docMk/>
            <pc:sldMk cId="304709472" sldId="3998"/>
            <ac:spMk id="12" creationId="{C33B1DF5-6D37-46EA-8E4C-6280EEF976E8}"/>
          </ac:spMkLst>
        </pc:spChg>
        <pc:spChg chg="mod">
          <ac:chgData name="Yaroslav Zhydyk" userId="feca11449df7c5ed" providerId="LiveId" clId="{A66BF2D7-9676-49CA-8938-AE9F6FD557AE}" dt="2022-11-12T17:35:59.786" v="391" actId="207"/>
          <ac:spMkLst>
            <pc:docMk/>
            <pc:sldMk cId="304709472" sldId="3998"/>
            <ac:spMk id="14" creationId="{A14FE9C0-B3BB-4470-824A-5C18DF861D38}"/>
          </ac:spMkLst>
        </pc:spChg>
        <pc:spChg chg="del">
          <ac:chgData name="Yaroslav Zhydyk" userId="feca11449df7c5ed" providerId="LiveId" clId="{A66BF2D7-9676-49CA-8938-AE9F6FD557AE}" dt="2022-11-12T17:36:07.710" v="392" actId="478"/>
          <ac:spMkLst>
            <pc:docMk/>
            <pc:sldMk cId="304709472" sldId="3998"/>
            <ac:spMk id="16" creationId="{E9AF2337-8BDF-4A4D-8773-C8EBDD38FA86}"/>
          </ac:spMkLst>
        </pc:spChg>
      </pc:sldChg>
      <pc:sldChg chg="add del">
        <pc:chgData name="Yaroslav Zhydyk" userId="feca11449df7c5ed" providerId="LiveId" clId="{A66BF2D7-9676-49CA-8938-AE9F6FD557AE}" dt="2022-11-12T17:37:23.096" v="430" actId="2696"/>
        <pc:sldMkLst>
          <pc:docMk/>
          <pc:sldMk cId="221246789" sldId="3999"/>
        </pc:sldMkLst>
      </pc:sldChg>
      <pc:sldChg chg="modSp add mod">
        <pc:chgData name="Yaroslav Zhydyk" userId="feca11449df7c5ed" providerId="LiveId" clId="{A66BF2D7-9676-49CA-8938-AE9F6FD557AE}" dt="2022-11-12T19:58:46.240" v="4737"/>
        <pc:sldMkLst>
          <pc:docMk/>
          <pc:sldMk cId="2597661208" sldId="3999"/>
        </pc:sldMkLst>
        <pc:spChg chg="mod">
          <ac:chgData name="Yaroslav Zhydyk" userId="feca11449df7c5ed" providerId="LiveId" clId="{A66BF2D7-9676-49CA-8938-AE9F6FD557AE}" dt="2022-11-12T19:58:46.240" v="4737"/>
          <ac:spMkLst>
            <pc:docMk/>
            <pc:sldMk cId="2597661208" sldId="3999"/>
            <ac:spMk id="3" creationId="{62BDA759-9989-8E39-1064-E6FB4762FB5F}"/>
          </ac:spMkLst>
        </pc:spChg>
        <pc:spChg chg="mod">
          <ac:chgData name="Yaroslav Zhydyk" userId="feca11449df7c5ed" providerId="LiveId" clId="{A66BF2D7-9676-49CA-8938-AE9F6FD557AE}" dt="2022-11-12T17:37:41.027" v="438"/>
          <ac:spMkLst>
            <pc:docMk/>
            <pc:sldMk cId="2597661208" sldId="3999"/>
            <ac:spMk id="10" creationId="{4B191F34-4590-4925-B7D1-9BBB0BC35E6A}"/>
          </ac:spMkLst>
        </pc:spChg>
        <pc:spChg chg="mod">
          <ac:chgData name="Yaroslav Zhydyk" userId="feca11449df7c5ed" providerId="LiveId" clId="{A66BF2D7-9676-49CA-8938-AE9F6FD557AE}" dt="2022-11-12T17:37:45.537" v="440"/>
          <ac:spMkLst>
            <pc:docMk/>
            <pc:sldMk cId="2597661208" sldId="3999"/>
            <ac:spMk id="12" creationId="{C33B1DF5-6D37-46EA-8E4C-6280EEF976E8}"/>
          </ac:spMkLst>
        </pc:spChg>
      </pc:sldChg>
      <pc:sldChg chg="addSp delSp modSp add del mod">
        <pc:chgData name="Yaroslav Zhydyk" userId="feca11449df7c5ed" providerId="LiveId" clId="{A66BF2D7-9676-49CA-8938-AE9F6FD557AE}" dt="2022-11-12T17:39:23.549" v="466" actId="47"/>
        <pc:sldMkLst>
          <pc:docMk/>
          <pc:sldMk cId="2155190197" sldId="4000"/>
        </pc:sldMkLst>
        <pc:spChg chg="mod">
          <ac:chgData name="Yaroslav Zhydyk" userId="feca11449df7c5ed" providerId="LiveId" clId="{A66BF2D7-9676-49CA-8938-AE9F6FD557AE}" dt="2022-11-12T17:38:44.803" v="454"/>
          <ac:spMkLst>
            <pc:docMk/>
            <pc:sldMk cId="2155190197" sldId="4000"/>
            <ac:spMk id="8" creationId="{8E673FB6-E0FE-4DF3-8E96-F1AA425DA93E}"/>
          </ac:spMkLst>
        </pc:spChg>
        <pc:picChg chg="del">
          <ac:chgData name="Yaroslav Zhydyk" userId="feca11449df7c5ed" providerId="LiveId" clId="{A66BF2D7-9676-49CA-8938-AE9F6FD557AE}" dt="2022-11-12T17:39:01.524" v="460" actId="478"/>
          <ac:picMkLst>
            <pc:docMk/>
            <pc:sldMk cId="2155190197" sldId="4000"/>
            <ac:picMk id="3" creationId="{24D2F5E3-00BC-895A-0BFB-224396A4B231}"/>
          </ac:picMkLst>
        </pc:picChg>
        <pc:picChg chg="add mod">
          <ac:chgData name="Yaroslav Zhydyk" userId="feca11449df7c5ed" providerId="LiveId" clId="{A66BF2D7-9676-49CA-8938-AE9F6FD557AE}" dt="2022-11-12T17:38:58.189" v="459" actId="12789"/>
          <ac:picMkLst>
            <pc:docMk/>
            <pc:sldMk cId="2155190197" sldId="4000"/>
            <ac:picMk id="4" creationId="{3B9B3DFF-5742-8535-A558-EEA244755F82}"/>
          </ac:picMkLst>
        </pc:picChg>
      </pc:sldChg>
      <pc:sldChg chg="modSp add mod modTransition">
        <pc:chgData name="Yaroslav Zhydyk" userId="feca11449df7c5ed" providerId="LiveId" clId="{A66BF2D7-9676-49CA-8938-AE9F6FD557AE}" dt="2022-11-12T17:43:01.686" v="572"/>
        <pc:sldMkLst>
          <pc:docMk/>
          <pc:sldMk cId="2676785947" sldId="4001"/>
        </pc:sldMkLst>
        <pc:picChg chg="mod">
          <ac:chgData name="Yaroslav Zhydyk" userId="feca11449df7c5ed" providerId="LiveId" clId="{A66BF2D7-9676-49CA-8938-AE9F6FD557AE}" dt="2022-11-12T17:39:21.319" v="465" actId="12789"/>
          <ac:picMkLst>
            <pc:docMk/>
            <pc:sldMk cId="2676785947" sldId="4001"/>
            <ac:picMk id="4" creationId="{3B9B3DFF-5742-8535-A558-EEA244755F82}"/>
          </ac:picMkLst>
        </pc:picChg>
      </pc:sldChg>
      <pc:sldChg chg="addSp modSp add mod">
        <pc:chgData name="Yaroslav Zhydyk" userId="feca11449df7c5ed" providerId="LiveId" clId="{A66BF2D7-9676-49CA-8938-AE9F6FD557AE}" dt="2022-11-12T17:40:29.081" v="527" actId="207"/>
        <pc:sldMkLst>
          <pc:docMk/>
          <pc:sldMk cId="1911571291" sldId="4002"/>
        </pc:sldMkLst>
        <pc:spChg chg="add mod">
          <ac:chgData name="Yaroslav Zhydyk" userId="feca11449df7c5ed" providerId="LiveId" clId="{A66BF2D7-9676-49CA-8938-AE9F6FD557AE}" dt="2022-11-12T17:40:29.081" v="527" actId="207"/>
          <ac:spMkLst>
            <pc:docMk/>
            <pc:sldMk cId="1911571291" sldId="4002"/>
            <ac:spMk id="3" creationId="{73F1F5B8-3403-0494-75AA-DC34FB6C7C57}"/>
          </ac:spMkLst>
        </pc:spChg>
        <pc:spChg chg="mod">
          <ac:chgData name="Yaroslav Zhydyk" userId="feca11449df7c5ed" providerId="LiveId" clId="{A66BF2D7-9676-49CA-8938-AE9F6FD557AE}" dt="2022-11-12T17:39:56.095" v="482" actId="14100"/>
          <ac:spMkLst>
            <pc:docMk/>
            <pc:sldMk cId="1911571291" sldId="4002"/>
            <ac:spMk id="8" creationId="{8E673FB6-E0FE-4DF3-8E96-F1AA425DA93E}"/>
          </ac:spMkLst>
        </pc:spChg>
      </pc:sldChg>
      <pc:sldChg chg="modSp add mod ord">
        <pc:chgData name="Yaroslav Zhydyk" userId="feca11449df7c5ed" providerId="LiveId" clId="{A66BF2D7-9676-49CA-8938-AE9F6FD557AE}" dt="2022-11-12T19:58:46.240" v="4737"/>
        <pc:sldMkLst>
          <pc:docMk/>
          <pc:sldMk cId="4261725762" sldId="4003"/>
        </pc:sldMkLst>
        <pc:spChg chg="mod">
          <ac:chgData name="Yaroslav Zhydyk" userId="feca11449df7c5ed" providerId="LiveId" clId="{A66BF2D7-9676-49CA-8938-AE9F6FD557AE}" dt="2022-11-12T19:58:46.240" v="4737"/>
          <ac:spMkLst>
            <pc:docMk/>
            <pc:sldMk cId="4261725762" sldId="4003"/>
            <ac:spMk id="3" creationId="{62BDA759-9989-8E39-1064-E6FB4762FB5F}"/>
          </ac:spMkLst>
        </pc:spChg>
        <pc:spChg chg="mod">
          <ac:chgData name="Yaroslav Zhydyk" userId="feca11449df7c5ed" providerId="LiveId" clId="{A66BF2D7-9676-49CA-8938-AE9F6FD557AE}" dt="2022-11-12T17:39:40.611" v="477"/>
          <ac:spMkLst>
            <pc:docMk/>
            <pc:sldMk cId="4261725762" sldId="4003"/>
            <ac:spMk id="8" creationId="{6648A949-B8CC-4A6D-94E5-2DFF39DC7ED4}"/>
          </ac:spMkLst>
        </pc:spChg>
        <pc:spChg chg="mod">
          <ac:chgData name="Yaroslav Zhydyk" userId="feca11449df7c5ed" providerId="LiveId" clId="{A66BF2D7-9676-49CA-8938-AE9F6FD557AE}" dt="2022-11-12T17:39:44.195" v="479"/>
          <ac:spMkLst>
            <pc:docMk/>
            <pc:sldMk cId="4261725762" sldId="4003"/>
            <ac:spMk id="10" creationId="{4B191F34-4590-4925-B7D1-9BBB0BC35E6A}"/>
          </ac:spMkLst>
        </pc:spChg>
      </pc:sldChg>
      <pc:sldChg chg="modSp add mod">
        <pc:chgData name="Yaroslav Zhydyk" userId="feca11449df7c5ed" providerId="LiveId" clId="{A66BF2D7-9676-49CA-8938-AE9F6FD557AE}" dt="2022-11-12T19:58:46.240" v="4737"/>
        <pc:sldMkLst>
          <pc:docMk/>
          <pc:sldMk cId="3838891106" sldId="4004"/>
        </pc:sldMkLst>
        <pc:spChg chg="mod">
          <ac:chgData name="Yaroslav Zhydyk" userId="feca11449df7c5ed" providerId="LiveId" clId="{A66BF2D7-9676-49CA-8938-AE9F6FD557AE}" dt="2022-11-12T17:41:03.193" v="534"/>
          <ac:spMkLst>
            <pc:docMk/>
            <pc:sldMk cId="3838891106" sldId="4004"/>
            <ac:spMk id="2" creationId="{28EA5771-CA78-48BE-8A17-314EEC0A0526}"/>
          </ac:spMkLst>
        </pc:spChg>
        <pc:spChg chg="mod">
          <ac:chgData name="Yaroslav Zhydyk" userId="feca11449df7c5ed" providerId="LiveId" clId="{A66BF2D7-9676-49CA-8938-AE9F6FD557AE}" dt="2022-11-12T19:58:46.240" v="4737"/>
          <ac:spMkLst>
            <pc:docMk/>
            <pc:sldMk cId="3838891106" sldId="4004"/>
            <ac:spMk id="3" creationId="{62BDA759-9989-8E39-1064-E6FB4762FB5F}"/>
          </ac:spMkLst>
        </pc:spChg>
        <pc:spChg chg="mod">
          <ac:chgData name="Yaroslav Zhydyk" userId="feca11449df7c5ed" providerId="LiveId" clId="{A66BF2D7-9676-49CA-8938-AE9F6FD557AE}" dt="2022-11-12T17:41:07.813" v="536"/>
          <ac:spMkLst>
            <pc:docMk/>
            <pc:sldMk cId="3838891106" sldId="4004"/>
            <ac:spMk id="8" creationId="{6648A949-B8CC-4A6D-94E5-2DFF39DC7ED4}"/>
          </ac:spMkLst>
        </pc:spChg>
      </pc:sldChg>
      <pc:sldChg chg="addSp delSp modSp add mod modAnim">
        <pc:chgData name="Yaroslav Zhydyk" userId="feca11449df7c5ed" providerId="LiveId" clId="{A66BF2D7-9676-49CA-8938-AE9F6FD557AE}" dt="2022-11-12T17:42:39.368" v="563"/>
        <pc:sldMkLst>
          <pc:docMk/>
          <pc:sldMk cId="1670425002" sldId="4005"/>
        </pc:sldMkLst>
        <pc:spChg chg="del">
          <ac:chgData name="Yaroslav Zhydyk" userId="feca11449df7c5ed" providerId="LiveId" clId="{A66BF2D7-9676-49CA-8938-AE9F6FD557AE}" dt="2022-11-12T17:41:28.680" v="543" actId="478"/>
          <ac:spMkLst>
            <pc:docMk/>
            <pc:sldMk cId="1670425002" sldId="4005"/>
            <ac:spMk id="3" creationId="{73F1F5B8-3403-0494-75AA-DC34FB6C7C57}"/>
          </ac:spMkLst>
        </pc:spChg>
        <pc:spChg chg="mod">
          <ac:chgData name="Yaroslav Zhydyk" userId="feca11449df7c5ed" providerId="LiveId" clId="{A66BF2D7-9676-49CA-8938-AE9F6FD557AE}" dt="2022-11-12T17:42:19.422" v="561" actId="207"/>
          <ac:spMkLst>
            <pc:docMk/>
            <pc:sldMk cId="1670425002" sldId="4005"/>
            <ac:spMk id="8" creationId="{8E673FB6-E0FE-4DF3-8E96-F1AA425DA93E}"/>
          </ac:spMkLst>
        </pc:spChg>
        <pc:picChg chg="del">
          <ac:chgData name="Yaroslav Zhydyk" userId="feca11449df7c5ed" providerId="LiveId" clId="{A66BF2D7-9676-49CA-8938-AE9F6FD557AE}" dt="2022-11-12T17:41:28.680" v="543" actId="478"/>
          <ac:picMkLst>
            <pc:docMk/>
            <pc:sldMk cId="1670425002" sldId="4005"/>
            <ac:picMk id="4" creationId="{3B9B3DFF-5742-8535-A558-EEA244755F82}"/>
          </ac:picMkLst>
        </pc:picChg>
        <pc:picChg chg="add mod">
          <ac:chgData name="Yaroslav Zhydyk" userId="feca11449df7c5ed" providerId="LiveId" clId="{A66BF2D7-9676-49CA-8938-AE9F6FD557AE}" dt="2022-11-12T17:41:26.163" v="542" actId="12789"/>
          <ac:picMkLst>
            <pc:docMk/>
            <pc:sldMk cId="1670425002" sldId="4005"/>
            <ac:picMk id="6" creationId="{459B66CD-2A20-C8D3-4856-BDD9D5709883}"/>
          </ac:picMkLst>
        </pc:picChg>
      </pc:sldChg>
      <pc:sldChg chg="delSp modSp add mod">
        <pc:chgData name="Yaroslav Zhydyk" userId="feca11449df7c5ed" providerId="LiveId" clId="{A66BF2D7-9676-49CA-8938-AE9F6FD557AE}" dt="2022-11-12T20:00:55.606" v="5644" actId="478"/>
        <pc:sldMkLst>
          <pc:docMk/>
          <pc:sldMk cId="725475428" sldId="4006"/>
        </pc:sldMkLst>
        <pc:spChg chg="del mod">
          <ac:chgData name="Yaroslav Zhydyk" userId="feca11449df7c5ed" providerId="LiveId" clId="{A66BF2D7-9676-49CA-8938-AE9F6FD557AE}" dt="2022-11-12T20:00:55.606" v="5644" actId="478"/>
          <ac:spMkLst>
            <pc:docMk/>
            <pc:sldMk cId="725475428" sldId="4006"/>
            <ac:spMk id="8" creationId="{8E673FB6-E0FE-4DF3-8E96-F1AA425DA93E}"/>
          </ac:spMkLst>
        </pc:spChg>
      </pc:sldChg>
      <pc:sldChg chg="addSp modSp new add del mod">
        <pc:chgData name="Yaroslav Zhydyk" userId="feca11449df7c5ed" providerId="LiveId" clId="{A66BF2D7-9676-49CA-8938-AE9F6FD557AE}" dt="2022-11-23T10:41:33.800" v="5646" actId="47"/>
        <pc:sldMkLst>
          <pc:docMk/>
          <pc:sldMk cId="3231833163" sldId="4007"/>
        </pc:sldMkLst>
        <pc:spChg chg="add mod">
          <ac:chgData name="Yaroslav Zhydyk" userId="feca11449df7c5ed" providerId="LiveId" clId="{A66BF2D7-9676-49CA-8938-AE9F6FD557AE}" dt="2022-11-12T19:37:46.156" v="680" actId="554"/>
          <ac:spMkLst>
            <pc:docMk/>
            <pc:sldMk cId="3231833163" sldId="4007"/>
            <ac:spMk id="2" creationId="{A95D67A9-470E-3D3F-B755-88792E34B357}"/>
          </ac:spMkLst>
        </pc:spChg>
        <pc:spChg chg="add mod">
          <ac:chgData name="Yaroslav Zhydyk" userId="feca11449df7c5ed" providerId="LiveId" clId="{A66BF2D7-9676-49CA-8938-AE9F6FD557AE}" dt="2022-11-12T19:37:47.090" v="681" actId="408"/>
          <ac:spMkLst>
            <pc:docMk/>
            <pc:sldMk cId="3231833163" sldId="4007"/>
            <ac:spMk id="3" creationId="{0CA141B0-5DA1-3C49-C952-79B745F13DEB}"/>
          </ac:spMkLst>
        </pc:spChg>
        <pc:spChg chg="add mod">
          <ac:chgData name="Yaroslav Zhydyk" userId="feca11449df7c5ed" providerId="LiveId" clId="{A66BF2D7-9676-49CA-8938-AE9F6FD557AE}" dt="2022-11-12T19:37:47.090" v="681" actId="408"/>
          <ac:spMkLst>
            <pc:docMk/>
            <pc:sldMk cId="3231833163" sldId="4007"/>
            <ac:spMk id="4" creationId="{EB8FDB40-84B8-E5AE-DD24-CE297A376753}"/>
          </ac:spMkLst>
        </pc:spChg>
        <pc:spChg chg="add mod">
          <ac:chgData name="Yaroslav Zhydyk" userId="feca11449df7c5ed" providerId="LiveId" clId="{A66BF2D7-9676-49CA-8938-AE9F6FD557AE}" dt="2022-11-12T19:37:46.156" v="680" actId="554"/>
          <ac:spMkLst>
            <pc:docMk/>
            <pc:sldMk cId="3231833163" sldId="4007"/>
            <ac:spMk id="5" creationId="{C8EB939C-E5CB-BF56-70F0-AEC26215AB2D}"/>
          </ac:spMkLst>
        </pc:spChg>
      </pc:sldChg>
      <pc:sldChg chg="add del">
        <pc:chgData name="Yaroslav Zhydyk" userId="feca11449df7c5ed" providerId="LiveId" clId="{A66BF2D7-9676-49CA-8938-AE9F6FD557AE}" dt="2022-11-12T19:29:48.032" v="593" actId="2890"/>
        <pc:sldMkLst>
          <pc:docMk/>
          <pc:sldMk cId="4179727371" sldId="4007"/>
        </pc:sldMkLst>
      </pc:sldChg>
      <pc:sldChg chg="modSp add del mod">
        <pc:chgData name="Yaroslav Zhydyk" userId="feca11449df7c5ed" providerId="LiveId" clId="{A66BF2D7-9676-49CA-8938-AE9F6FD557AE}" dt="2022-11-12T19:42:12.353" v="786" actId="47"/>
        <pc:sldMkLst>
          <pc:docMk/>
          <pc:sldMk cId="3258808055" sldId="4008"/>
        </pc:sldMkLst>
        <pc:spChg chg="mod">
          <ac:chgData name="Yaroslav Zhydyk" userId="feca11449df7c5ed" providerId="LiveId" clId="{A66BF2D7-9676-49CA-8938-AE9F6FD557AE}" dt="2022-11-12T19:41:51.004" v="777" actId="20577"/>
          <ac:spMkLst>
            <pc:docMk/>
            <pc:sldMk cId="3258808055" sldId="4008"/>
            <ac:spMk id="2" creationId="{EFE17672-BE7D-9F59-A27A-F52DD40B96E2}"/>
          </ac:spMkLst>
        </pc:spChg>
      </pc:sldChg>
      <pc:sldChg chg="addSp delSp modSp new add del mod">
        <pc:chgData name="Yaroslav Zhydyk" userId="feca11449df7c5ed" providerId="LiveId" clId="{A66BF2D7-9676-49CA-8938-AE9F6FD557AE}" dt="2022-11-12T19:44:07.224" v="872" actId="47"/>
        <pc:sldMkLst>
          <pc:docMk/>
          <pc:sldMk cId="3970513554" sldId="4008"/>
        </pc:sldMkLst>
        <pc:spChg chg="mod ord">
          <ac:chgData name="Yaroslav Zhydyk" userId="feca11449df7c5ed" providerId="LiveId" clId="{A66BF2D7-9676-49CA-8938-AE9F6FD557AE}" dt="2022-11-12T19:43:46.662" v="848"/>
          <ac:spMkLst>
            <pc:docMk/>
            <pc:sldMk cId="3970513554" sldId="4008"/>
            <ac:spMk id="2" creationId="{564A5B0A-D9B0-4D8A-3D42-49895A9FE349}"/>
          </ac:spMkLst>
        </pc:spChg>
        <pc:spChg chg="del">
          <ac:chgData name="Yaroslav Zhydyk" userId="feca11449df7c5ed" providerId="LiveId" clId="{A66BF2D7-9676-49CA-8938-AE9F6FD557AE}" dt="2022-11-12T19:43:13.954" v="796" actId="931"/>
          <ac:spMkLst>
            <pc:docMk/>
            <pc:sldMk cId="3970513554" sldId="4008"/>
            <ac:spMk id="3" creationId="{12B673B4-3EF7-09E2-BFA3-F4EB2A638201}"/>
          </ac:spMkLst>
        </pc:spChg>
        <pc:spChg chg="add del mod">
          <ac:chgData name="Yaroslav Zhydyk" userId="feca11449df7c5ed" providerId="LiveId" clId="{A66BF2D7-9676-49CA-8938-AE9F6FD557AE}" dt="2022-11-12T19:43:27.783" v="799" actId="931"/>
          <ac:spMkLst>
            <pc:docMk/>
            <pc:sldMk cId="3970513554" sldId="4008"/>
            <ac:spMk id="7" creationId="{70BEEA46-6EC7-5FD4-3383-3BEFDDF65235}"/>
          </ac:spMkLst>
        </pc:spChg>
        <pc:spChg chg="add del mod ord">
          <ac:chgData name="Yaroslav Zhydyk" userId="feca11449df7c5ed" providerId="LiveId" clId="{A66BF2D7-9676-49CA-8938-AE9F6FD557AE}" dt="2022-11-12T19:43:46.659" v="846"/>
          <ac:spMkLst>
            <pc:docMk/>
            <pc:sldMk cId="3970513554" sldId="4008"/>
            <ac:spMk id="10" creationId="{10583849-E65D-0F14-CEC3-BB4E819709D5}"/>
          </ac:spMkLst>
        </pc:spChg>
        <pc:spChg chg="add mod">
          <ac:chgData name="Yaroslav Zhydyk" userId="feca11449df7c5ed" providerId="LiveId" clId="{A66BF2D7-9676-49CA-8938-AE9F6FD557AE}" dt="2022-11-12T19:44:05.268" v="871" actId="478"/>
          <ac:spMkLst>
            <pc:docMk/>
            <pc:sldMk cId="3970513554" sldId="4008"/>
            <ac:spMk id="14" creationId="{5FB63BD9-7892-65B3-E9A3-A514BFC3EC2A}"/>
          </ac:spMkLst>
        </pc:spChg>
        <pc:graphicFrameChg chg="add del mod ord modVis replST delST">
          <ac:chgData name="Yaroslav Zhydyk" userId="feca11449df7c5ed" providerId="LiveId" clId="{A66BF2D7-9676-49CA-8938-AE9F6FD557AE}" dt="2022-11-12T19:43:42.102" v="842"/>
          <ac:graphicFrameMkLst>
            <pc:docMk/>
            <pc:sldMk cId="3970513554" sldId="4008"/>
            <ac:graphicFrameMk id="11" creationId="{3343202B-9BA1-FC60-16C3-70643189928E}"/>
          </ac:graphicFrameMkLst>
        </pc:graphicFrameChg>
        <pc:graphicFrameChg chg="add mod ord modVis replST">
          <ac:chgData name="Yaroslav Zhydyk" userId="feca11449df7c5ed" providerId="LiveId" clId="{A66BF2D7-9676-49CA-8938-AE9F6FD557AE}" dt="2022-11-12T19:43:46.716" v="868"/>
          <ac:graphicFrameMkLst>
            <pc:docMk/>
            <pc:sldMk cId="3970513554" sldId="4008"/>
            <ac:graphicFrameMk id="12" creationId="{19AD9B2F-F668-886E-3362-515FAEA9A240}"/>
          </ac:graphicFrameMkLst>
        </pc:graphicFrameChg>
        <pc:picChg chg="add del mod">
          <ac:chgData name="Yaroslav Zhydyk" userId="feca11449df7c5ed" providerId="LiveId" clId="{A66BF2D7-9676-49CA-8938-AE9F6FD557AE}" dt="2022-11-12T19:43:24.117" v="798" actId="478"/>
          <ac:picMkLst>
            <pc:docMk/>
            <pc:sldMk cId="3970513554" sldId="4008"/>
            <ac:picMk id="5" creationId="{1C21713B-5C19-82AF-23E8-3614E8569CEF}"/>
          </ac:picMkLst>
        </pc:picChg>
        <pc:picChg chg="add del mod ord">
          <ac:chgData name="Yaroslav Zhydyk" userId="feca11449df7c5ed" providerId="LiveId" clId="{A66BF2D7-9676-49CA-8938-AE9F6FD557AE}" dt="2022-11-12T19:44:05.268" v="871" actId="478"/>
          <ac:picMkLst>
            <pc:docMk/>
            <pc:sldMk cId="3970513554" sldId="4008"/>
            <ac:picMk id="9" creationId="{B741AE70-4F3B-2378-1EBC-8F42977E766F}"/>
          </ac:picMkLst>
        </pc:picChg>
      </pc:sldChg>
      <pc:sldChg chg="modSp add mod">
        <pc:chgData name="Yaroslav Zhydyk" userId="feca11449df7c5ed" providerId="LiveId" clId="{A66BF2D7-9676-49CA-8938-AE9F6FD557AE}" dt="2022-11-12T19:47:19.304" v="899" actId="403"/>
        <pc:sldMkLst>
          <pc:docMk/>
          <pc:sldMk cId="4235344106" sldId="4008"/>
        </pc:sldMkLst>
        <pc:spChg chg="mod">
          <ac:chgData name="Yaroslav Zhydyk" userId="feca11449df7c5ed" providerId="LiveId" clId="{A66BF2D7-9676-49CA-8938-AE9F6FD557AE}" dt="2022-11-12T19:47:19.304" v="899" actId="403"/>
          <ac:spMkLst>
            <pc:docMk/>
            <pc:sldMk cId="4235344106" sldId="4008"/>
            <ac:spMk id="8" creationId="{8E673FB6-E0FE-4DF3-8E96-F1AA425DA93E}"/>
          </ac:spMkLst>
        </pc:spChg>
      </pc:sldChg>
      <pc:sldChg chg="addSp delSp modSp new add mod">
        <pc:chgData name="Yaroslav Zhydyk" userId="feca11449df7c5ed" providerId="LiveId" clId="{A66BF2D7-9676-49CA-8938-AE9F6FD557AE}" dt="2022-11-12T19:51:32.386" v="923" actId="16037"/>
        <pc:sldMkLst>
          <pc:docMk/>
          <pc:sldMk cId="664830277" sldId="4009"/>
        </pc:sldMkLst>
        <pc:spChg chg="add del mod">
          <ac:chgData name="Yaroslav Zhydyk" userId="feca11449df7c5ed" providerId="LiveId" clId="{A66BF2D7-9676-49CA-8938-AE9F6FD557AE}" dt="2022-11-12T19:48:45.136" v="906" actId="11529"/>
          <ac:spMkLst>
            <pc:docMk/>
            <pc:sldMk cId="664830277" sldId="4009"/>
            <ac:spMk id="2" creationId="{2D85D567-BA36-9379-8967-1BE93BBC1266}"/>
          </ac:spMkLst>
        </pc:spChg>
        <pc:spChg chg="add mod">
          <ac:chgData name="Yaroslav Zhydyk" userId="feca11449df7c5ed" providerId="LiveId" clId="{A66BF2D7-9676-49CA-8938-AE9F6FD557AE}" dt="2022-11-12T19:49:46.842" v="918"/>
          <ac:spMkLst>
            <pc:docMk/>
            <pc:sldMk cId="664830277" sldId="4009"/>
            <ac:spMk id="3" creationId="{6FC8CE2F-F2DC-5CEA-04FB-91B1236C791F}"/>
          </ac:spMkLst>
        </pc:spChg>
        <pc:spChg chg="add mod">
          <ac:chgData name="Yaroslav Zhydyk" userId="feca11449df7c5ed" providerId="LiveId" clId="{A66BF2D7-9676-49CA-8938-AE9F6FD557AE}" dt="2022-11-12T19:49:54.885" v="920"/>
          <ac:spMkLst>
            <pc:docMk/>
            <pc:sldMk cId="664830277" sldId="4009"/>
            <ac:spMk id="4" creationId="{84DE8E46-5DB0-7D1A-04D7-0EA3CBA21585}"/>
          </ac:spMkLst>
        </pc:spChg>
        <pc:spChg chg="add mod">
          <ac:chgData name="Yaroslav Zhydyk" userId="feca11449df7c5ed" providerId="LiveId" clId="{A66BF2D7-9676-49CA-8938-AE9F6FD557AE}" dt="2022-11-12T19:51:32.386" v="923" actId="16037"/>
          <ac:spMkLst>
            <pc:docMk/>
            <pc:sldMk cId="664830277" sldId="4009"/>
            <ac:spMk id="5" creationId="{6D6DCD5B-C1F5-0106-4EB7-A00AEEB6DC8E}"/>
          </ac:spMkLst>
        </pc:spChg>
        <pc:picChg chg="add mod">
          <ac:chgData name="Yaroslav Zhydyk" userId="feca11449df7c5ed" providerId="LiveId" clId="{A66BF2D7-9676-49CA-8938-AE9F6FD557AE}" dt="2022-11-12T19:48:39.722" v="904" actId="1076"/>
          <ac:picMkLst>
            <pc:docMk/>
            <pc:sldMk cId="664830277" sldId="4009"/>
            <ac:picMk id="1026" creationId="{D09AA42E-F29B-A4A6-DD39-1A005E87ED04}"/>
          </ac:picMkLst>
        </pc:picChg>
      </pc:sldChg>
      <pc:sldChg chg="modSp add del mod">
        <pc:chgData name="Yaroslav Zhydyk" userId="feca11449df7c5ed" providerId="LiveId" clId="{A66BF2D7-9676-49CA-8938-AE9F6FD557AE}" dt="2022-11-12T19:42:12.353" v="786" actId="47"/>
        <pc:sldMkLst>
          <pc:docMk/>
          <pc:sldMk cId="2184916527" sldId="4009"/>
        </pc:sldMkLst>
        <pc:spChg chg="mod">
          <ac:chgData name="Yaroslav Zhydyk" userId="feca11449df7c5ed" providerId="LiveId" clId="{A66BF2D7-9676-49CA-8938-AE9F6FD557AE}" dt="2022-11-12T19:41:54.331" v="781" actId="20577"/>
          <ac:spMkLst>
            <pc:docMk/>
            <pc:sldMk cId="2184916527" sldId="4009"/>
            <ac:spMk id="2" creationId="{EFE17672-BE7D-9F59-A27A-F52DD40B96E2}"/>
          </ac:spMkLst>
        </pc:spChg>
      </pc:sldChg>
      <pc:sldChg chg="addSp modSp new add mod">
        <pc:chgData name="Yaroslav Zhydyk" userId="feca11449df7c5ed" providerId="LiveId" clId="{A66BF2D7-9676-49CA-8938-AE9F6FD557AE}" dt="2022-11-23T10:41:53.153" v="5653" actId="12789"/>
        <pc:sldMkLst>
          <pc:docMk/>
          <pc:sldMk cId="1369477425" sldId="4010"/>
        </pc:sldMkLst>
        <pc:grpChg chg="add mod">
          <ac:chgData name="Yaroslav Zhydyk" userId="feca11449df7c5ed" providerId="LiveId" clId="{A66BF2D7-9676-49CA-8938-AE9F6FD557AE}" dt="2022-11-23T10:41:53.153" v="5653" actId="12789"/>
          <ac:grpSpMkLst>
            <pc:docMk/>
            <pc:sldMk cId="1369477425" sldId="4010"/>
            <ac:grpSpMk id="2" creationId="{7BBED916-4171-464C-40AE-28E6F38BDE2C}"/>
          </ac:grpSpMkLst>
        </pc:grpChg>
        <pc:picChg chg="add mod">
          <ac:chgData name="Yaroslav Zhydyk" userId="feca11449df7c5ed" providerId="LiveId" clId="{A66BF2D7-9676-49CA-8938-AE9F6FD557AE}" dt="2022-11-23T10:41:51.719" v="5651" actId="164"/>
          <ac:picMkLst>
            <pc:docMk/>
            <pc:sldMk cId="1369477425" sldId="4010"/>
            <ac:picMk id="3" creationId="{9FFF5CB3-09CD-78AB-4325-CA1031F0322E}"/>
          </ac:picMkLst>
        </pc:picChg>
        <pc:picChg chg="add mod">
          <ac:chgData name="Yaroslav Zhydyk" userId="feca11449df7c5ed" providerId="LiveId" clId="{A66BF2D7-9676-49CA-8938-AE9F6FD557AE}" dt="2022-11-23T10:41:51.719" v="5651" actId="164"/>
          <ac:picMkLst>
            <pc:docMk/>
            <pc:sldMk cId="1369477425" sldId="4010"/>
            <ac:picMk id="5" creationId="{2CED7707-EE33-6897-1D60-4C925D41D60C}"/>
          </ac:picMkLst>
        </pc:picChg>
        <pc:picChg chg="add mod">
          <ac:chgData name="Yaroslav Zhydyk" userId="feca11449df7c5ed" providerId="LiveId" clId="{A66BF2D7-9676-49CA-8938-AE9F6FD557AE}" dt="2022-11-23T10:41:51.719" v="5651" actId="164"/>
          <ac:picMkLst>
            <pc:docMk/>
            <pc:sldMk cId="1369477425" sldId="4010"/>
            <ac:picMk id="7" creationId="{844801E7-0FF5-ABEA-602F-B7E713C6D02E}"/>
          </ac:picMkLst>
        </pc:picChg>
      </pc:sldChg>
      <pc:sldChg chg="modSp add del mod">
        <pc:chgData name="Yaroslav Zhydyk" userId="feca11449df7c5ed" providerId="LiveId" clId="{A66BF2D7-9676-49CA-8938-AE9F6FD557AE}" dt="2022-11-12T19:42:12.353" v="786" actId="47"/>
        <pc:sldMkLst>
          <pc:docMk/>
          <pc:sldMk cId="3669260111" sldId="4010"/>
        </pc:sldMkLst>
        <pc:spChg chg="mod">
          <ac:chgData name="Yaroslav Zhydyk" userId="feca11449df7c5ed" providerId="LiveId" clId="{A66BF2D7-9676-49CA-8938-AE9F6FD557AE}" dt="2022-11-12T19:41:57.459" v="785" actId="20577"/>
          <ac:spMkLst>
            <pc:docMk/>
            <pc:sldMk cId="3669260111" sldId="4010"/>
            <ac:spMk id="2" creationId="{EFE17672-BE7D-9F59-A27A-F52DD40B96E2}"/>
          </ac:spMkLst>
        </pc:spChg>
      </pc:sldChg>
      <pc:sldChg chg="addSp modSp new add mod">
        <pc:chgData name="Yaroslav Zhydyk" userId="feca11449df7c5ed" providerId="LiveId" clId="{A66BF2D7-9676-49CA-8938-AE9F6FD557AE}" dt="2022-11-12T19:56:16.683" v="3254"/>
        <pc:sldMkLst>
          <pc:docMk/>
          <pc:sldMk cId="630007733" sldId="4011"/>
        </pc:sldMkLst>
        <pc:graphicFrameChg chg="add mod modGraphic">
          <ac:chgData name="Yaroslav Zhydyk" userId="feca11449df7c5ed" providerId="LiveId" clId="{A66BF2D7-9676-49CA-8938-AE9F6FD557AE}" dt="2022-11-12T19:56:16.683" v="3254"/>
          <ac:graphicFrameMkLst>
            <pc:docMk/>
            <pc:sldMk cId="630007733" sldId="4011"/>
            <ac:graphicFrameMk id="2" creationId="{F225CB8F-3977-452F-62D9-967DFF0ED29F}"/>
          </ac:graphicFrameMkLst>
        </pc:graphicFrameChg>
      </pc:sldChg>
      <pc:sldChg chg="add del">
        <pc:chgData name="Yaroslav Zhydyk" userId="feca11449df7c5ed" providerId="LiveId" clId="{A66BF2D7-9676-49CA-8938-AE9F6FD557AE}" dt="2022-11-12T19:42:12.353" v="786" actId="47"/>
        <pc:sldMkLst>
          <pc:docMk/>
          <pc:sldMk cId="3540961600" sldId="4011"/>
        </pc:sldMkLst>
      </pc:sldChg>
      <pc:sldChg chg="new add del">
        <pc:chgData name="Yaroslav Zhydyk" userId="feca11449df7c5ed" providerId="LiveId" clId="{A66BF2D7-9676-49CA-8938-AE9F6FD557AE}" dt="2022-11-12T19:58:45.339" v="4256" actId="680"/>
        <pc:sldMkLst>
          <pc:docMk/>
          <pc:sldMk cId="689546930" sldId="4012"/>
        </pc:sldMkLst>
      </pc:sldChg>
      <pc:sldChg chg="add">
        <pc:chgData name="Yaroslav Zhydyk" userId="feca11449df7c5ed" providerId="LiveId" clId="{A66BF2D7-9676-49CA-8938-AE9F6FD557AE}" dt="2022-11-12T20:00:51.547" v="5643"/>
        <pc:sldMkLst>
          <pc:docMk/>
          <pc:sldMk cId="1325473777" sldId="4012"/>
        </pc:sldMkLst>
      </pc:sldChg>
      <pc:sldMasterChg chg="modSp mod addSldLayout modSldLayout">
        <pc:chgData name="Yaroslav Zhydyk" userId="feca11449df7c5ed" providerId="LiveId" clId="{A66BF2D7-9676-49CA-8938-AE9F6FD557AE}" dt="2022-11-12T19:58:46.251" v="4739"/>
        <pc:sldMasterMkLst>
          <pc:docMk/>
          <pc:sldMasterMk cId="1709005174" sldId="2147483663"/>
        </pc:sldMasterMkLst>
        <pc:graphicFrameChg chg="mod">
          <ac:chgData name="Yaroslav Zhydyk" userId="feca11449df7c5ed" providerId="LiveId" clId="{A66BF2D7-9676-49CA-8938-AE9F6FD557AE}" dt="2022-11-12T19:58:46.251" v="4739"/>
          <ac:graphicFrameMkLst>
            <pc:docMk/>
            <pc:sldMasterMk cId="1709005174" sldId="2147483663"/>
            <ac:graphicFrameMk id="7" creationId="{571FC2F1-1292-F928-E633-E5BBFA8A46D0}"/>
          </ac:graphicFrameMkLst>
        </pc:graphicFrameChg>
        <pc:sldLayoutChg chg="delSp modSp mod">
          <pc:chgData name="Yaroslav Zhydyk" userId="feca11449df7c5ed" providerId="LiveId" clId="{A66BF2D7-9676-49CA-8938-AE9F6FD557AE}" dt="2022-11-12T17:25:23.683" v="196" actId="478"/>
          <pc:sldLayoutMkLst>
            <pc:docMk/>
            <pc:sldMasterMk cId="1709005174" sldId="2147483663"/>
            <pc:sldLayoutMk cId="440258215" sldId="2147483677"/>
          </pc:sldLayoutMkLst>
          <pc:spChg chg="del">
            <ac:chgData name="Yaroslav Zhydyk" userId="feca11449df7c5ed" providerId="LiveId" clId="{A66BF2D7-9676-49CA-8938-AE9F6FD557AE}" dt="2022-11-12T17:25:23.683" v="196" actId="478"/>
            <ac:spMkLst>
              <pc:docMk/>
              <pc:sldMasterMk cId="1709005174" sldId="2147483663"/>
              <pc:sldLayoutMk cId="440258215" sldId="2147483677"/>
              <ac:spMk id="5" creationId="{1D5F5A92-A95B-409A-8034-43C7D87F3D23}"/>
            </ac:spMkLst>
          </pc:spChg>
        </pc:sldLayoutChg>
        <pc:sldLayoutChg chg="addSp delSp modSp mod">
          <pc:chgData name="Yaroslav Zhydyk" userId="feca11449df7c5ed" providerId="LiveId" clId="{A66BF2D7-9676-49CA-8938-AE9F6FD557AE}" dt="2022-11-12T17:37:07.559" v="427" actId="478"/>
          <pc:sldLayoutMkLst>
            <pc:docMk/>
            <pc:sldMasterMk cId="1709005174" sldId="2147483663"/>
            <pc:sldLayoutMk cId="958044621" sldId="2147483678"/>
          </pc:sldLayoutMkLst>
          <pc:spChg chg="add del">
            <ac:chgData name="Yaroslav Zhydyk" userId="feca11449df7c5ed" providerId="LiveId" clId="{A66BF2D7-9676-49CA-8938-AE9F6FD557AE}" dt="2022-11-12T17:37:07.559" v="427" actId="478"/>
            <ac:spMkLst>
              <pc:docMk/>
              <pc:sldMasterMk cId="1709005174" sldId="2147483663"/>
              <pc:sldLayoutMk cId="958044621" sldId="2147483678"/>
              <ac:spMk id="5" creationId="{1D5F5A92-A95B-409A-8034-43C7D87F3D23}"/>
            </ac:spMkLst>
          </pc:spChg>
        </pc:sldLayoutChg>
        <pc:sldLayoutChg chg="addSp delSp modSp add mod modTransition">
          <pc:chgData name="Yaroslav Zhydyk" userId="feca11449df7c5ed" providerId="LiveId" clId="{A66BF2D7-9676-49CA-8938-AE9F6FD557AE}" dt="2022-11-12T19:42:59.648" v="793" actId="14100"/>
          <pc:sldLayoutMkLst>
            <pc:docMk/>
            <pc:sldMasterMk cId="1709005174" sldId="2147483663"/>
            <pc:sldLayoutMk cId="620246102" sldId="2147483681"/>
          </pc:sldLayoutMkLst>
          <pc:spChg chg="add del">
            <ac:chgData name="Yaroslav Zhydyk" userId="feca11449df7c5ed" providerId="LiveId" clId="{A66BF2D7-9676-49CA-8938-AE9F6FD557AE}" dt="2022-11-12T19:42:52.952" v="790" actId="11529"/>
            <ac:spMkLst>
              <pc:docMk/>
              <pc:sldMasterMk cId="1709005174" sldId="2147483663"/>
              <pc:sldLayoutMk cId="620246102" sldId="2147483681"/>
              <ac:spMk id="2" creationId="{64B60077-78E5-31F8-38A6-6B9862D7ADF5}"/>
            </ac:spMkLst>
          </pc:spChg>
          <pc:spChg chg="add mod">
            <ac:chgData name="Yaroslav Zhydyk" userId="feca11449df7c5ed" providerId="LiveId" clId="{A66BF2D7-9676-49CA-8938-AE9F6FD557AE}" dt="2022-11-12T19:42:59.648" v="793" actId="14100"/>
            <ac:spMkLst>
              <pc:docMk/>
              <pc:sldMasterMk cId="1709005174" sldId="2147483663"/>
              <pc:sldLayoutMk cId="620246102" sldId="2147483681"/>
              <ac:spMk id="4" creationId="{FDCB200F-5C4A-B885-74DD-DA2D1500DEE0}"/>
            </ac:spMkLst>
          </pc:spChg>
        </pc:sldLayoutChg>
      </pc:sldMasterChg>
      <pc:sldMasterChg chg="addSp">
        <pc:chgData name="Yaroslav Zhydyk" userId="feca11449df7c5ed" providerId="LiveId" clId="{A66BF2D7-9676-49CA-8938-AE9F6FD557AE}" dt="2022-11-12T19:58:29.499" v="3293"/>
        <pc:sldMasterMkLst>
          <pc:docMk/>
          <pc:sldMasterMk cId="1233732408" sldId="2147483682"/>
        </pc:sldMasterMkLst>
        <pc:graphicFrameChg chg="add">
          <ac:chgData name="Yaroslav Zhydyk" userId="feca11449df7c5ed" providerId="LiveId" clId="{A66BF2D7-9676-49CA-8938-AE9F6FD557AE}" dt="2022-11-12T19:58:29.499" v="3293"/>
          <ac:graphicFrameMkLst>
            <pc:docMk/>
            <pc:sldMasterMk cId="1233732408" sldId="2147483682"/>
            <ac:graphicFrameMk id="8" creationId="{ADF6C8AE-AD6E-C39D-9E87-C8E6634BD00A}"/>
          </ac:graphicFrameMkLst>
        </pc:graphicFrameChg>
      </pc:sldMasterChg>
    </pc:docChg>
  </pc:docChgLst>
  <pc:docChgLst>
    <pc:chgData name="Yaroslav Zhydyk" userId="feca11449df7c5ed" providerId="LiveId" clId="{186FDB4A-D0D0-446A-9945-6468067BA58C}"/>
    <pc:docChg chg="undo custSel addSld modSld sldOrd modMainMaster replTag">
      <pc:chgData name="Yaroslav Zhydyk" userId="feca11449df7c5ed" providerId="LiveId" clId="{186FDB4A-D0D0-446A-9945-6468067BA58C}" dt="2022-10-29T14:24:47.840" v="1228" actId="408"/>
      <pc:docMkLst>
        <pc:docMk/>
      </pc:docMkLst>
      <pc:sldChg chg="addSp delSp modSp new add mod modClrScheme chgLayout">
        <pc:chgData name="Yaroslav Zhydyk" userId="feca11449df7c5ed" providerId="LiveId" clId="{186FDB4A-D0D0-446A-9945-6468067BA58C}" dt="2022-10-29T13:45:49.971" v="1165" actId="478"/>
        <pc:sldMkLst>
          <pc:docMk/>
          <pc:sldMk cId="3493935180" sldId="256"/>
        </pc:sldMkLst>
        <pc:spChg chg="del mod">
          <ac:chgData name="Yaroslav Zhydyk" userId="feca11449df7c5ed" providerId="LiveId" clId="{186FDB4A-D0D0-446A-9945-6468067BA58C}" dt="2022-10-29T10:41:54.484" v="77" actId="478"/>
          <ac:spMkLst>
            <pc:docMk/>
            <pc:sldMk cId="3493935180" sldId="256"/>
            <ac:spMk id="2" creationId="{41F9EE2C-F2ED-001D-75E5-AC67353D0F9D}"/>
          </ac:spMkLst>
        </pc:spChg>
        <pc:spChg chg="del mod">
          <ac:chgData name="Yaroslav Zhydyk" userId="feca11449df7c5ed" providerId="LiveId" clId="{186FDB4A-D0D0-446A-9945-6468067BA58C}" dt="2022-10-29T10:41:54.484" v="77" actId="478"/>
          <ac:spMkLst>
            <pc:docMk/>
            <pc:sldMk cId="3493935180" sldId="256"/>
            <ac:spMk id="3" creationId="{D05A5FD6-6539-815F-0A66-834A58A64635}"/>
          </ac:spMkLst>
        </pc:spChg>
        <pc:spChg chg="add mod ord">
          <ac:chgData name="Yaroslav Zhydyk" userId="feca11449df7c5ed" providerId="LiveId" clId="{186FDB4A-D0D0-446A-9945-6468067BA58C}" dt="2022-10-29T12:58:00.690" v="420"/>
          <ac:spMkLst>
            <pc:docMk/>
            <pc:sldMk cId="3493935180" sldId="256"/>
            <ac:spMk id="5" creationId="{805F823C-4B4D-4EC8-15D7-D1C57874B9C0}"/>
          </ac:spMkLst>
        </pc:spChg>
        <pc:spChg chg="add mod">
          <ac:chgData name="Yaroslav Zhydyk" userId="feca11449df7c5ed" providerId="LiveId" clId="{186FDB4A-D0D0-446A-9945-6468067BA58C}" dt="2022-10-29T12:58:00.690" v="420"/>
          <ac:spMkLst>
            <pc:docMk/>
            <pc:sldMk cId="3493935180" sldId="256"/>
            <ac:spMk id="6" creationId="{2530C375-BD99-821B-60A5-6BD7DE5BF829}"/>
          </ac:spMkLst>
        </pc:spChg>
        <pc:spChg chg="add mod">
          <ac:chgData name="Yaroslav Zhydyk" userId="feca11449df7c5ed" providerId="LiveId" clId="{186FDB4A-D0D0-446A-9945-6468067BA58C}" dt="2022-10-29T12:58:00.690" v="420"/>
          <ac:spMkLst>
            <pc:docMk/>
            <pc:sldMk cId="3493935180" sldId="256"/>
            <ac:spMk id="7" creationId="{D6506A5C-8CAE-8044-28B8-28BF7DD3ECF7}"/>
          </ac:spMkLst>
        </pc:spChg>
        <pc:spChg chg="add mod">
          <ac:chgData name="Yaroslav Zhydyk" userId="feca11449df7c5ed" providerId="LiveId" clId="{186FDB4A-D0D0-446A-9945-6468067BA58C}" dt="2022-10-29T12:58:00.690" v="420"/>
          <ac:spMkLst>
            <pc:docMk/>
            <pc:sldMk cId="3493935180" sldId="256"/>
            <ac:spMk id="8" creationId="{7E37A0FC-BEA4-801F-F62E-69D85F1C345E}"/>
          </ac:spMkLst>
        </pc:spChg>
        <pc:spChg chg="add del mod">
          <ac:chgData name="Yaroslav Zhydyk" userId="feca11449df7c5ed" providerId="LiveId" clId="{186FDB4A-D0D0-446A-9945-6468067BA58C}" dt="2022-10-29T13:45:12.241" v="1136" actId="21"/>
          <ac:spMkLst>
            <pc:docMk/>
            <pc:sldMk cId="3493935180" sldId="256"/>
            <ac:spMk id="11" creationId="{374E608F-4A32-BE9A-1A2C-9662490FBD16}"/>
          </ac:spMkLst>
        </pc:spChg>
        <pc:graphicFrameChg chg="add mod ord modVis replST">
          <ac:chgData name="Yaroslav Zhydyk" userId="feca11449df7c5ed" providerId="LiveId" clId="{186FDB4A-D0D0-446A-9945-6468067BA58C}" dt="2022-10-29T12:58:01.262" v="466"/>
          <ac:graphicFrameMkLst>
            <pc:docMk/>
            <pc:sldMk cId="3493935180" sldId="256"/>
            <ac:graphicFrameMk id="4" creationId="{A576AE79-652B-18A8-31D9-28C2BC3EA100}"/>
          </ac:graphicFrameMkLst>
        </pc:graphicFrameChg>
        <pc:picChg chg="add del mod">
          <ac:chgData name="Yaroslav Zhydyk" userId="feca11449df7c5ed" providerId="LiveId" clId="{186FDB4A-D0D0-446A-9945-6468067BA58C}" dt="2022-10-29T13:42:10.540" v="1079" actId="21"/>
          <ac:picMkLst>
            <pc:docMk/>
            <pc:sldMk cId="3493935180" sldId="256"/>
            <ac:picMk id="3" creationId="{1E319040-E3B3-FDB9-6446-9C00523EAB8D}"/>
          </ac:picMkLst>
        </pc:picChg>
        <pc:picChg chg="add del">
          <ac:chgData name="Yaroslav Zhydyk" userId="feca11449df7c5ed" providerId="LiveId" clId="{186FDB4A-D0D0-446A-9945-6468067BA58C}" dt="2022-10-29T13:45:49.971" v="1165" actId="478"/>
          <ac:picMkLst>
            <pc:docMk/>
            <pc:sldMk cId="3493935180" sldId="256"/>
            <ac:picMk id="10" creationId="{1481159F-4219-04A0-53EB-8D7C0454431B}"/>
          </ac:picMkLst>
        </pc:picChg>
      </pc:sldChg>
      <pc:sldChg chg="modSp new add mod">
        <pc:chgData name="Yaroslav Zhydyk" userId="feca11449df7c5ed" providerId="LiveId" clId="{186FDB4A-D0D0-446A-9945-6468067BA58C}" dt="2022-10-29T12:58:00.690" v="420"/>
        <pc:sldMkLst>
          <pc:docMk/>
          <pc:sldMk cId="2207511441" sldId="257"/>
        </pc:sldMkLst>
        <pc:spChg chg="mod">
          <ac:chgData name="Yaroslav Zhydyk" userId="feca11449df7c5ed" providerId="LiveId" clId="{186FDB4A-D0D0-446A-9945-6468067BA58C}" dt="2022-10-29T12:58:00.690" v="420"/>
          <ac:spMkLst>
            <pc:docMk/>
            <pc:sldMk cId="2207511441" sldId="257"/>
            <ac:spMk id="2" creationId="{68D5F1BF-947A-0F44-F59A-88E76FEA875F}"/>
          </ac:spMkLst>
        </pc:spChg>
      </pc:sldChg>
      <pc:sldChg chg="addSp delSp modSp add mod ord">
        <pc:chgData name="Yaroslav Zhydyk" userId="feca11449df7c5ed" providerId="LiveId" clId="{186FDB4A-D0D0-446A-9945-6468067BA58C}" dt="2022-10-29T14:24:47.840" v="1228" actId="408"/>
        <pc:sldMkLst>
          <pc:docMk/>
          <pc:sldMk cId="428792147" sldId="258"/>
        </pc:sldMkLst>
        <pc:spChg chg="mod ord">
          <ac:chgData name="Yaroslav Zhydyk" userId="feca11449df7c5ed" providerId="LiveId" clId="{186FDB4A-D0D0-446A-9945-6468067BA58C}" dt="2022-10-29T14:23:55.999" v="1205" actId="207"/>
          <ac:spMkLst>
            <pc:docMk/>
            <pc:sldMk cId="428792147" sldId="258"/>
            <ac:spMk id="2" creationId="{68D5F1BF-947A-0F44-F59A-88E76FEA875F}"/>
          </ac:spMkLst>
        </pc:spChg>
        <pc:spChg chg="add del mod ord">
          <ac:chgData name="Yaroslav Zhydyk" userId="feca11449df7c5ed" providerId="LiveId" clId="{186FDB4A-D0D0-446A-9945-6468067BA58C}" dt="2022-10-29T14:23:51.720" v="1204" actId="478"/>
          <ac:spMkLst>
            <pc:docMk/>
            <pc:sldMk cId="428792147" sldId="258"/>
            <ac:spMk id="3" creationId="{8B346919-DAEE-F7EC-2BF0-7EB1A174D69C}"/>
          </ac:spMkLst>
        </pc:spChg>
        <pc:spChg chg="add mod">
          <ac:chgData name="Yaroslav Zhydyk" userId="feca11449df7c5ed" providerId="LiveId" clId="{186FDB4A-D0D0-446A-9945-6468067BA58C}" dt="2022-10-29T14:24:27.288" v="1220" actId="2711"/>
          <ac:spMkLst>
            <pc:docMk/>
            <pc:sldMk cId="428792147" sldId="258"/>
            <ac:spMk id="5" creationId="{D366CD11-E393-D3E5-DB17-3B9C346CEB77}"/>
          </ac:spMkLst>
        </pc:spChg>
        <pc:spChg chg="add mod">
          <ac:chgData name="Yaroslav Zhydyk" userId="feca11449df7c5ed" providerId="LiveId" clId="{186FDB4A-D0D0-446A-9945-6468067BA58C}" dt="2022-10-29T14:24:38.645" v="1225" actId="1076"/>
          <ac:spMkLst>
            <pc:docMk/>
            <pc:sldMk cId="428792147" sldId="258"/>
            <ac:spMk id="6" creationId="{DFAB1005-8D50-AF29-16E8-FA7B6ACCE6E2}"/>
          </ac:spMkLst>
        </pc:spChg>
        <pc:spChg chg="add mod">
          <ac:chgData name="Yaroslav Zhydyk" userId="feca11449df7c5ed" providerId="LiveId" clId="{186FDB4A-D0D0-446A-9945-6468067BA58C}" dt="2022-10-29T14:24:47.840" v="1228" actId="408"/>
          <ac:spMkLst>
            <pc:docMk/>
            <pc:sldMk cId="428792147" sldId="258"/>
            <ac:spMk id="7" creationId="{5AFFE72B-B4B5-0580-154F-C04392A07F3D}"/>
          </ac:spMkLst>
        </pc:spChg>
        <pc:spChg chg="add mod">
          <ac:chgData name="Yaroslav Zhydyk" userId="feca11449df7c5ed" providerId="LiveId" clId="{186FDB4A-D0D0-446A-9945-6468067BA58C}" dt="2022-10-29T14:24:47.840" v="1228" actId="408"/>
          <ac:spMkLst>
            <pc:docMk/>
            <pc:sldMk cId="428792147" sldId="258"/>
            <ac:spMk id="8" creationId="{027883F0-7EAA-0455-D502-C3339D5F9FA5}"/>
          </ac:spMkLst>
        </pc:spChg>
        <pc:graphicFrameChg chg="add mod ord modVis replST">
          <ac:chgData name="Yaroslav Zhydyk" userId="feca11449df7c5ed" providerId="LiveId" clId="{186FDB4A-D0D0-446A-9945-6468067BA58C}" dt="2022-10-29T14:23:32.785" v="1194"/>
          <ac:graphicFrameMkLst>
            <pc:docMk/>
            <pc:sldMk cId="428792147" sldId="258"/>
            <ac:graphicFrameMk id="4" creationId="{1B3E4F37-698F-423B-B473-5D927AB99B2E}"/>
          </ac:graphicFrameMkLst>
        </pc:graphicFrameChg>
      </pc:sldChg>
      <pc:sldMasterChg chg="modSp modSldLayout">
        <pc:chgData name="Yaroslav Zhydyk" userId="feca11449df7c5ed" providerId="LiveId" clId="{186FDB4A-D0D0-446A-9945-6468067BA58C}" dt="2022-10-29T10:41:51.829" v="2"/>
        <pc:sldMasterMkLst>
          <pc:docMk/>
          <pc:sldMasterMk cId="3795624097" sldId="2147483648"/>
        </pc:sldMasterMkLst>
        <pc:spChg chg="mod">
          <ac:chgData name="Yaroslav Zhydyk" userId="feca11449df7c5ed" providerId="LiveId" clId="{186FDB4A-D0D0-446A-9945-6468067BA58C}" dt="2022-10-29T10:41:51.829" v="2"/>
          <ac:spMkLst>
            <pc:docMk/>
            <pc:sldMasterMk cId="3795624097" sldId="2147483648"/>
            <ac:spMk id="2" creationId="{EB7F4A28-C3F8-7BA6-0AAD-EC4CBFE57046}"/>
          </ac:spMkLst>
        </pc:spChg>
        <pc:spChg chg="mod">
          <ac:chgData name="Yaroslav Zhydyk" userId="feca11449df7c5ed" providerId="LiveId" clId="{186FDB4A-D0D0-446A-9945-6468067BA58C}" dt="2022-10-29T10:41:51.829" v="2"/>
          <ac:spMkLst>
            <pc:docMk/>
            <pc:sldMasterMk cId="3795624097" sldId="2147483648"/>
            <ac:spMk id="3" creationId="{F0F4E320-C360-C960-3537-F3D0024E5DC4}"/>
          </ac:spMkLst>
        </pc:spChg>
        <pc:spChg chg="mod">
          <ac:chgData name="Yaroslav Zhydyk" userId="feca11449df7c5ed" providerId="LiveId" clId="{186FDB4A-D0D0-446A-9945-6468067BA58C}" dt="2022-10-29T10:41:51.829" v="2"/>
          <ac:spMkLst>
            <pc:docMk/>
            <pc:sldMasterMk cId="3795624097" sldId="2147483648"/>
            <ac:spMk id="4" creationId="{A3532357-DEFA-43C3-CB9D-BBD282C4AB30}"/>
          </ac:spMkLst>
        </pc:spChg>
        <pc:spChg chg="mod">
          <ac:chgData name="Yaroslav Zhydyk" userId="feca11449df7c5ed" providerId="LiveId" clId="{186FDB4A-D0D0-446A-9945-6468067BA58C}" dt="2022-10-29T10:41:51.829" v="2"/>
          <ac:spMkLst>
            <pc:docMk/>
            <pc:sldMasterMk cId="3795624097" sldId="2147483648"/>
            <ac:spMk id="5" creationId="{CEECD19E-5B8F-6B14-830A-A4AC28FF0090}"/>
          </ac:spMkLst>
        </pc:spChg>
        <pc:spChg chg="mod">
          <ac:chgData name="Yaroslav Zhydyk" userId="feca11449df7c5ed" providerId="LiveId" clId="{186FDB4A-D0D0-446A-9945-6468067BA58C}" dt="2022-10-29T10:41:51.829" v="2"/>
          <ac:spMkLst>
            <pc:docMk/>
            <pc:sldMasterMk cId="3795624097" sldId="2147483648"/>
            <ac:spMk id="6" creationId="{C6178E6B-C0FE-D978-E6A7-492E4A134F1F}"/>
          </ac:spMkLst>
        </pc:spChg>
        <pc:sldLayoutChg chg="modSp">
          <pc:chgData name="Yaroslav Zhydyk" userId="feca11449df7c5ed" providerId="LiveId" clId="{186FDB4A-D0D0-446A-9945-6468067BA58C}" dt="2022-10-29T10:41:51.829" v="2"/>
          <pc:sldLayoutMkLst>
            <pc:docMk/>
            <pc:sldMasterMk cId="3795624097" sldId="2147483648"/>
            <pc:sldLayoutMk cId="1664675532" sldId="2147483649"/>
          </pc:sldLayoutMkLst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664675532" sldId="2147483649"/>
              <ac:spMk id="2" creationId="{25A43727-98C4-2194-E862-01B7FC578864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664675532" sldId="2147483649"/>
              <ac:spMk id="3" creationId="{ABAD685F-33C3-60A4-C5E0-FF2CD8E38D20}"/>
            </ac:spMkLst>
          </pc:spChg>
        </pc:sldLayoutChg>
        <pc:sldLayoutChg chg="modSp">
          <pc:chgData name="Yaroslav Zhydyk" userId="feca11449df7c5ed" providerId="LiveId" clId="{186FDB4A-D0D0-446A-9945-6468067BA58C}" dt="2022-10-29T10:41:51.829" v="2"/>
          <pc:sldLayoutMkLst>
            <pc:docMk/>
            <pc:sldMasterMk cId="3795624097" sldId="2147483648"/>
            <pc:sldLayoutMk cId="698038997" sldId="2147483651"/>
          </pc:sldLayoutMkLst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698038997" sldId="2147483651"/>
              <ac:spMk id="2" creationId="{46AC5A00-C259-761F-3797-2AB1E739A5DE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698038997" sldId="2147483651"/>
              <ac:spMk id="3" creationId="{2499BDD0-E535-D395-E6DB-CDD9BFC76B8E}"/>
            </ac:spMkLst>
          </pc:spChg>
        </pc:sldLayoutChg>
        <pc:sldLayoutChg chg="modSp">
          <pc:chgData name="Yaroslav Zhydyk" userId="feca11449df7c5ed" providerId="LiveId" clId="{186FDB4A-D0D0-446A-9945-6468067BA58C}" dt="2022-10-29T10:41:51.829" v="2"/>
          <pc:sldLayoutMkLst>
            <pc:docMk/>
            <pc:sldMasterMk cId="3795624097" sldId="2147483648"/>
            <pc:sldLayoutMk cId="3461048897" sldId="2147483652"/>
          </pc:sldLayoutMkLst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3461048897" sldId="2147483652"/>
              <ac:spMk id="3" creationId="{24D2B029-6E9A-0EB1-645F-1FCE725354E9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3461048897" sldId="2147483652"/>
              <ac:spMk id="4" creationId="{7F7ECFF9-2982-9C7A-EA33-8CED6F29E74C}"/>
            </ac:spMkLst>
          </pc:spChg>
        </pc:sldLayoutChg>
        <pc:sldLayoutChg chg="modSp">
          <pc:chgData name="Yaroslav Zhydyk" userId="feca11449df7c5ed" providerId="LiveId" clId="{186FDB4A-D0D0-446A-9945-6468067BA58C}" dt="2022-10-29T10:41:51.829" v="2"/>
          <pc:sldLayoutMkLst>
            <pc:docMk/>
            <pc:sldMasterMk cId="3795624097" sldId="2147483648"/>
            <pc:sldLayoutMk cId="115164135" sldId="2147483653"/>
          </pc:sldLayoutMkLst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15164135" sldId="2147483653"/>
              <ac:spMk id="2" creationId="{CD87CB2C-BAF0-9A06-2C8D-4742BC5FD251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15164135" sldId="2147483653"/>
              <ac:spMk id="3" creationId="{5580C134-20CC-ECB6-69DD-1888F8643F82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15164135" sldId="2147483653"/>
              <ac:spMk id="4" creationId="{5D16D0F3-8DFF-F2E3-59F8-F35AB4BB6FCC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15164135" sldId="2147483653"/>
              <ac:spMk id="5" creationId="{BF80E65E-9F21-0994-103E-CB0E769C572B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15164135" sldId="2147483653"/>
              <ac:spMk id="6" creationId="{5BEAF1C2-376B-1AEB-5202-6A95820C15F4}"/>
            </ac:spMkLst>
          </pc:spChg>
        </pc:sldLayoutChg>
        <pc:sldLayoutChg chg="modSp">
          <pc:chgData name="Yaroslav Zhydyk" userId="feca11449df7c5ed" providerId="LiveId" clId="{186FDB4A-D0D0-446A-9945-6468067BA58C}" dt="2022-10-29T10:41:51.829" v="2"/>
          <pc:sldLayoutMkLst>
            <pc:docMk/>
            <pc:sldMasterMk cId="3795624097" sldId="2147483648"/>
            <pc:sldLayoutMk cId="139042274" sldId="2147483656"/>
          </pc:sldLayoutMkLst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39042274" sldId="2147483656"/>
              <ac:spMk id="2" creationId="{3F6AA4A3-6895-48CE-D4E9-3C430BA73533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39042274" sldId="2147483656"/>
              <ac:spMk id="3" creationId="{A6D5605A-44AC-8A70-5960-9F18BF2B9556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39042274" sldId="2147483656"/>
              <ac:spMk id="4" creationId="{6BEA10A0-8205-4094-6362-2EEDD8376341}"/>
            </ac:spMkLst>
          </pc:spChg>
        </pc:sldLayoutChg>
        <pc:sldLayoutChg chg="modSp">
          <pc:chgData name="Yaroslav Zhydyk" userId="feca11449df7c5ed" providerId="LiveId" clId="{186FDB4A-D0D0-446A-9945-6468067BA58C}" dt="2022-10-29T10:41:51.829" v="2"/>
          <pc:sldLayoutMkLst>
            <pc:docMk/>
            <pc:sldMasterMk cId="3795624097" sldId="2147483648"/>
            <pc:sldLayoutMk cId="2051874453" sldId="2147483657"/>
          </pc:sldLayoutMkLst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2051874453" sldId="2147483657"/>
              <ac:spMk id="2" creationId="{5A288DEF-EB17-246D-EE37-B86099209F7D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2051874453" sldId="2147483657"/>
              <ac:spMk id="3" creationId="{60BE2164-4F49-5539-00F5-33C302BA4588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2051874453" sldId="2147483657"/>
              <ac:spMk id="4" creationId="{FEC75D08-24F3-B33F-15C9-902A470D8D34}"/>
            </ac:spMkLst>
          </pc:spChg>
        </pc:sldLayoutChg>
        <pc:sldLayoutChg chg="modSp">
          <pc:chgData name="Yaroslav Zhydyk" userId="feca11449df7c5ed" providerId="LiveId" clId="{186FDB4A-D0D0-446A-9945-6468067BA58C}" dt="2022-10-29T10:41:51.829" v="2"/>
          <pc:sldLayoutMkLst>
            <pc:docMk/>
            <pc:sldMasterMk cId="3795624097" sldId="2147483648"/>
            <pc:sldLayoutMk cId="2452645975" sldId="2147483659"/>
          </pc:sldLayoutMkLst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2452645975" sldId="2147483659"/>
              <ac:spMk id="2" creationId="{4BA0C6F9-4475-8900-3BA3-2C499FD959A2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2452645975" sldId="2147483659"/>
              <ac:spMk id="3" creationId="{6884DD03-3035-D9C8-EF1F-E67290FBB022}"/>
            </ac:spMkLst>
          </pc:spChg>
        </pc:sldLayoutChg>
      </pc:sldMasterChg>
      <pc:sldMasterChg chg="addSp delSp modSp mod addSldLayout delSldLayout modSldLayout">
        <pc:chgData name="Yaroslav Zhydyk" userId="feca11449df7c5ed" providerId="LiveId" clId="{186FDB4A-D0D0-446A-9945-6468067BA58C}" dt="2022-10-29T12:58:00.690" v="420"/>
        <pc:sldMasterMkLst>
          <pc:docMk/>
          <pc:sldMasterMk cId="3463494952" sldId="2147483660"/>
        </pc:sldMasterMkLst>
        <pc:spChg chg="mod">
          <ac:chgData name="Yaroslav Zhydyk" userId="feca11449df7c5ed" providerId="LiveId" clId="{186FDB4A-D0D0-446A-9945-6468067BA58C}" dt="2022-10-29T12:58:00.690" v="420"/>
          <ac:spMkLst>
            <pc:docMk/>
            <pc:sldMasterMk cId="3463494952" sldId="2147483660"/>
            <ac:spMk id="2" creationId="{00000000-0000-0000-0000-000000000000}"/>
          </ac:spMkLst>
        </pc:spChg>
        <pc:spChg chg="mod">
          <ac:chgData name="Yaroslav Zhydyk" userId="feca11449df7c5ed" providerId="LiveId" clId="{186FDB4A-D0D0-446A-9945-6468067BA58C}" dt="2022-10-29T12:58:00.690" v="420"/>
          <ac:spMkLst>
            <pc:docMk/>
            <pc:sldMasterMk cId="3463494952" sldId="2147483660"/>
            <ac:spMk id="3" creationId="{00000000-0000-0000-0000-000000000000}"/>
          </ac:spMkLst>
        </pc:spChg>
        <pc:spChg chg="mod">
          <ac:chgData name="Yaroslav Zhydyk" userId="feca11449df7c5ed" providerId="LiveId" clId="{186FDB4A-D0D0-446A-9945-6468067BA58C}" dt="2022-10-29T12:58:00.690" v="420"/>
          <ac:spMkLst>
            <pc:docMk/>
            <pc:sldMasterMk cId="3463494952" sldId="2147483660"/>
            <ac:spMk id="4" creationId="{00000000-0000-0000-0000-000000000000}"/>
          </ac:spMkLst>
        </pc:spChg>
        <pc:spChg chg="mod">
          <ac:chgData name="Yaroslav Zhydyk" userId="feca11449df7c5ed" providerId="LiveId" clId="{186FDB4A-D0D0-446A-9945-6468067BA58C}" dt="2022-10-29T12:58:00.690" v="420"/>
          <ac:spMkLst>
            <pc:docMk/>
            <pc:sldMasterMk cId="3463494952" sldId="2147483660"/>
            <ac:spMk id="5" creationId="{00000000-0000-0000-0000-000000000000}"/>
          </ac:spMkLst>
        </pc:spChg>
        <pc:spChg chg="mod">
          <ac:chgData name="Yaroslav Zhydyk" userId="feca11449df7c5ed" providerId="LiveId" clId="{186FDB4A-D0D0-446A-9945-6468067BA58C}" dt="2022-10-29T12:58:00.690" v="420"/>
          <ac:spMkLst>
            <pc:docMk/>
            <pc:sldMasterMk cId="3463494952" sldId="2147483660"/>
            <ac:spMk id="6" creationId="{00000000-0000-0000-0000-000000000000}"/>
          </ac:spMkLst>
        </pc:spChg>
        <pc:spChg chg="add del mod modVis">
          <ac:chgData name="Yaroslav Zhydyk" userId="feca11449df7c5ed" providerId="LiveId" clId="{186FDB4A-D0D0-446A-9945-6468067BA58C}" dt="2022-10-29T10:41:52.528" v="60"/>
          <ac:spMkLst>
            <pc:docMk/>
            <pc:sldMasterMk cId="3463494952" sldId="2147483660"/>
            <ac:spMk id="7" creationId="{46820A18-6A29-061F-C96F-0F1B4E866C50}"/>
          </ac:spMkLst>
        </pc:spChg>
        <pc:spChg chg="add del mod modVis">
          <ac:chgData name="Yaroslav Zhydyk" userId="feca11449df7c5ed" providerId="LiveId" clId="{186FDB4A-D0D0-446A-9945-6468067BA58C}" dt="2022-10-29T10:43:55.441" v="169"/>
          <ac:spMkLst>
            <pc:docMk/>
            <pc:sldMasterMk cId="3463494952" sldId="2147483660"/>
            <ac:spMk id="9" creationId="{9173D314-72BC-57BF-8577-622CACCFCF4F}"/>
          </ac:spMkLst>
        </pc:spChg>
        <pc:graphicFrameChg chg="add mod ord modVis replST">
          <ac:chgData name="Yaroslav Zhydyk" userId="feca11449df7c5ed" providerId="LiveId" clId="{186FDB4A-D0D0-446A-9945-6468067BA58C}" dt="2022-10-29T12:58:00.690" v="420"/>
          <ac:graphicFrameMkLst>
            <pc:docMk/>
            <pc:sldMasterMk cId="3463494952" sldId="2147483660"/>
            <ac:graphicFrameMk id="8" creationId="{5A62EAB4-D8CB-5A38-1441-CB67CADBF86E}"/>
          </ac:graphicFrameMkLst>
        </pc:graphicFrameChg>
        <pc:sldLayoutChg chg="addSp delSp modSp mod">
          <pc:chgData name="Yaroslav Zhydyk" userId="feca11449df7c5ed" providerId="LiveId" clId="{186FDB4A-D0D0-446A-9945-6468067BA58C}" dt="2022-10-29T12:58:00.690" v="420"/>
          <pc:sldLayoutMkLst>
            <pc:docMk/>
            <pc:sldMasterMk cId="3463494952" sldId="2147483660"/>
            <pc:sldLayoutMk cId="953478930" sldId="2147483661"/>
          </pc:sldLayoutMkLst>
          <pc:spChg chg="del">
            <ac:chgData name="Yaroslav Zhydyk" userId="feca11449df7c5ed" providerId="LiveId" clId="{186FDB4A-D0D0-446A-9945-6468067BA58C}" dt="2022-10-29T10:42:45.917" v="103" actId="478"/>
            <ac:spMkLst>
              <pc:docMk/>
              <pc:sldMasterMk cId="3463494952" sldId="2147483660"/>
              <pc:sldLayoutMk cId="953478930" sldId="2147483661"/>
              <ac:spMk id="2" creationId="{00000000-0000-0000-0000-000000000000}"/>
            </ac:spMkLst>
          </pc:spChg>
          <pc:spChg chg="del">
            <ac:chgData name="Yaroslav Zhydyk" userId="feca11449df7c5ed" providerId="LiveId" clId="{186FDB4A-D0D0-446A-9945-6468067BA58C}" dt="2022-10-29T10:42:45.917" v="103" actId="478"/>
            <ac:spMkLst>
              <pc:docMk/>
              <pc:sldMasterMk cId="3463494952" sldId="2147483660"/>
              <pc:sldLayoutMk cId="953478930" sldId="2147483661"/>
              <ac:spMk id="3" creationId="{00000000-0000-0000-0000-000000000000}"/>
            </ac:spMkLst>
          </pc:spChg>
          <pc:spChg chg="del">
            <ac:chgData name="Yaroslav Zhydyk" userId="feca11449df7c5ed" providerId="LiveId" clId="{186FDB4A-D0D0-446A-9945-6468067BA58C}" dt="2022-10-29T10:42:45.917" v="103" actId="478"/>
            <ac:spMkLst>
              <pc:docMk/>
              <pc:sldMasterMk cId="3463494952" sldId="2147483660"/>
              <pc:sldLayoutMk cId="953478930" sldId="2147483661"/>
              <ac:spMk id="4" creationId="{00000000-0000-0000-0000-000000000000}"/>
            </ac:spMkLst>
          </pc:spChg>
          <pc:spChg chg="del">
            <ac:chgData name="Yaroslav Zhydyk" userId="feca11449df7c5ed" providerId="LiveId" clId="{186FDB4A-D0D0-446A-9945-6468067BA58C}" dt="2022-10-29T10:42:45.917" v="103" actId="478"/>
            <ac:spMkLst>
              <pc:docMk/>
              <pc:sldMasterMk cId="3463494952" sldId="2147483660"/>
              <pc:sldLayoutMk cId="953478930" sldId="2147483661"/>
              <ac:spMk id="5" creationId="{00000000-0000-0000-0000-000000000000}"/>
            </ac:spMkLst>
          </pc:spChg>
          <pc:spChg chg="del">
            <ac:chgData name="Yaroslav Zhydyk" userId="feca11449df7c5ed" providerId="LiveId" clId="{186FDB4A-D0D0-446A-9945-6468067BA58C}" dt="2022-10-29T10:42:45.917" v="103" actId="478"/>
            <ac:spMkLst>
              <pc:docMk/>
              <pc:sldMasterMk cId="3463494952" sldId="2147483660"/>
              <pc:sldLayoutMk cId="953478930" sldId="2147483661"/>
              <ac:spMk id="6" creationId="{00000000-0000-0000-0000-000000000000}"/>
            </ac:spMkLst>
          </pc:spChg>
          <pc:spChg chg="add del">
            <ac:chgData name="Yaroslav Zhydyk" userId="feca11449df7c5ed" providerId="LiveId" clId="{186FDB4A-D0D0-446A-9945-6468067BA58C}" dt="2022-10-29T10:43:29.638" v="125" actId="11529"/>
            <ac:spMkLst>
              <pc:docMk/>
              <pc:sldMasterMk cId="3463494952" sldId="2147483660"/>
              <pc:sldLayoutMk cId="953478930" sldId="2147483661"/>
              <ac:spMk id="8" creationId="{B746244C-38DC-6B5F-95D7-AEC64767881F}"/>
            </ac:spMkLst>
          </pc:spChg>
          <pc:spChg chg="add mod">
            <ac:chgData name="Yaroslav Zhydyk" userId="feca11449df7c5ed" providerId="LiveId" clId="{186FDB4A-D0D0-446A-9945-6468067BA58C}" dt="2022-10-29T12:58:00.690" v="420"/>
            <ac:spMkLst>
              <pc:docMk/>
              <pc:sldMasterMk cId="3463494952" sldId="2147483660"/>
              <pc:sldLayoutMk cId="953478930" sldId="2147483661"/>
              <ac:spMk id="9" creationId="{F8B3AA32-AEC3-491C-164F-DE89B0FDC30B}"/>
            </ac:spMkLst>
          </pc:spChg>
          <pc:graphicFrameChg chg="add mod modVis replST">
            <ac:chgData name="Yaroslav Zhydyk" userId="feca11449df7c5ed" providerId="LiveId" clId="{186FDB4A-D0D0-446A-9945-6468067BA58C}" dt="2022-10-29T12:58:00.690" v="420"/>
            <ac:graphicFrameMkLst>
              <pc:docMk/>
              <pc:sldMasterMk cId="3463494952" sldId="2147483660"/>
              <pc:sldLayoutMk cId="953478930" sldId="2147483661"/>
              <ac:graphicFrameMk id="7" creationId="{43D7CE9C-21BD-5C8E-A9FE-87992F5FAB4B}"/>
            </ac:graphicFrameMkLst>
          </pc:graphicFrameChg>
        </pc:sldLayoutChg>
        <pc:sldLayoutChg chg="modSp add mod modTransition">
          <pc:chgData name="Yaroslav Zhydyk" userId="feca11449df7c5ed" providerId="LiveId" clId="{186FDB4A-D0D0-446A-9945-6468067BA58C}" dt="2022-10-29T12:58:00.690" v="420"/>
          <pc:sldLayoutMkLst>
            <pc:docMk/>
            <pc:sldMasterMk cId="3463494952" sldId="2147483660"/>
            <pc:sldLayoutMk cId="392322286" sldId="2147483662"/>
          </pc:sldLayoutMkLst>
          <pc:spChg chg="mod">
            <ac:chgData name="Yaroslav Zhydyk" userId="feca11449df7c5ed" providerId="LiveId" clId="{186FDB4A-D0D0-446A-9945-6468067BA58C}" dt="2022-10-29T12:58:00.690" v="420"/>
            <ac:spMkLst>
              <pc:docMk/>
              <pc:sldMasterMk cId="3463494952" sldId="2147483660"/>
              <pc:sldLayoutMk cId="392322286" sldId="2147483662"/>
              <ac:spMk id="9" creationId="{F8B3AA32-AEC3-491C-164F-DE89B0FDC30B}"/>
            </ac:spMkLst>
          </pc:spChg>
          <pc:graphicFrameChg chg="mod">
            <ac:chgData name="Yaroslav Zhydyk" userId="feca11449df7c5ed" providerId="LiveId" clId="{186FDB4A-D0D0-446A-9945-6468067BA58C}" dt="2022-10-29T12:58:00.690" v="420"/>
            <ac:graphicFrameMkLst>
              <pc:docMk/>
              <pc:sldMasterMk cId="3463494952" sldId="2147483660"/>
              <pc:sldLayoutMk cId="392322286" sldId="2147483662"/>
              <ac:graphicFrameMk id="7" creationId="{43D7CE9C-21BD-5C8E-A9FE-87992F5FAB4B}"/>
            </ac:graphicFrameMkLst>
          </pc:graphicFrameChg>
        </pc:sldLayoutChg>
        <pc:sldLayoutChg chg="modSp del">
          <pc:chgData name="Yaroslav Zhydyk" userId="feca11449df7c5ed" providerId="LiveId" clId="{186FDB4A-D0D0-446A-9945-6468067BA58C}" dt="2022-10-29T10:42:08.822" v="84" actId="2696"/>
          <pc:sldLayoutMkLst>
            <pc:docMk/>
            <pc:sldMasterMk cId="3463494952" sldId="2147483660"/>
            <pc:sldLayoutMk cId="4279675931" sldId="2147483662"/>
          </pc:sldLayoutMkLst>
        </pc:sldLayoutChg>
        <pc:sldLayoutChg chg="modSp del">
          <pc:chgData name="Yaroslav Zhydyk" userId="feca11449df7c5ed" providerId="LiveId" clId="{186FDB4A-D0D0-446A-9945-6468067BA58C}" dt="2022-10-29T10:42:09.154" v="86" actId="2696"/>
          <pc:sldLayoutMkLst>
            <pc:docMk/>
            <pc:sldMasterMk cId="3463494952" sldId="2147483660"/>
            <pc:sldLayoutMk cId="443708802" sldId="2147483663"/>
          </pc:sldLayoutMkLst>
        </pc:sldLayoutChg>
        <pc:sldLayoutChg chg="modSp del">
          <pc:chgData name="Yaroslav Zhydyk" userId="feca11449df7c5ed" providerId="LiveId" clId="{186FDB4A-D0D0-446A-9945-6468067BA58C}" dt="2022-10-29T10:42:09.523" v="88" actId="2696"/>
          <pc:sldLayoutMkLst>
            <pc:docMk/>
            <pc:sldMasterMk cId="3463494952" sldId="2147483660"/>
            <pc:sldLayoutMk cId="3031831387" sldId="2147483664"/>
          </pc:sldLayoutMkLst>
        </pc:sldLayoutChg>
        <pc:sldLayoutChg chg="modSp del">
          <pc:chgData name="Yaroslav Zhydyk" userId="feca11449df7c5ed" providerId="LiveId" clId="{186FDB4A-D0D0-446A-9945-6468067BA58C}" dt="2022-10-29T10:42:09.855" v="90" actId="2696"/>
          <pc:sldLayoutMkLst>
            <pc:docMk/>
            <pc:sldMasterMk cId="3463494952" sldId="2147483660"/>
            <pc:sldLayoutMk cId="3039250677" sldId="2147483665"/>
          </pc:sldLayoutMkLst>
        </pc:sldLayoutChg>
        <pc:sldLayoutChg chg="modSp del">
          <pc:chgData name="Yaroslav Zhydyk" userId="feca11449df7c5ed" providerId="LiveId" clId="{186FDB4A-D0D0-446A-9945-6468067BA58C}" dt="2022-10-29T10:42:10.205" v="92" actId="2696"/>
          <pc:sldLayoutMkLst>
            <pc:docMk/>
            <pc:sldMasterMk cId="3463494952" sldId="2147483660"/>
            <pc:sldLayoutMk cId="961075186" sldId="2147483666"/>
          </pc:sldLayoutMkLst>
        </pc:sldLayoutChg>
        <pc:sldLayoutChg chg="modSp del">
          <pc:chgData name="Yaroslav Zhydyk" userId="feca11449df7c5ed" providerId="LiveId" clId="{186FDB4A-D0D0-446A-9945-6468067BA58C}" dt="2022-10-29T10:42:10.556" v="94" actId="2696"/>
          <pc:sldLayoutMkLst>
            <pc:docMk/>
            <pc:sldMasterMk cId="3463494952" sldId="2147483660"/>
            <pc:sldLayoutMk cId="3772621187" sldId="2147483667"/>
          </pc:sldLayoutMkLst>
        </pc:sldLayoutChg>
        <pc:sldLayoutChg chg="modSp del">
          <pc:chgData name="Yaroslav Zhydyk" userId="feca11449df7c5ed" providerId="LiveId" clId="{186FDB4A-D0D0-446A-9945-6468067BA58C}" dt="2022-10-29T10:42:10.973" v="96" actId="2696"/>
          <pc:sldLayoutMkLst>
            <pc:docMk/>
            <pc:sldMasterMk cId="3463494952" sldId="2147483660"/>
            <pc:sldLayoutMk cId="707943317" sldId="2147483668"/>
          </pc:sldLayoutMkLst>
        </pc:sldLayoutChg>
        <pc:sldLayoutChg chg="modSp del">
          <pc:chgData name="Yaroslav Zhydyk" userId="feca11449df7c5ed" providerId="LiveId" clId="{186FDB4A-D0D0-446A-9945-6468067BA58C}" dt="2022-10-29T10:42:11.237" v="98" actId="2696"/>
          <pc:sldLayoutMkLst>
            <pc:docMk/>
            <pc:sldMasterMk cId="3463494952" sldId="2147483660"/>
            <pc:sldLayoutMk cId="633934013" sldId="2147483669"/>
          </pc:sldLayoutMkLst>
        </pc:sldLayoutChg>
        <pc:sldLayoutChg chg="modSp del">
          <pc:chgData name="Yaroslav Zhydyk" userId="feca11449df7c5ed" providerId="LiveId" clId="{186FDB4A-D0D0-446A-9945-6468067BA58C}" dt="2022-10-29T10:42:11.687" v="100" actId="2696"/>
          <pc:sldLayoutMkLst>
            <pc:docMk/>
            <pc:sldMasterMk cId="3463494952" sldId="2147483660"/>
            <pc:sldLayoutMk cId="2137727618" sldId="2147483670"/>
          </pc:sldLayoutMkLst>
        </pc:sldLayoutChg>
        <pc:sldLayoutChg chg="modSp del">
          <pc:chgData name="Yaroslav Zhydyk" userId="feca11449df7c5ed" providerId="LiveId" clId="{186FDB4A-D0D0-446A-9945-6468067BA58C}" dt="2022-10-29T10:42:12.104" v="102" actId="2696"/>
          <pc:sldLayoutMkLst>
            <pc:docMk/>
            <pc:sldMasterMk cId="3463494952" sldId="2147483660"/>
            <pc:sldLayoutMk cId="2142407464" sldId="2147483671"/>
          </pc:sldLayoutMkLst>
        </pc:sldLayoutChg>
      </pc:sldMasterChg>
      <pc:sldMasterChg chg="addSp delSp modSp mod delSldLayout modSldLayout">
        <pc:chgData name="Yaroslav Zhydyk" userId="feca11449df7c5ed" providerId="LiveId" clId="{186FDB4A-D0D0-446A-9945-6468067BA58C}" dt="2022-10-29T13:45:44.006" v="1164"/>
        <pc:sldMasterMkLst>
          <pc:docMk/>
          <pc:sldMasterMk cId="1709005174" sldId="2147483663"/>
        </pc:sldMasterMkLst>
        <pc:spChg chg="mod">
          <ac:chgData name="Yaroslav Zhydyk" userId="feca11449df7c5ed" providerId="LiveId" clId="{186FDB4A-D0D0-446A-9945-6468067BA58C}" dt="2022-10-29T12:58:18.809" v="848" actId="948"/>
          <ac:spMkLst>
            <pc:docMk/>
            <pc:sldMasterMk cId="1709005174" sldId="2147483663"/>
            <ac:spMk id="2" creationId="{00000000-0000-0000-0000-000000000000}"/>
          </ac:spMkLst>
        </pc:spChg>
        <pc:spChg chg="add del mod modVis">
          <ac:chgData name="Yaroslav Zhydyk" userId="feca11449df7c5ed" providerId="LiveId" clId="{186FDB4A-D0D0-446A-9945-6468067BA58C}" dt="2022-10-29T12:58:01.248" v="462"/>
          <ac:spMkLst>
            <pc:docMk/>
            <pc:sldMasterMk cId="1709005174" sldId="2147483663"/>
            <ac:spMk id="8" creationId="{17429368-CB58-581F-E84A-065422ADEF27}"/>
          </ac:spMkLst>
        </pc:spChg>
        <pc:spChg chg="add del mod modVis">
          <ac:chgData name="Yaroslav Zhydyk" userId="feca11449df7c5ed" providerId="LiveId" clId="{186FDB4A-D0D0-446A-9945-6468067BA58C}" dt="2022-10-29T12:58:19.034" v="1069"/>
          <ac:spMkLst>
            <pc:docMk/>
            <pc:sldMasterMk cId="1709005174" sldId="2147483663"/>
            <ac:spMk id="9" creationId="{8067F82A-86E0-D525-2F04-39D75B74371E}"/>
          </ac:spMkLst>
        </pc:spChg>
        <pc:graphicFrameChg chg="add mod">
          <ac:chgData name="Yaroslav Zhydyk" userId="feca11449df7c5ed" providerId="LiveId" clId="{186FDB4A-D0D0-446A-9945-6468067BA58C}" dt="2022-10-29T12:58:19.036" v="1071"/>
          <ac:graphicFrameMkLst>
            <pc:docMk/>
            <pc:sldMasterMk cId="1709005174" sldId="2147483663"/>
            <ac:graphicFrameMk id="7" creationId="{571FC2F1-1292-F928-E633-E5BBFA8A46D0}"/>
          </ac:graphicFrameMkLst>
        </pc:graphicFrameChg>
        <pc:sldLayoutChg chg="addSp delSp modSp del mod">
          <pc:chgData name="Yaroslav Zhydyk" userId="feca11449df7c5ed" providerId="LiveId" clId="{186FDB4A-D0D0-446A-9945-6468067BA58C}" dt="2022-10-29T13:45:38.658" v="1143" actId="2696"/>
          <pc:sldLayoutMkLst>
            <pc:docMk/>
            <pc:sldMasterMk cId="1709005174" sldId="2147483663"/>
            <pc:sldLayoutMk cId="2477718418" sldId="2147483664"/>
          </pc:sldLayoutMkLst>
          <pc:spChg chg="mod">
            <ac:chgData name="Yaroslav Zhydyk" userId="feca11449df7c5ed" providerId="LiveId" clId="{186FDB4A-D0D0-446A-9945-6468067BA58C}" dt="2022-10-29T12:58:18.675" v="657" actId="948"/>
            <ac:spMkLst>
              <pc:docMk/>
              <pc:sldMasterMk cId="1709005174" sldId="2147483663"/>
              <pc:sldLayoutMk cId="2477718418" sldId="2147483664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945" v="979"/>
            <ac:spMkLst>
              <pc:docMk/>
              <pc:sldMasterMk cId="1709005174" sldId="2147483663"/>
              <pc:sldLayoutMk cId="2477718418" sldId="2147483664"/>
              <ac:spMk id="7" creationId="{AD5C3228-E62E-0E72-5CC8-5F8E2FB334B9}"/>
            </ac:spMkLst>
          </pc:spChg>
          <pc:graphicFrameChg chg="add mod ord modVis replST">
            <ac:chgData name="Yaroslav Zhydyk" userId="feca11449df7c5ed" providerId="LiveId" clId="{186FDB4A-D0D0-446A-9945-6468067BA58C}" dt="2022-10-29T12:58:18.961" v="995"/>
            <ac:graphicFrameMkLst>
              <pc:docMk/>
              <pc:sldMasterMk cId="1709005174" sldId="2147483663"/>
              <pc:sldLayoutMk cId="2477718418" sldId="2147483664"/>
              <ac:graphicFrameMk id="8" creationId="{28511520-8A2A-9F7B-00DF-48F9C0B7F3FD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39.027" v="1145" actId="2696"/>
          <pc:sldLayoutMkLst>
            <pc:docMk/>
            <pc:sldMasterMk cId="1709005174" sldId="2147483663"/>
            <pc:sldLayoutMk cId="3449835006" sldId="2147483665"/>
          </pc:sldLayoutMkLst>
          <pc:spChg chg="mod">
            <ac:chgData name="Yaroslav Zhydyk" userId="feca11449df7c5ed" providerId="LiveId" clId="{186FDB4A-D0D0-446A-9945-6468067BA58C}" dt="2022-10-29T12:58:18.786" v="810" actId="948"/>
            <ac:spMkLst>
              <pc:docMk/>
              <pc:sldMasterMk cId="1709005174" sldId="2147483663"/>
              <pc:sldLayoutMk cId="3449835006" sldId="2147483665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9.014" v="1051"/>
            <ac:spMkLst>
              <pc:docMk/>
              <pc:sldMasterMk cId="1709005174" sldId="2147483663"/>
              <pc:sldLayoutMk cId="3449835006" sldId="2147483665"/>
              <ac:spMk id="7" creationId="{8ECC325E-CE25-27B3-C5AF-AD80271EC3D0}"/>
            </ac:spMkLst>
          </pc:spChg>
          <pc:graphicFrameChg chg="add mod ord modVis replST">
            <ac:chgData name="Yaroslav Zhydyk" userId="feca11449df7c5ed" providerId="LiveId" clId="{186FDB4A-D0D0-446A-9945-6468067BA58C}" dt="2022-10-29T12:58:19.033" v="1067"/>
            <ac:graphicFrameMkLst>
              <pc:docMk/>
              <pc:sldMasterMk cId="1709005174" sldId="2147483663"/>
              <pc:sldLayoutMk cId="3449835006" sldId="2147483665"/>
              <ac:graphicFrameMk id="8" creationId="{874F45DC-C0BC-B16D-9658-ED5E8DB47965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39.359" v="1147" actId="2696"/>
          <pc:sldLayoutMkLst>
            <pc:docMk/>
            <pc:sldMasterMk cId="1709005174" sldId="2147483663"/>
            <pc:sldLayoutMk cId="952725367" sldId="2147483666"/>
          </pc:sldLayoutMkLst>
          <pc:spChg chg="mod">
            <ac:chgData name="Yaroslav Zhydyk" userId="feca11449df7c5ed" providerId="LiveId" clId="{186FDB4A-D0D0-446A-9945-6468067BA58C}" dt="2022-10-29T12:58:18.506" v="467" actId="948"/>
            <ac:spMkLst>
              <pc:docMk/>
              <pc:sldMasterMk cId="1709005174" sldId="2147483663"/>
              <pc:sldLayoutMk cId="952725367" sldId="2147483666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835" v="889"/>
            <ac:spMkLst>
              <pc:docMk/>
              <pc:sldMasterMk cId="1709005174" sldId="2147483663"/>
              <pc:sldLayoutMk cId="952725367" sldId="2147483666"/>
              <ac:spMk id="7" creationId="{99F8E19C-1A46-345D-F86A-028853F7DD49}"/>
            </ac:spMkLst>
          </pc:spChg>
          <pc:graphicFrameChg chg="add mod ord modVis replST">
            <ac:chgData name="Yaroslav Zhydyk" userId="feca11449df7c5ed" providerId="LiveId" clId="{186FDB4A-D0D0-446A-9945-6468067BA58C}" dt="2022-10-29T12:58:18.880" v="905"/>
            <ac:graphicFrameMkLst>
              <pc:docMk/>
              <pc:sldMasterMk cId="1709005174" sldId="2147483663"/>
              <pc:sldLayoutMk cId="952725367" sldId="2147483666"/>
              <ac:graphicFrameMk id="8" creationId="{D8984B61-2C3C-CB0B-90AB-FE97A9839F7F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39.676" v="1149" actId="2696"/>
          <pc:sldLayoutMkLst>
            <pc:docMk/>
            <pc:sldMasterMk cId="1709005174" sldId="2147483663"/>
            <pc:sldLayoutMk cId="2205209650" sldId="2147483667"/>
          </pc:sldLayoutMkLst>
          <pc:spChg chg="mod">
            <ac:chgData name="Yaroslav Zhydyk" userId="feca11449df7c5ed" providerId="LiveId" clId="{186FDB4A-D0D0-446A-9945-6468067BA58C}" dt="2022-10-29T12:58:18.563" v="505" actId="948"/>
            <ac:spMkLst>
              <pc:docMk/>
              <pc:sldMasterMk cId="1709005174" sldId="2147483663"/>
              <pc:sldLayoutMk cId="2205209650" sldId="2147483667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881" v="907"/>
            <ac:spMkLst>
              <pc:docMk/>
              <pc:sldMasterMk cId="1709005174" sldId="2147483663"/>
              <pc:sldLayoutMk cId="2205209650" sldId="2147483667"/>
              <ac:spMk id="8" creationId="{72EDA9A0-5E90-34B7-CA2A-1C981346B644}"/>
            </ac:spMkLst>
          </pc:spChg>
          <pc:graphicFrameChg chg="add mod ord modVis replST">
            <ac:chgData name="Yaroslav Zhydyk" userId="feca11449df7c5ed" providerId="LiveId" clId="{186FDB4A-D0D0-446A-9945-6468067BA58C}" dt="2022-10-29T12:58:18.895" v="923"/>
            <ac:graphicFrameMkLst>
              <pc:docMk/>
              <pc:sldMasterMk cId="1709005174" sldId="2147483663"/>
              <pc:sldLayoutMk cId="2205209650" sldId="2147483667"/>
              <ac:graphicFrameMk id="9" creationId="{BD4C8398-1844-B957-6F8E-B275E4D3C21A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39.977" v="1151" actId="2696"/>
          <pc:sldLayoutMkLst>
            <pc:docMk/>
            <pc:sldMasterMk cId="1709005174" sldId="2147483663"/>
            <pc:sldLayoutMk cId="3409368535" sldId="2147483668"/>
          </pc:sldLayoutMkLst>
          <pc:spChg chg="mod">
            <ac:chgData name="Yaroslav Zhydyk" userId="feca11449df7c5ed" providerId="LiveId" clId="{186FDB4A-D0D0-446A-9945-6468067BA58C}" dt="2022-10-29T12:58:18.625" v="581" actId="948"/>
            <ac:spMkLst>
              <pc:docMk/>
              <pc:sldMasterMk cId="1709005174" sldId="2147483663"/>
              <pc:sldLayoutMk cId="3409368535" sldId="2147483668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916" v="943"/>
            <ac:spMkLst>
              <pc:docMk/>
              <pc:sldMasterMk cId="1709005174" sldId="2147483663"/>
              <pc:sldLayoutMk cId="3409368535" sldId="2147483668"/>
              <ac:spMk id="10" creationId="{7E5D028C-0354-46FD-4B01-92E33CA4F2CF}"/>
            </ac:spMkLst>
          </pc:spChg>
          <pc:graphicFrameChg chg="add mod ord modVis replST">
            <ac:chgData name="Yaroslav Zhydyk" userId="feca11449df7c5ed" providerId="LiveId" clId="{186FDB4A-D0D0-446A-9945-6468067BA58C}" dt="2022-10-29T12:58:18.929" v="959"/>
            <ac:graphicFrameMkLst>
              <pc:docMk/>
              <pc:sldMasterMk cId="1709005174" sldId="2147483663"/>
              <pc:sldLayoutMk cId="3409368535" sldId="2147483668"/>
              <ac:graphicFrameMk id="11" creationId="{1EB6ACD9-0F22-DAFA-B0D4-EDB991C1B34B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40.277" v="1153" actId="2696"/>
          <pc:sldLayoutMkLst>
            <pc:docMk/>
            <pc:sldMasterMk cId="1709005174" sldId="2147483663"/>
            <pc:sldLayoutMk cId="2592754754" sldId="2147483669"/>
          </pc:sldLayoutMkLst>
          <pc:spChg chg="mod">
            <ac:chgData name="Yaroslav Zhydyk" userId="feca11449df7c5ed" providerId="LiveId" clId="{186FDB4A-D0D0-446A-9945-6468067BA58C}" dt="2022-10-29T12:58:18.705" v="695" actId="948"/>
            <ac:spMkLst>
              <pc:docMk/>
              <pc:sldMasterMk cId="1709005174" sldId="2147483663"/>
              <pc:sldLayoutMk cId="2592754754" sldId="2147483669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962" v="997"/>
            <ac:spMkLst>
              <pc:docMk/>
              <pc:sldMasterMk cId="1709005174" sldId="2147483663"/>
              <pc:sldLayoutMk cId="2592754754" sldId="2147483669"/>
              <ac:spMk id="6" creationId="{EE33D337-1C03-133E-6E61-A3AE9DC180D1}"/>
            </ac:spMkLst>
          </pc:spChg>
          <pc:graphicFrameChg chg="add mod ord modVis replST">
            <ac:chgData name="Yaroslav Zhydyk" userId="feca11449df7c5ed" providerId="LiveId" clId="{186FDB4A-D0D0-446A-9945-6468067BA58C}" dt="2022-10-29T12:58:18.982" v="1013"/>
            <ac:graphicFrameMkLst>
              <pc:docMk/>
              <pc:sldMasterMk cId="1709005174" sldId="2147483663"/>
              <pc:sldLayoutMk cId="2592754754" sldId="2147483669"/>
              <ac:graphicFrameMk id="7" creationId="{9EF35F49-00BA-D75D-6BAB-6480E9FFE6F0}"/>
            </ac:graphicFrameMkLst>
          </pc:graphicFrameChg>
        </pc:sldLayoutChg>
        <pc:sldLayoutChg chg="modSp del">
          <pc:chgData name="Yaroslav Zhydyk" userId="feca11449df7c5ed" providerId="LiveId" clId="{186FDB4A-D0D0-446A-9945-6468067BA58C}" dt="2022-10-29T13:45:40.593" v="1155" actId="2696"/>
          <pc:sldLayoutMkLst>
            <pc:docMk/>
            <pc:sldMasterMk cId="1709005174" sldId="2147483663"/>
            <pc:sldLayoutMk cId="1489045633" sldId="2147483670"/>
          </pc:sldLayoutMkLst>
        </pc:sldLayoutChg>
        <pc:sldLayoutChg chg="addSp delSp modSp del mod">
          <pc:chgData name="Yaroslav Zhydyk" userId="feca11449df7c5ed" providerId="LiveId" clId="{186FDB4A-D0D0-446A-9945-6468067BA58C}" dt="2022-10-29T13:45:40.892" v="1157" actId="2696"/>
          <pc:sldLayoutMkLst>
            <pc:docMk/>
            <pc:sldMasterMk cId="1709005174" sldId="2147483663"/>
            <pc:sldLayoutMk cId="3473504790" sldId="2147483671"/>
          </pc:sldLayoutMkLst>
          <pc:spChg chg="mod">
            <ac:chgData name="Yaroslav Zhydyk" userId="feca11449df7c5ed" providerId="LiveId" clId="{186FDB4A-D0D0-446A-9945-6468067BA58C}" dt="2022-10-29T12:58:18.729" v="733" actId="948"/>
            <ac:spMkLst>
              <pc:docMk/>
              <pc:sldMasterMk cId="1709005174" sldId="2147483663"/>
              <pc:sldLayoutMk cId="3473504790" sldId="2147483671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983" v="1015"/>
            <ac:spMkLst>
              <pc:docMk/>
              <pc:sldMasterMk cId="1709005174" sldId="2147483663"/>
              <pc:sldLayoutMk cId="3473504790" sldId="2147483671"/>
              <ac:spMk id="8" creationId="{E7C3E8D5-DF13-5E73-CB06-889DC7476DE0}"/>
            </ac:spMkLst>
          </pc:spChg>
          <pc:graphicFrameChg chg="add mod ord modVis replST">
            <ac:chgData name="Yaroslav Zhydyk" userId="feca11449df7c5ed" providerId="LiveId" clId="{186FDB4A-D0D0-446A-9945-6468067BA58C}" dt="2022-10-29T12:58:18.998" v="1031"/>
            <ac:graphicFrameMkLst>
              <pc:docMk/>
              <pc:sldMasterMk cId="1709005174" sldId="2147483663"/>
              <pc:sldLayoutMk cId="3473504790" sldId="2147483671"/>
              <ac:graphicFrameMk id="9" creationId="{2A58AE98-2E72-7165-D006-8275DC408277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41.275" v="1159" actId="2696"/>
          <pc:sldLayoutMkLst>
            <pc:docMk/>
            <pc:sldMasterMk cId="1709005174" sldId="2147483663"/>
            <pc:sldLayoutMk cId="2243056961" sldId="2147483672"/>
          </pc:sldLayoutMkLst>
          <pc:spChg chg="mod">
            <ac:chgData name="Yaroslav Zhydyk" userId="feca11449df7c5ed" providerId="LiveId" clId="{186FDB4A-D0D0-446A-9945-6468067BA58C}" dt="2022-10-29T12:58:18.589" v="543" actId="948"/>
            <ac:spMkLst>
              <pc:docMk/>
              <pc:sldMasterMk cId="1709005174" sldId="2147483663"/>
              <pc:sldLayoutMk cId="2243056961" sldId="2147483672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896" v="925"/>
            <ac:spMkLst>
              <pc:docMk/>
              <pc:sldMasterMk cId="1709005174" sldId="2147483663"/>
              <pc:sldLayoutMk cId="2243056961" sldId="2147483672"/>
              <ac:spMk id="8" creationId="{5F4E4EF7-7EEF-C747-F2BE-91F7E88B461F}"/>
            </ac:spMkLst>
          </pc:spChg>
          <pc:graphicFrameChg chg="add mod ord modVis replST">
            <ac:chgData name="Yaroslav Zhydyk" userId="feca11449df7c5ed" providerId="LiveId" clId="{186FDB4A-D0D0-446A-9945-6468067BA58C}" dt="2022-10-29T12:58:18.916" v="941"/>
            <ac:graphicFrameMkLst>
              <pc:docMk/>
              <pc:sldMasterMk cId="1709005174" sldId="2147483663"/>
              <pc:sldLayoutMk cId="2243056961" sldId="2147483672"/>
              <ac:graphicFrameMk id="9" creationId="{1229197A-D411-83EE-EDE0-B3A612859CD9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41.645" v="1161" actId="2696"/>
          <pc:sldLayoutMkLst>
            <pc:docMk/>
            <pc:sldMasterMk cId="1709005174" sldId="2147483663"/>
            <pc:sldLayoutMk cId="1699327558" sldId="2147483673"/>
          </pc:sldLayoutMkLst>
          <pc:spChg chg="mod">
            <ac:chgData name="Yaroslav Zhydyk" userId="feca11449df7c5ed" providerId="LiveId" clId="{186FDB4A-D0D0-446A-9945-6468067BA58C}" dt="2022-10-29T12:58:18.650" v="619" actId="948"/>
            <ac:spMkLst>
              <pc:docMk/>
              <pc:sldMasterMk cId="1709005174" sldId="2147483663"/>
              <pc:sldLayoutMk cId="1699327558" sldId="2147483673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930" v="961"/>
            <ac:spMkLst>
              <pc:docMk/>
              <pc:sldMasterMk cId="1709005174" sldId="2147483663"/>
              <pc:sldLayoutMk cId="1699327558" sldId="2147483673"/>
              <ac:spMk id="7" creationId="{8F2FD826-69E9-203A-1E40-B760574102F6}"/>
            </ac:spMkLst>
          </pc:spChg>
          <pc:graphicFrameChg chg="add mod ord modVis replST">
            <ac:chgData name="Yaroslav Zhydyk" userId="feca11449df7c5ed" providerId="LiveId" clId="{186FDB4A-D0D0-446A-9945-6468067BA58C}" dt="2022-10-29T12:58:18.945" v="977"/>
            <ac:graphicFrameMkLst>
              <pc:docMk/>
              <pc:sldMasterMk cId="1709005174" sldId="2147483663"/>
              <pc:sldLayoutMk cId="1699327558" sldId="2147483673"/>
              <ac:graphicFrameMk id="8" creationId="{1838FF33-46CC-627B-2A2A-252B9A5E1ECC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42.162" v="1163" actId="2696"/>
          <pc:sldLayoutMkLst>
            <pc:docMk/>
            <pc:sldMasterMk cId="1709005174" sldId="2147483663"/>
            <pc:sldLayoutMk cId="2777954138" sldId="2147483674"/>
          </pc:sldLayoutMkLst>
          <pc:spChg chg="mod">
            <ac:chgData name="Yaroslav Zhydyk" userId="feca11449df7c5ed" providerId="LiveId" clId="{186FDB4A-D0D0-446A-9945-6468067BA58C}" dt="2022-10-29T12:58:18.756" v="771" actId="948"/>
            <ac:spMkLst>
              <pc:docMk/>
              <pc:sldMasterMk cId="1709005174" sldId="2147483663"/>
              <pc:sldLayoutMk cId="2777954138" sldId="2147483674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999" v="1033"/>
            <ac:spMkLst>
              <pc:docMk/>
              <pc:sldMasterMk cId="1709005174" sldId="2147483663"/>
              <pc:sldLayoutMk cId="2777954138" sldId="2147483674"/>
              <ac:spMk id="7" creationId="{78D419A1-D40B-829D-BC6B-329AA616921D}"/>
            </ac:spMkLst>
          </pc:spChg>
          <pc:graphicFrameChg chg="add mod ord modVis replST">
            <ac:chgData name="Yaroslav Zhydyk" userId="feca11449df7c5ed" providerId="LiveId" clId="{186FDB4A-D0D0-446A-9945-6468067BA58C}" dt="2022-10-29T12:58:19.013" v="1049"/>
            <ac:graphicFrameMkLst>
              <pc:docMk/>
              <pc:sldMasterMk cId="1709005174" sldId="2147483663"/>
              <pc:sldLayoutMk cId="2777954138" sldId="2147483674"/>
              <ac:graphicFrameMk id="8" creationId="{D5FE33DF-67E1-958F-53B8-ED8739D009B6}"/>
            </ac:graphicFrameMkLst>
          </pc:graphicFrameChg>
        </pc:sldLayoutChg>
        <pc:sldLayoutChg chg="addSp delSp modSp mod">
          <pc:chgData name="Yaroslav Zhydyk" userId="feca11449df7c5ed" providerId="LiveId" clId="{186FDB4A-D0D0-446A-9945-6468067BA58C}" dt="2022-10-29T13:45:29.451" v="1141" actId="2085"/>
          <pc:sldLayoutMkLst>
            <pc:docMk/>
            <pc:sldMasterMk cId="1709005174" sldId="2147483663"/>
            <pc:sldLayoutMk cId="615811165" sldId="2147483675"/>
          </pc:sldLayoutMkLst>
          <pc:spChg chg="add mod">
            <ac:chgData name="Yaroslav Zhydyk" userId="feca11449df7c5ed" providerId="LiveId" clId="{186FDB4A-D0D0-446A-9945-6468067BA58C}" dt="2022-10-29T13:45:29.451" v="1141" actId="2085"/>
            <ac:spMkLst>
              <pc:docMk/>
              <pc:sldMasterMk cId="1709005174" sldId="2147483663"/>
              <pc:sldLayoutMk cId="615811165" sldId="2147483675"/>
              <ac:spMk id="3" creationId="{2739835D-2FB8-2BC0-BB79-BF537C48E4C8}"/>
            </ac:spMkLst>
          </pc:spChg>
          <pc:graphicFrameChg chg="mod">
            <ac:chgData name="Yaroslav Zhydyk" userId="feca11449df7c5ed" providerId="LiveId" clId="{186FDB4A-D0D0-446A-9945-6468067BA58C}" dt="2022-10-29T12:58:19.039" v="1075"/>
            <ac:graphicFrameMkLst>
              <pc:docMk/>
              <pc:sldMasterMk cId="1709005174" sldId="2147483663"/>
              <pc:sldLayoutMk cId="615811165" sldId="2147483675"/>
              <ac:graphicFrameMk id="7" creationId="{43D7CE9C-21BD-5C8E-A9FE-87992F5FAB4B}"/>
            </ac:graphicFrameMkLst>
          </pc:graphicFrameChg>
          <pc:picChg chg="add del mod">
            <ac:chgData name="Yaroslav Zhydyk" userId="feca11449df7c5ed" providerId="LiveId" clId="{186FDB4A-D0D0-446A-9945-6468067BA58C}" dt="2022-10-29T13:42:39.956" v="1085" actId="478"/>
            <ac:picMkLst>
              <pc:docMk/>
              <pc:sldMasterMk cId="1709005174" sldId="2147483663"/>
              <pc:sldLayoutMk cId="615811165" sldId="2147483675"/>
              <ac:picMk id="2" creationId="{24FA9423-714E-575E-6EF0-AC88BAA63A41}"/>
            </ac:picMkLst>
          </pc:picChg>
        </pc:sldLayoutChg>
        <pc:sldLayoutChg chg="addSp modSp mod">
          <pc:chgData name="Yaroslav Zhydyk" userId="feca11449df7c5ed" providerId="LiveId" clId="{186FDB4A-D0D0-446A-9945-6468067BA58C}" dt="2022-10-29T13:45:44.006" v="1164"/>
          <pc:sldLayoutMkLst>
            <pc:docMk/>
            <pc:sldMasterMk cId="1709005174" sldId="2147483663"/>
            <pc:sldLayoutMk cId="3612299126" sldId="2147483676"/>
          </pc:sldLayoutMkLst>
          <pc:spChg chg="add mod">
            <ac:chgData name="Yaroslav Zhydyk" userId="feca11449df7c5ed" providerId="LiveId" clId="{186FDB4A-D0D0-446A-9945-6468067BA58C}" dt="2022-10-29T13:45:44.006" v="1164"/>
            <ac:spMkLst>
              <pc:docMk/>
              <pc:sldMasterMk cId="1709005174" sldId="2147483663"/>
              <pc:sldLayoutMk cId="3612299126" sldId="2147483676"/>
              <ac:spMk id="2" creationId="{061A4290-5CB4-0293-4DCE-B1C4BA484A1E}"/>
            </ac:spMkLst>
          </pc:spChg>
          <pc:graphicFrameChg chg="mod">
            <ac:chgData name="Yaroslav Zhydyk" userId="feca11449df7c5ed" providerId="LiveId" clId="{186FDB4A-D0D0-446A-9945-6468067BA58C}" dt="2022-10-29T12:58:19.038" v="1073"/>
            <ac:graphicFrameMkLst>
              <pc:docMk/>
              <pc:sldMasterMk cId="1709005174" sldId="2147483663"/>
              <pc:sldLayoutMk cId="3612299126" sldId="2147483676"/>
              <ac:graphicFrameMk id="7" creationId="{43D7CE9C-21BD-5C8E-A9FE-87992F5FAB4B}"/>
            </ac:graphicFrameMkLst>
          </pc:graphicFrameChg>
        </pc:sldLayoutChg>
      </pc:sldMasterChg>
      <pc:sldMasterChg chg="addSp delSp modSp mod">
        <pc:chgData name="Yaroslav Zhydyk" userId="feca11449df7c5ed" providerId="LiveId" clId="{186FDB4A-D0D0-446A-9945-6468067BA58C}" dt="2022-10-29T12:57:35.180" v="417"/>
        <pc:sldMasterMkLst>
          <pc:docMk/>
          <pc:sldMasterMk cId="4053188614" sldId="2147483663"/>
        </pc:sldMasterMkLst>
        <pc:spChg chg="mod">
          <ac:chgData name="Yaroslav Zhydyk" userId="feca11449df7c5ed" providerId="LiveId" clId="{186FDB4A-D0D0-446A-9945-6468067BA58C}" dt="2022-10-29T12:57:35.180" v="417"/>
          <ac:spMkLst>
            <pc:docMk/>
            <pc:sldMasterMk cId="4053188614" sldId="2147483663"/>
            <ac:spMk id="2" creationId="{00000000-0000-0000-0000-000000000000}"/>
          </ac:spMkLst>
        </pc:spChg>
        <pc:spChg chg="add del mod modVis">
          <ac:chgData name="Yaroslav Zhydyk" userId="feca11449df7c5ed" providerId="LiveId" clId="{186FDB4A-D0D0-446A-9945-6468067BA58C}" dt="2022-10-29T12:57:35.180" v="417"/>
          <ac:spMkLst>
            <pc:docMk/>
            <pc:sldMasterMk cId="4053188614" sldId="2147483663"/>
            <ac:spMk id="8" creationId="{0433F8DC-D269-9EA9-7465-96AAB88C0591}"/>
          </ac:spMkLst>
        </pc:spChg>
        <pc:graphicFrameChg chg="mod">
          <ac:chgData name="Yaroslav Zhydyk" userId="feca11449df7c5ed" providerId="LiveId" clId="{186FDB4A-D0D0-446A-9945-6468067BA58C}" dt="2022-10-29T12:57:35.180" v="417"/>
          <ac:graphicFrameMkLst>
            <pc:docMk/>
            <pc:sldMasterMk cId="4053188614" sldId="2147483663"/>
            <ac:graphicFrameMk id="7" creationId="{BE629A9F-C26E-5F2C-A905-820C847EB149}"/>
          </ac:graphicFrameMkLst>
        </pc:graphicFrameChg>
      </pc:sldMasterChg>
    </pc:docChg>
  </pc:docChgLst>
  <pc:docChgLst>
    <pc:chgData name="Yaroslav Zhydyk" userId="feca11449df7c5ed" providerId="LiveId" clId="{60906DAE-491A-483A-A716-10CD7A9FDA62}"/>
    <pc:docChg chg="undo modSld">
      <pc:chgData name="Yaroslav Zhydyk" userId="feca11449df7c5ed" providerId="LiveId" clId="{60906DAE-491A-483A-A716-10CD7A9FDA62}" dt="2023-04-07T17:05:41.724" v="1" actId="20577"/>
      <pc:docMkLst>
        <pc:docMk/>
      </pc:docMkLst>
      <pc:sldChg chg="modSp mod">
        <pc:chgData name="Yaroslav Zhydyk" userId="feca11449df7c5ed" providerId="LiveId" clId="{60906DAE-491A-483A-A716-10CD7A9FDA62}" dt="2023-04-07T17:05:41.724" v="1" actId="20577"/>
        <pc:sldMkLst>
          <pc:docMk/>
          <pc:sldMk cId="3074086198" sldId="259"/>
        </pc:sldMkLst>
        <pc:spChg chg="mod">
          <ac:chgData name="Yaroslav Zhydyk" userId="feca11449df7c5ed" providerId="LiveId" clId="{60906DAE-491A-483A-A716-10CD7A9FDA62}" dt="2023-04-07T17:05:41.724" v="1" actId="20577"/>
          <ac:spMkLst>
            <pc:docMk/>
            <pc:sldMk cId="3074086198" sldId="259"/>
            <ac:spMk id="5" creationId="{805F823C-4B4D-4EC8-15D7-D1C57874B9C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778573754477375E-2"/>
          <c:y val="3.3677349266702877E-2"/>
          <c:w val="0.90328883099967439"/>
          <c:h val="0.90331341662140141"/>
        </c:manualLayout>
      </c:layout>
      <c:bubbleChart>
        <c:varyColors val="0"/>
        <c:ser>
          <c:idx val="0"/>
          <c:order val="0"/>
          <c:spPr>
            <a:solidFill>
              <a:schemeClr val="tx2"/>
            </a:solidFill>
            <a:ln w="6350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FC1E-4B92-A16D-82480A5FE28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FC1E-4B92-A16D-82480A5FE28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FC1E-4B92-A16D-82480A5FE284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C1E-4B92-A16D-82480A5FE284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FC1E-4B92-A16D-82480A5FE284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FC1E-4B92-A16D-82480A5FE284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FC1E-4B92-A16D-82480A5FE284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3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FC1E-4B92-A16D-82480A5FE284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3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FC1E-4B92-A16D-82480A5FE284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6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FC1E-4B92-A16D-82480A5FE284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FC1E-4B92-A16D-82480A5FE284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6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FC1E-4B92-A16D-82480A5FE284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5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FC1E-4B92-A16D-82480A5FE284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5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FC1E-4B92-A16D-82480A5FE284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5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FC1E-4B92-A16D-82480A5FE284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4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FC1E-4B92-A16D-82480A5FE284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4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FC1E-4B92-A16D-82480A5FE284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4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FC1E-4B92-A16D-82480A5FE284}"/>
              </c:ext>
            </c:extLst>
          </c:dPt>
          <c:dPt>
            <c:idx val="1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2-FC1E-4B92-A16D-82480A5FE284}"/>
              </c:ext>
            </c:extLst>
          </c:dPt>
          <c:dPt>
            <c:idx val="19"/>
            <c:invertIfNegative val="0"/>
            <c:bubble3D val="0"/>
            <c:spPr>
              <a:solidFill>
                <a:schemeClr val="bg2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FC1E-4B92-A16D-82480A5FE284}"/>
              </c:ext>
            </c:extLst>
          </c:dPt>
          <c:dPt>
            <c:idx val="20"/>
            <c:invertIfNegative val="0"/>
            <c:bubble3D val="0"/>
            <c:spPr>
              <a:solidFill>
                <a:schemeClr val="bg2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FC1E-4B92-A16D-82480A5FE284}"/>
              </c:ext>
            </c:extLst>
          </c:dPt>
          <c:dPt>
            <c:idx val="21"/>
            <c:invertIfNegative val="0"/>
            <c:bubble3D val="0"/>
            <c:spPr>
              <a:solidFill>
                <a:schemeClr val="bg2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FC1E-4B92-A16D-82480A5FE284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2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6-FC1E-4B92-A16D-82480A5FE284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2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FC1E-4B92-A16D-82480A5FE284}"/>
              </c:ext>
            </c:extLst>
          </c:dPt>
          <c:xVal>
            <c:numRef>
              <c:f>Sheet1!$A$1:$A$24</c:f>
              <c:numCache>
                <c:formatCode>General</c:formatCode>
                <c:ptCount val="2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5</c:v>
                </c:pt>
                <c:pt idx="13">
                  <c:v>5</c:v>
                </c:pt>
                <c:pt idx="14">
                  <c:v>5</c:v>
                </c:pt>
                <c:pt idx="15">
                  <c:v>6</c:v>
                </c:pt>
                <c:pt idx="16">
                  <c:v>6</c:v>
                </c:pt>
                <c:pt idx="17">
                  <c:v>6</c:v>
                </c:pt>
                <c:pt idx="18">
                  <c:v>2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  <c:pt idx="23">
                  <c:v>8</c:v>
                </c:pt>
              </c:numCache>
            </c:numRef>
          </c:xVal>
          <c:yVal>
            <c:numRef>
              <c:f>Sheet1!$B$1:$B$24</c:f>
              <c:numCache>
                <c:formatCode>General</c:formatCode>
                <c:ptCount val="24"/>
                <c:pt idx="0">
                  <c:v>2.11</c:v>
                </c:pt>
                <c:pt idx="1">
                  <c:v>3.94</c:v>
                </c:pt>
                <c:pt idx="2">
                  <c:v>2.65</c:v>
                </c:pt>
                <c:pt idx="3">
                  <c:v>2.87</c:v>
                </c:pt>
                <c:pt idx="4">
                  <c:v>3.64</c:v>
                </c:pt>
                <c:pt idx="5">
                  <c:v>3.91</c:v>
                </c:pt>
                <c:pt idx="6">
                  <c:v>1.38</c:v>
                </c:pt>
                <c:pt idx="7">
                  <c:v>3.84</c:v>
                </c:pt>
                <c:pt idx="8">
                  <c:v>1.63</c:v>
                </c:pt>
                <c:pt idx="9">
                  <c:v>2.88</c:v>
                </c:pt>
                <c:pt idx="10">
                  <c:v>1.87</c:v>
                </c:pt>
                <c:pt idx="11">
                  <c:v>2.78</c:v>
                </c:pt>
                <c:pt idx="12">
                  <c:v>1.26</c:v>
                </c:pt>
                <c:pt idx="13">
                  <c:v>1.33</c:v>
                </c:pt>
                <c:pt idx="14">
                  <c:v>2.9</c:v>
                </c:pt>
                <c:pt idx="15">
                  <c:v>2.13</c:v>
                </c:pt>
                <c:pt idx="16">
                  <c:v>1.91</c:v>
                </c:pt>
                <c:pt idx="17">
                  <c:v>1.65</c:v>
                </c:pt>
                <c:pt idx="18">
                  <c:v>2.69</c:v>
                </c:pt>
                <c:pt idx="19">
                  <c:v>1.36</c:v>
                </c:pt>
                <c:pt idx="20">
                  <c:v>2.08</c:v>
                </c:pt>
                <c:pt idx="21">
                  <c:v>2.35</c:v>
                </c:pt>
                <c:pt idx="22">
                  <c:v>2.1800000000000002</c:v>
                </c:pt>
                <c:pt idx="23">
                  <c:v>2.33</c:v>
                </c:pt>
              </c:numCache>
            </c:numRef>
          </c:yVal>
          <c:bubbleSize>
            <c:numRef>
              <c:f>Sheet1!$C$1:$C$24</c:f>
              <c:numCache>
                <c:formatCode>General</c:formatCode>
                <c:ptCount val="2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18-FC1E-4B92-A16D-82480A5FE2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22"/>
        <c:showNegBubbles val="0"/>
        <c:axId val="1261425295"/>
        <c:axId val="1"/>
      </c:bubbleChart>
      <c:valAx>
        <c:axId val="1261425295"/>
        <c:scaling>
          <c:orientation val="minMax"/>
          <c:max val="9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ru-UA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1261425295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778573754477375E-2"/>
          <c:y val="3.3677349266702877E-2"/>
          <c:w val="0.90328883099967439"/>
          <c:h val="0.90331341662140141"/>
        </c:manualLayout>
      </c:layout>
      <c:bubbleChart>
        <c:varyColors val="0"/>
        <c:ser>
          <c:idx val="0"/>
          <c:order val="0"/>
          <c:spPr>
            <a:solidFill>
              <a:schemeClr val="tx2"/>
            </a:solidFill>
            <a:ln w="6350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E850-4ED6-AEF6-10C9E475F4A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E850-4ED6-AEF6-10C9E475F4A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E850-4ED6-AEF6-10C9E475F4A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850-4ED6-AEF6-10C9E475F4A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E850-4ED6-AEF6-10C9E475F4A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850-4ED6-AEF6-10C9E475F4A3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E850-4ED6-AEF6-10C9E475F4A3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3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E850-4ED6-AEF6-10C9E475F4A3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3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E850-4ED6-AEF6-10C9E475F4A3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6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E850-4ED6-AEF6-10C9E475F4A3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E850-4ED6-AEF6-10C9E475F4A3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6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E850-4ED6-AEF6-10C9E475F4A3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5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E850-4ED6-AEF6-10C9E475F4A3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5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E850-4ED6-AEF6-10C9E475F4A3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5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E850-4ED6-AEF6-10C9E475F4A3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4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E850-4ED6-AEF6-10C9E475F4A3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4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E850-4ED6-AEF6-10C9E475F4A3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4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E850-4ED6-AEF6-10C9E475F4A3}"/>
              </c:ext>
            </c:extLst>
          </c:dPt>
          <c:dPt>
            <c:idx val="1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2-E850-4ED6-AEF6-10C9E475F4A3}"/>
              </c:ext>
            </c:extLst>
          </c:dPt>
          <c:dPt>
            <c:idx val="19"/>
            <c:invertIfNegative val="0"/>
            <c:bubble3D val="0"/>
            <c:spPr>
              <a:solidFill>
                <a:schemeClr val="bg2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E850-4ED6-AEF6-10C9E475F4A3}"/>
              </c:ext>
            </c:extLst>
          </c:dPt>
          <c:dPt>
            <c:idx val="20"/>
            <c:invertIfNegative val="0"/>
            <c:bubble3D val="0"/>
            <c:spPr>
              <a:solidFill>
                <a:schemeClr val="bg2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E850-4ED6-AEF6-10C9E475F4A3}"/>
              </c:ext>
            </c:extLst>
          </c:dPt>
          <c:dPt>
            <c:idx val="21"/>
            <c:invertIfNegative val="0"/>
            <c:bubble3D val="0"/>
            <c:spPr>
              <a:solidFill>
                <a:schemeClr val="bg2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E850-4ED6-AEF6-10C9E475F4A3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2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6-E850-4ED6-AEF6-10C9E475F4A3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2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E850-4ED6-AEF6-10C9E475F4A3}"/>
              </c:ext>
            </c:extLst>
          </c:dPt>
          <c:xVal>
            <c:numRef>
              <c:f>Sheet1!$A$1:$A$24</c:f>
              <c:numCache>
                <c:formatCode>General</c:formatCode>
                <c:ptCount val="2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5</c:v>
                </c:pt>
                <c:pt idx="13">
                  <c:v>5</c:v>
                </c:pt>
                <c:pt idx="14">
                  <c:v>5</c:v>
                </c:pt>
                <c:pt idx="15">
                  <c:v>6</c:v>
                </c:pt>
                <c:pt idx="16">
                  <c:v>6</c:v>
                </c:pt>
                <c:pt idx="17">
                  <c:v>6</c:v>
                </c:pt>
                <c:pt idx="18">
                  <c:v>2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  <c:pt idx="23">
                  <c:v>8</c:v>
                </c:pt>
              </c:numCache>
            </c:numRef>
          </c:xVal>
          <c:yVal>
            <c:numRef>
              <c:f>Sheet1!$B$1:$B$24</c:f>
              <c:numCache>
                <c:formatCode>General</c:formatCode>
                <c:ptCount val="24"/>
                <c:pt idx="0">
                  <c:v>2.11</c:v>
                </c:pt>
                <c:pt idx="1">
                  <c:v>3.94</c:v>
                </c:pt>
                <c:pt idx="2">
                  <c:v>2.65</c:v>
                </c:pt>
                <c:pt idx="3">
                  <c:v>2.87</c:v>
                </c:pt>
                <c:pt idx="4">
                  <c:v>3.64</c:v>
                </c:pt>
                <c:pt idx="5">
                  <c:v>3.91</c:v>
                </c:pt>
                <c:pt idx="6">
                  <c:v>1.38</c:v>
                </c:pt>
                <c:pt idx="7">
                  <c:v>3.84</c:v>
                </c:pt>
                <c:pt idx="8">
                  <c:v>1.63</c:v>
                </c:pt>
                <c:pt idx="9">
                  <c:v>2.88</c:v>
                </c:pt>
                <c:pt idx="10">
                  <c:v>1.87</c:v>
                </c:pt>
                <c:pt idx="11">
                  <c:v>2.78</c:v>
                </c:pt>
                <c:pt idx="12">
                  <c:v>1.26</c:v>
                </c:pt>
                <c:pt idx="13">
                  <c:v>1.33</c:v>
                </c:pt>
                <c:pt idx="14">
                  <c:v>2.9</c:v>
                </c:pt>
                <c:pt idx="15">
                  <c:v>2.13</c:v>
                </c:pt>
                <c:pt idx="16">
                  <c:v>1.91</c:v>
                </c:pt>
                <c:pt idx="17">
                  <c:v>1.65</c:v>
                </c:pt>
                <c:pt idx="18">
                  <c:v>2.69</c:v>
                </c:pt>
                <c:pt idx="19">
                  <c:v>1.36</c:v>
                </c:pt>
                <c:pt idx="20">
                  <c:v>2.08</c:v>
                </c:pt>
                <c:pt idx="21">
                  <c:v>2.35</c:v>
                </c:pt>
                <c:pt idx="22">
                  <c:v>2.1800000000000002</c:v>
                </c:pt>
                <c:pt idx="23">
                  <c:v>2.33</c:v>
                </c:pt>
              </c:numCache>
            </c:numRef>
          </c:yVal>
          <c:bubbleSize>
            <c:numRef>
              <c:f>Sheet1!$C$1:$C$24</c:f>
              <c:numCache>
                <c:formatCode>General</c:formatCode>
                <c:ptCount val="2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18-E850-4ED6-AEF6-10C9E475F4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22"/>
        <c:showNegBubbles val="0"/>
        <c:axId val="1325611455"/>
        <c:axId val="1"/>
      </c:bubbleChart>
      <c:valAx>
        <c:axId val="1325611455"/>
        <c:scaling>
          <c:orientation val="minMax"/>
          <c:max val="9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ru-UA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1325611455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778573754477375E-2"/>
          <c:y val="3.3677349266702877E-2"/>
          <c:w val="0.90328883099967439"/>
          <c:h val="0.90331341662140141"/>
        </c:manualLayout>
      </c:layout>
      <c:bubbleChart>
        <c:varyColors val="0"/>
        <c:ser>
          <c:idx val="0"/>
          <c:order val="0"/>
          <c:spPr>
            <a:solidFill>
              <a:schemeClr val="tx2"/>
            </a:solidFill>
            <a:ln w="6350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FF09-4F58-8ACC-9AA6C0A6FDB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FF09-4F58-8ACC-9AA6C0A6FDB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FF09-4F58-8ACC-9AA6C0A6FDB4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F09-4F58-8ACC-9AA6C0A6FDB4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FF09-4F58-8ACC-9AA6C0A6FDB4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FF09-4F58-8ACC-9AA6C0A6FDB4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FF09-4F58-8ACC-9AA6C0A6FDB4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3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FF09-4F58-8ACC-9AA6C0A6FDB4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3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FF09-4F58-8ACC-9AA6C0A6FDB4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6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FF09-4F58-8ACC-9AA6C0A6FDB4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FF09-4F58-8ACC-9AA6C0A6FDB4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6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FF09-4F58-8ACC-9AA6C0A6FDB4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5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FF09-4F58-8ACC-9AA6C0A6FDB4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5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FF09-4F58-8ACC-9AA6C0A6FDB4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5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FF09-4F58-8ACC-9AA6C0A6FDB4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4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FF09-4F58-8ACC-9AA6C0A6FDB4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4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FF09-4F58-8ACC-9AA6C0A6FDB4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4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FF09-4F58-8ACC-9AA6C0A6FDB4}"/>
              </c:ext>
            </c:extLst>
          </c:dPt>
          <c:dPt>
            <c:idx val="1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2-FF09-4F58-8ACC-9AA6C0A6FDB4}"/>
              </c:ext>
            </c:extLst>
          </c:dPt>
          <c:dPt>
            <c:idx val="19"/>
            <c:invertIfNegative val="0"/>
            <c:bubble3D val="0"/>
            <c:spPr>
              <a:solidFill>
                <a:schemeClr val="bg2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FF09-4F58-8ACC-9AA6C0A6FDB4}"/>
              </c:ext>
            </c:extLst>
          </c:dPt>
          <c:dPt>
            <c:idx val="20"/>
            <c:invertIfNegative val="0"/>
            <c:bubble3D val="0"/>
            <c:spPr>
              <a:solidFill>
                <a:schemeClr val="bg2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FF09-4F58-8ACC-9AA6C0A6FDB4}"/>
              </c:ext>
            </c:extLst>
          </c:dPt>
          <c:dPt>
            <c:idx val="21"/>
            <c:invertIfNegative val="0"/>
            <c:bubble3D val="0"/>
            <c:spPr>
              <a:solidFill>
                <a:schemeClr val="bg2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FF09-4F58-8ACC-9AA6C0A6FDB4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2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6-FF09-4F58-8ACC-9AA6C0A6FDB4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2"/>
              </a:solidFill>
              <a:ln w="63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FF09-4F58-8ACC-9AA6C0A6FDB4}"/>
              </c:ext>
            </c:extLst>
          </c:dPt>
          <c:xVal>
            <c:numRef>
              <c:f>Sheet1!$A$1:$A$24</c:f>
              <c:numCache>
                <c:formatCode>General</c:formatCode>
                <c:ptCount val="2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5</c:v>
                </c:pt>
                <c:pt idx="13">
                  <c:v>5</c:v>
                </c:pt>
                <c:pt idx="14">
                  <c:v>5</c:v>
                </c:pt>
                <c:pt idx="15">
                  <c:v>6</c:v>
                </c:pt>
                <c:pt idx="16">
                  <c:v>6</c:v>
                </c:pt>
                <c:pt idx="17">
                  <c:v>6</c:v>
                </c:pt>
                <c:pt idx="18">
                  <c:v>2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8</c:v>
                </c:pt>
                <c:pt idx="23">
                  <c:v>8</c:v>
                </c:pt>
              </c:numCache>
            </c:numRef>
          </c:xVal>
          <c:yVal>
            <c:numRef>
              <c:f>Sheet1!$B$1:$B$24</c:f>
              <c:numCache>
                <c:formatCode>General</c:formatCode>
                <c:ptCount val="24"/>
                <c:pt idx="0">
                  <c:v>2.11</c:v>
                </c:pt>
                <c:pt idx="1">
                  <c:v>3.94</c:v>
                </c:pt>
                <c:pt idx="2">
                  <c:v>2.65</c:v>
                </c:pt>
                <c:pt idx="3">
                  <c:v>2.87</c:v>
                </c:pt>
                <c:pt idx="4">
                  <c:v>3.64</c:v>
                </c:pt>
                <c:pt idx="5">
                  <c:v>3.91</c:v>
                </c:pt>
                <c:pt idx="6">
                  <c:v>1.38</c:v>
                </c:pt>
                <c:pt idx="7">
                  <c:v>3.84</c:v>
                </c:pt>
                <c:pt idx="8">
                  <c:v>1.63</c:v>
                </c:pt>
                <c:pt idx="9">
                  <c:v>2.88</c:v>
                </c:pt>
                <c:pt idx="10">
                  <c:v>1.87</c:v>
                </c:pt>
                <c:pt idx="11">
                  <c:v>2.78</c:v>
                </c:pt>
                <c:pt idx="12">
                  <c:v>1.26</c:v>
                </c:pt>
                <c:pt idx="13">
                  <c:v>1.33</c:v>
                </c:pt>
                <c:pt idx="14">
                  <c:v>2.9</c:v>
                </c:pt>
                <c:pt idx="15">
                  <c:v>2.13</c:v>
                </c:pt>
                <c:pt idx="16">
                  <c:v>1.91</c:v>
                </c:pt>
                <c:pt idx="17">
                  <c:v>1.65</c:v>
                </c:pt>
                <c:pt idx="18">
                  <c:v>2.69</c:v>
                </c:pt>
                <c:pt idx="19">
                  <c:v>1.36</c:v>
                </c:pt>
                <c:pt idx="20">
                  <c:v>2.08</c:v>
                </c:pt>
                <c:pt idx="21">
                  <c:v>2.35</c:v>
                </c:pt>
                <c:pt idx="22">
                  <c:v>2.1800000000000002</c:v>
                </c:pt>
                <c:pt idx="23">
                  <c:v>2.33</c:v>
                </c:pt>
              </c:numCache>
            </c:numRef>
          </c:yVal>
          <c:bubbleSize>
            <c:numRef>
              <c:f>Sheet1!$C$1:$C$24</c:f>
              <c:numCache>
                <c:formatCode>General</c:formatCode>
                <c:ptCount val="2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18-FF09-4F58-8ACC-9AA6C0A6FD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22"/>
        <c:showNegBubbles val="0"/>
        <c:axId val="1315615679"/>
        <c:axId val="1"/>
      </c:bubbleChart>
      <c:valAx>
        <c:axId val="1315615679"/>
        <c:scaling>
          <c:orientation val="minMax"/>
          <c:max val="9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ru-UA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UA"/>
          </a:p>
        </c:txPr>
        <c:crossAx val="1315615679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FB7ACC3-BB39-4DF3-8E0E-E2E3C3D075B8}" type="doc">
      <dgm:prSet loTypeId="urn:microsoft.com/office/officeart/2005/8/layout/funnel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UA"/>
        </a:p>
      </dgm:t>
    </dgm:pt>
    <dgm:pt modelId="{6688F695-27A4-4AA6-AEE0-E9847E054FCB}">
      <dgm:prSet phldrT="[Текст]"/>
      <dgm:spPr/>
      <dgm:t>
        <a:bodyPr/>
        <a:lstStyle/>
        <a:p>
          <a:r>
            <a:rPr lang="uk-UA" dirty="0"/>
            <a:t>ніколи</a:t>
          </a:r>
          <a:endParaRPr lang="ru-UA" dirty="0"/>
        </a:p>
      </dgm:t>
    </dgm:pt>
    <dgm:pt modelId="{9D96C805-64AB-4833-84EF-D180EA6F5283}" type="parTrans" cxnId="{80B29B4F-85CD-4C24-ACA1-2431ED692932}">
      <dgm:prSet/>
      <dgm:spPr/>
      <dgm:t>
        <a:bodyPr/>
        <a:lstStyle/>
        <a:p>
          <a:endParaRPr lang="ru-UA"/>
        </a:p>
      </dgm:t>
    </dgm:pt>
    <dgm:pt modelId="{22FA5912-7903-4E4B-955D-5B1FD04FED15}" type="sibTrans" cxnId="{80B29B4F-85CD-4C24-ACA1-2431ED692932}">
      <dgm:prSet/>
      <dgm:spPr/>
      <dgm:t>
        <a:bodyPr/>
        <a:lstStyle/>
        <a:p>
          <a:endParaRPr lang="ru-UA"/>
        </a:p>
      </dgm:t>
    </dgm:pt>
    <dgm:pt modelId="{25A0F345-D782-4C1F-87FB-A35731A231DF}">
      <dgm:prSet phldrT="[Текст]"/>
      <dgm:spPr/>
      <dgm:t>
        <a:bodyPr/>
        <a:lstStyle/>
        <a:p>
          <a:r>
            <a:rPr lang="uk-UA" dirty="0"/>
            <a:t>ніколи</a:t>
          </a:r>
          <a:endParaRPr lang="ru-UA" dirty="0"/>
        </a:p>
      </dgm:t>
    </dgm:pt>
    <dgm:pt modelId="{CCE911D6-89FD-4C00-AC5A-BDD9FD70361D}" type="parTrans" cxnId="{443175EE-7CE3-43B4-AA8F-AD5D9D60DAAA}">
      <dgm:prSet/>
      <dgm:spPr/>
      <dgm:t>
        <a:bodyPr/>
        <a:lstStyle/>
        <a:p>
          <a:endParaRPr lang="ru-UA"/>
        </a:p>
      </dgm:t>
    </dgm:pt>
    <dgm:pt modelId="{C65A561C-86C3-4323-A162-9DF5B8602F7F}" type="sibTrans" cxnId="{443175EE-7CE3-43B4-AA8F-AD5D9D60DAAA}">
      <dgm:prSet/>
      <dgm:spPr/>
      <dgm:t>
        <a:bodyPr/>
        <a:lstStyle/>
        <a:p>
          <a:endParaRPr lang="ru-UA"/>
        </a:p>
      </dgm:t>
    </dgm:pt>
    <dgm:pt modelId="{476E080D-4E0F-44C7-A90A-3174AD1CF693}">
      <dgm:prSet phldrT="[Текст]"/>
      <dgm:spPr/>
      <dgm:t>
        <a:bodyPr/>
        <a:lstStyle/>
        <a:p>
          <a:r>
            <a:rPr lang="uk-UA" dirty="0"/>
            <a:t>ніколи</a:t>
          </a:r>
          <a:endParaRPr lang="ru-UA" dirty="0"/>
        </a:p>
      </dgm:t>
    </dgm:pt>
    <dgm:pt modelId="{2EA0E167-F210-4DEC-98A6-F3620FE7CD95}" type="parTrans" cxnId="{9D6D1A97-0DD3-4781-8B1F-C66AAACEFB77}">
      <dgm:prSet/>
      <dgm:spPr/>
      <dgm:t>
        <a:bodyPr/>
        <a:lstStyle/>
        <a:p>
          <a:endParaRPr lang="ru-UA"/>
        </a:p>
      </dgm:t>
    </dgm:pt>
    <dgm:pt modelId="{D2E2039B-7921-4A6A-A594-FF0C8114D8A5}" type="sibTrans" cxnId="{9D6D1A97-0DD3-4781-8B1F-C66AAACEFB77}">
      <dgm:prSet/>
      <dgm:spPr/>
      <dgm:t>
        <a:bodyPr/>
        <a:lstStyle/>
        <a:p>
          <a:endParaRPr lang="ru-UA"/>
        </a:p>
      </dgm:t>
    </dgm:pt>
    <dgm:pt modelId="{54E5C5A0-24F6-49FF-820E-9A39CBC94DDE}">
      <dgm:prSet phldrT="[Текст]"/>
      <dgm:spPr/>
      <dgm:t>
        <a:bodyPr/>
        <a:lstStyle/>
        <a:p>
          <a:r>
            <a:rPr lang="uk-UA" dirty="0">
              <a:latin typeface="+mj-lt"/>
            </a:rPr>
            <a:t>Не використовуйте</a:t>
          </a:r>
          <a:br>
            <a:rPr lang="en-US" dirty="0">
              <a:latin typeface="+mj-lt"/>
            </a:rPr>
          </a:br>
          <a:r>
            <a:rPr lang="uk-UA" dirty="0">
              <a:latin typeface="+mj-lt"/>
            </a:rPr>
            <a:t> </a:t>
          </a:r>
          <a:r>
            <a:rPr lang="en-US" b="1" dirty="0">
              <a:latin typeface="+mj-lt"/>
            </a:rPr>
            <a:t>SMART ART </a:t>
          </a:r>
          <a:r>
            <a:rPr lang="uk-UA" dirty="0">
              <a:latin typeface="+mj-lt"/>
            </a:rPr>
            <a:t>ніколи</a:t>
          </a:r>
          <a:endParaRPr lang="ru-UA" dirty="0">
            <a:latin typeface="+mj-lt"/>
          </a:endParaRPr>
        </a:p>
      </dgm:t>
    </dgm:pt>
    <dgm:pt modelId="{5C46B8A9-9896-44C7-8D03-B135180BA891}" type="parTrans" cxnId="{D5930F2E-FC75-4438-8DAB-3C83DC383C52}">
      <dgm:prSet/>
      <dgm:spPr/>
      <dgm:t>
        <a:bodyPr/>
        <a:lstStyle/>
        <a:p>
          <a:endParaRPr lang="ru-UA"/>
        </a:p>
      </dgm:t>
    </dgm:pt>
    <dgm:pt modelId="{3E373760-6B7F-4831-93D9-7AA7CABE1DE1}" type="sibTrans" cxnId="{D5930F2E-FC75-4438-8DAB-3C83DC383C52}">
      <dgm:prSet/>
      <dgm:spPr/>
      <dgm:t>
        <a:bodyPr/>
        <a:lstStyle/>
        <a:p>
          <a:endParaRPr lang="ru-UA"/>
        </a:p>
      </dgm:t>
    </dgm:pt>
    <dgm:pt modelId="{10AFB126-BC12-46F2-B761-9791C79FF384}" type="pres">
      <dgm:prSet presAssocID="{3FB7ACC3-BB39-4DF3-8E0E-E2E3C3D075B8}" presName="Name0" presStyleCnt="0">
        <dgm:presLayoutVars>
          <dgm:chMax val="4"/>
          <dgm:resizeHandles val="exact"/>
        </dgm:presLayoutVars>
      </dgm:prSet>
      <dgm:spPr/>
    </dgm:pt>
    <dgm:pt modelId="{4E5DC313-6B55-4DD1-A079-B5CABB99C562}" type="pres">
      <dgm:prSet presAssocID="{3FB7ACC3-BB39-4DF3-8E0E-E2E3C3D075B8}" presName="ellipse" presStyleLbl="trBgShp" presStyleIdx="0" presStyleCnt="1"/>
      <dgm:spPr/>
    </dgm:pt>
    <dgm:pt modelId="{44896E8F-9D97-43CA-B2CF-E08FC6985B70}" type="pres">
      <dgm:prSet presAssocID="{3FB7ACC3-BB39-4DF3-8E0E-E2E3C3D075B8}" presName="arrow1" presStyleLbl="fgShp" presStyleIdx="0" presStyleCnt="1"/>
      <dgm:spPr/>
    </dgm:pt>
    <dgm:pt modelId="{640F0862-1FD0-4268-863C-F198E5904DFF}" type="pres">
      <dgm:prSet presAssocID="{3FB7ACC3-BB39-4DF3-8E0E-E2E3C3D075B8}" presName="rectangle" presStyleLbl="revTx" presStyleIdx="0" presStyleCnt="1">
        <dgm:presLayoutVars>
          <dgm:bulletEnabled val="1"/>
        </dgm:presLayoutVars>
      </dgm:prSet>
      <dgm:spPr/>
    </dgm:pt>
    <dgm:pt modelId="{C620D4A8-7F57-4230-9F33-8914F41C2A7E}" type="pres">
      <dgm:prSet presAssocID="{25A0F345-D782-4C1F-87FB-A35731A231DF}" presName="item1" presStyleLbl="node1" presStyleIdx="0" presStyleCnt="3">
        <dgm:presLayoutVars>
          <dgm:bulletEnabled val="1"/>
        </dgm:presLayoutVars>
      </dgm:prSet>
      <dgm:spPr/>
    </dgm:pt>
    <dgm:pt modelId="{785DA140-E906-4DC0-92A2-60FF1C587B46}" type="pres">
      <dgm:prSet presAssocID="{476E080D-4E0F-44C7-A90A-3174AD1CF693}" presName="item2" presStyleLbl="node1" presStyleIdx="1" presStyleCnt="3">
        <dgm:presLayoutVars>
          <dgm:bulletEnabled val="1"/>
        </dgm:presLayoutVars>
      </dgm:prSet>
      <dgm:spPr/>
    </dgm:pt>
    <dgm:pt modelId="{01A8E1F6-EBB0-4780-A550-7924134DA84E}" type="pres">
      <dgm:prSet presAssocID="{54E5C5A0-24F6-49FF-820E-9A39CBC94DDE}" presName="item3" presStyleLbl="node1" presStyleIdx="2" presStyleCnt="3">
        <dgm:presLayoutVars>
          <dgm:bulletEnabled val="1"/>
        </dgm:presLayoutVars>
      </dgm:prSet>
      <dgm:spPr/>
    </dgm:pt>
    <dgm:pt modelId="{E4B6DB02-40E6-4873-9EA3-7678C38DFBB8}" type="pres">
      <dgm:prSet presAssocID="{3FB7ACC3-BB39-4DF3-8E0E-E2E3C3D075B8}" presName="funnel" presStyleLbl="trAlignAcc1" presStyleIdx="0" presStyleCnt="1"/>
      <dgm:spPr/>
    </dgm:pt>
  </dgm:ptLst>
  <dgm:cxnLst>
    <dgm:cxn modelId="{D5930F2E-FC75-4438-8DAB-3C83DC383C52}" srcId="{3FB7ACC3-BB39-4DF3-8E0E-E2E3C3D075B8}" destId="{54E5C5A0-24F6-49FF-820E-9A39CBC94DDE}" srcOrd="3" destOrd="0" parTransId="{5C46B8A9-9896-44C7-8D03-B135180BA891}" sibTransId="{3E373760-6B7F-4831-93D9-7AA7CABE1DE1}"/>
    <dgm:cxn modelId="{80B29B4F-85CD-4C24-ACA1-2431ED692932}" srcId="{3FB7ACC3-BB39-4DF3-8E0E-E2E3C3D075B8}" destId="{6688F695-27A4-4AA6-AEE0-E9847E054FCB}" srcOrd="0" destOrd="0" parTransId="{9D96C805-64AB-4833-84EF-D180EA6F5283}" sibTransId="{22FA5912-7903-4E4B-955D-5B1FD04FED15}"/>
    <dgm:cxn modelId="{90DE5453-579D-4AE0-905E-8EAD72368E96}" type="presOf" srcId="{3FB7ACC3-BB39-4DF3-8E0E-E2E3C3D075B8}" destId="{10AFB126-BC12-46F2-B761-9791C79FF384}" srcOrd="0" destOrd="0" presId="urn:microsoft.com/office/officeart/2005/8/layout/funnel1"/>
    <dgm:cxn modelId="{9D6D1A97-0DD3-4781-8B1F-C66AAACEFB77}" srcId="{3FB7ACC3-BB39-4DF3-8E0E-E2E3C3D075B8}" destId="{476E080D-4E0F-44C7-A90A-3174AD1CF693}" srcOrd="2" destOrd="0" parTransId="{2EA0E167-F210-4DEC-98A6-F3620FE7CD95}" sibTransId="{D2E2039B-7921-4A6A-A594-FF0C8114D8A5}"/>
    <dgm:cxn modelId="{19244DA4-089C-462C-87D3-E7ACFFC48197}" type="presOf" srcId="{25A0F345-D782-4C1F-87FB-A35731A231DF}" destId="{785DA140-E906-4DC0-92A2-60FF1C587B46}" srcOrd="0" destOrd="0" presId="urn:microsoft.com/office/officeart/2005/8/layout/funnel1"/>
    <dgm:cxn modelId="{479C85C0-FB05-4CC5-8894-813C7206DFBC}" type="presOf" srcId="{54E5C5A0-24F6-49FF-820E-9A39CBC94DDE}" destId="{640F0862-1FD0-4268-863C-F198E5904DFF}" srcOrd="0" destOrd="0" presId="urn:microsoft.com/office/officeart/2005/8/layout/funnel1"/>
    <dgm:cxn modelId="{54C912D7-83EE-4ECC-B2B6-D6FD874B2EF2}" type="presOf" srcId="{476E080D-4E0F-44C7-A90A-3174AD1CF693}" destId="{C620D4A8-7F57-4230-9F33-8914F41C2A7E}" srcOrd="0" destOrd="0" presId="urn:microsoft.com/office/officeart/2005/8/layout/funnel1"/>
    <dgm:cxn modelId="{2655DCE5-8BF6-4747-A654-0C1ED81F51EB}" type="presOf" srcId="{6688F695-27A4-4AA6-AEE0-E9847E054FCB}" destId="{01A8E1F6-EBB0-4780-A550-7924134DA84E}" srcOrd="0" destOrd="0" presId="urn:microsoft.com/office/officeart/2005/8/layout/funnel1"/>
    <dgm:cxn modelId="{443175EE-7CE3-43B4-AA8F-AD5D9D60DAAA}" srcId="{3FB7ACC3-BB39-4DF3-8E0E-E2E3C3D075B8}" destId="{25A0F345-D782-4C1F-87FB-A35731A231DF}" srcOrd="1" destOrd="0" parTransId="{CCE911D6-89FD-4C00-AC5A-BDD9FD70361D}" sibTransId="{C65A561C-86C3-4323-A162-9DF5B8602F7F}"/>
    <dgm:cxn modelId="{5EE1E39B-285F-4CFD-B914-14C2B4064B12}" type="presParOf" srcId="{10AFB126-BC12-46F2-B761-9791C79FF384}" destId="{4E5DC313-6B55-4DD1-A079-B5CABB99C562}" srcOrd="0" destOrd="0" presId="urn:microsoft.com/office/officeart/2005/8/layout/funnel1"/>
    <dgm:cxn modelId="{ECF9C5AD-5680-4E51-BDED-FF77859F2AD0}" type="presParOf" srcId="{10AFB126-BC12-46F2-B761-9791C79FF384}" destId="{44896E8F-9D97-43CA-B2CF-E08FC6985B70}" srcOrd="1" destOrd="0" presId="urn:microsoft.com/office/officeart/2005/8/layout/funnel1"/>
    <dgm:cxn modelId="{0784DA5A-B51E-4225-8852-4C281AA30335}" type="presParOf" srcId="{10AFB126-BC12-46F2-B761-9791C79FF384}" destId="{640F0862-1FD0-4268-863C-F198E5904DFF}" srcOrd="2" destOrd="0" presId="urn:microsoft.com/office/officeart/2005/8/layout/funnel1"/>
    <dgm:cxn modelId="{245BD1EF-0181-4D4A-B7D9-C972D6FB0468}" type="presParOf" srcId="{10AFB126-BC12-46F2-B761-9791C79FF384}" destId="{C620D4A8-7F57-4230-9F33-8914F41C2A7E}" srcOrd="3" destOrd="0" presId="urn:microsoft.com/office/officeart/2005/8/layout/funnel1"/>
    <dgm:cxn modelId="{9FE10058-7E51-4522-BE84-156FE5E84080}" type="presParOf" srcId="{10AFB126-BC12-46F2-B761-9791C79FF384}" destId="{785DA140-E906-4DC0-92A2-60FF1C587B46}" srcOrd="4" destOrd="0" presId="urn:microsoft.com/office/officeart/2005/8/layout/funnel1"/>
    <dgm:cxn modelId="{CCDC2F84-BF85-4E15-AC2D-003AE52923DC}" type="presParOf" srcId="{10AFB126-BC12-46F2-B761-9791C79FF384}" destId="{01A8E1F6-EBB0-4780-A550-7924134DA84E}" srcOrd="5" destOrd="0" presId="urn:microsoft.com/office/officeart/2005/8/layout/funnel1"/>
    <dgm:cxn modelId="{2C423750-5402-431E-B1CE-A5CFB14B6ABF}" type="presParOf" srcId="{10AFB126-BC12-46F2-B761-9791C79FF384}" destId="{E4B6DB02-40E6-4873-9EA3-7678C38DFBB8}" srcOrd="6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1C9B065-1527-4915-97AA-0F1FB11412EC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UA"/>
        </a:p>
      </dgm:t>
    </dgm:pt>
    <dgm:pt modelId="{F88608FF-37BB-4582-A04B-4E6AA5BAE66A}">
      <dgm:prSet phldrT="[Текст]"/>
      <dgm:spPr/>
      <dgm:t>
        <a:bodyPr/>
        <a:lstStyle/>
        <a:p>
          <a:r>
            <a:rPr lang="en-US" dirty="0"/>
            <a:t>XXXXXXXXXXXXXXXXXXXXXXXXX</a:t>
          </a:r>
          <a:endParaRPr lang="ru-UA" dirty="0"/>
        </a:p>
      </dgm:t>
    </dgm:pt>
    <dgm:pt modelId="{594DE659-4FD1-4AD5-994A-29F263E640AE}" type="parTrans" cxnId="{36C9BCD0-9C95-4433-A6BB-D1C8A1A1FD32}">
      <dgm:prSet/>
      <dgm:spPr/>
      <dgm:t>
        <a:bodyPr/>
        <a:lstStyle/>
        <a:p>
          <a:endParaRPr lang="ru-UA"/>
        </a:p>
      </dgm:t>
    </dgm:pt>
    <dgm:pt modelId="{DD4EE350-9D0A-4919-A410-3FEA4B94E80C}" type="sibTrans" cxnId="{36C9BCD0-9C95-4433-A6BB-D1C8A1A1FD32}">
      <dgm:prSet/>
      <dgm:spPr/>
      <dgm:t>
        <a:bodyPr/>
        <a:lstStyle/>
        <a:p>
          <a:endParaRPr lang="ru-UA"/>
        </a:p>
      </dgm:t>
    </dgm:pt>
    <dgm:pt modelId="{75E839DF-AE7E-4EF7-8F3C-0D8BCF19CD5D}" type="asst">
      <dgm:prSet phldrT="[Текст]" custT="1"/>
      <dgm:spPr/>
      <dgm:t>
        <a:bodyPr/>
        <a:lstStyle/>
        <a:p>
          <a:r>
            <a:rPr lang="en-US" sz="4400" dirty="0"/>
            <a:t>XXX</a:t>
          </a:r>
          <a:endParaRPr lang="ru-UA" sz="4400" dirty="0"/>
        </a:p>
      </dgm:t>
    </dgm:pt>
    <dgm:pt modelId="{91508259-9B7D-4F8A-8D64-7A673560248A}" type="parTrans" cxnId="{3D4576CF-B6A8-4BDC-8E4B-4334E4F9729A}">
      <dgm:prSet/>
      <dgm:spPr/>
      <dgm:t>
        <a:bodyPr/>
        <a:lstStyle/>
        <a:p>
          <a:endParaRPr lang="ru-UA"/>
        </a:p>
      </dgm:t>
    </dgm:pt>
    <dgm:pt modelId="{2324B366-501A-4F86-A5AA-5A4A2EEC910E}" type="sibTrans" cxnId="{3D4576CF-B6A8-4BDC-8E4B-4334E4F9729A}">
      <dgm:prSet/>
      <dgm:spPr/>
      <dgm:t>
        <a:bodyPr/>
        <a:lstStyle/>
        <a:p>
          <a:endParaRPr lang="ru-UA"/>
        </a:p>
      </dgm:t>
    </dgm:pt>
    <dgm:pt modelId="{802AB64F-53EF-4AAD-A528-A2DB8C9D5A01}">
      <dgm:prSet phldrT="[Текст]" phldr="1"/>
      <dgm:spPr/>
      <dgm:t>
        <a:bodyPr/>
        <a:lstStyle/>
        <a:p>
          <a:endParaRPr lang="ru-UA"/>
        </a:p>
      </dgm:t>
    </dgm:pt>
    <dgm:pt modelId="{255B86C1-07EE-49D6-9ACB-C5ED737541C2}" type="parTrans" cxnId="{3FEF2A61-1639-44FC-B267-33664305170F}">
      <dgm:prSet/>
      <dgm:spPr/>
      <dgm:t>
        <a:bodyPr/>
        <a:lstStyle/>
        <a:p>
          <a:endParaRPr lang="ru-UA"/>
        </a:p>
      </dgm:t>
    </dgm:pt>
    <dgm:pt modelId="{3ADAFCB8-E486-48CC-BEF4-C13D81586D32}" type="sibTrans" cxnId="{3FEF2A61-1639-44FC-B267-33664305170F}">
      <dgm:prSet/>
      <dgm:spPr/>
      <dgm:t>
        <a:bodyPr/>
        <a:lstStyle/>
        <a:p>
          <a:endParaRPr lang="ru-UA"/>
        </a:p>
      </dgm:t>
    </dgm:pt>
    <dgm:pt modelId="{FCCEF4EF-9171-47AA-B7FA-64618CF5314E}">
      <dgm:prSet phldrT="[Текст]" phldr="1"/>
      <dgm:spPr/>
      <dgm:t>
        <a:bodyPr/>
        <a:lstStyle/>
        <a:p>
          <a:endParaRPr lang="ru-UA"/>
        </a:p>
      </dgm:t>
    </dgm:pt>
    <dgm:pt modelId="{FCCF18FB-A461-4843-9188-2B820FB8B119}" type="parTrans" cxnId="{F9E7B559-324C-48C7-BE4A-D5820E1E3AE7}">
      <dgm:prSet/>
      <dgm:spPr/>
      <dgm:t>
        <a:bodyPr/>
        <a:lstStyle/>
        <a:p>
          <a:endParaRPr lang="ru-UA"/>
        </a:p>
      </dgm:t>
    </dgm:pt>
    <dgm:pt modelId="{A9F63A37-1CAD-4D0E-BCC6-99EFB7F7CE9C}" type="sibTrans" cxnId="{F9E7B559-324C-48C7-BE4A-D5820E1E3AE7}">
      <dgm:prSet/>
      <dgm:spPr/>
      <dgm:t>
        <a:bodyPr/>
        <a:lstStyle/>
        <a:p>
          <a:endParaRPr lang="ru-UA"/>
        </a:p>
      </dgm:t>
    </dgm:pt>
    <dgm:pt modelId="{8F9D869F-414D-4F94-94FA-9B5C006B5BBB}">
      <dgm:prSet phldrT="[Текст]" phldr="1"/>
      <dgm:spPr/>
      <dgm:t>
        <a:bodyPr/>
        <a:lstStyle/>
        <a:p>
          <a:endParaRPr lang="ru-UA"/>
        </a:p>
      </dgm:t>
    </dgm:pt>
    <dgm:pt modelId="{0B030AB8-9E0A-4090-A71C-6D394C6D4398}" type="parTrans" cxnId="{86FED0DE-04F5-47B4-908C-A6A4913D6AF4}">
      <dgm:prSet/>
      <dgm:spPr/>
      <dgm:t>
        <a:bodyPr/>
        <a:lstStyle/>
        <a:p>
          <a:endParaRPr lang="ru-UA"/>
        </a:p>
      </dgm:t>
    </dgm:pt>
    <dgm:pt modelId="{0EEE7719-D703-40C6-8FCE-7CF92E622A7C}" type="sibTrans" cxnId="{86FED0DE-04F5-47B4-908C-A6A4913D6AF4}">
      <dgm:prSet/>
      <dgm:spPr/>
      <dgm:t>
        <a:bodyPr/>
        <a:lstStyle/>
        <a:p>
          <a:endParaRPr lang="ru-UA"/>
        </a:p>
      </dgm:t>
    </dgm:pt>
    <dgm:pt modelId="{FE668E4C-DEA0-4532-896D-601394B44112}" type="pres">
      <dgm:prSet presAssocID="{B1C9B065-1527-4915-97AA-0F1FB11412EC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6869DCDD-F2EA-4D57-B757-4DD1801D1C81}" type="pres">
      <dgm:prSet presAssocID="{F88608FF-37BB-4582-A04B-4E6AA5BAE66A}" presName="hierRoot1" presStyleCnt="0">
        <dgm:presLayoutVars>
          <dgm:hierBranch val="init"/>
        </dgm:presLayoutVars>
      </dgm:prSet>
      <dgm:spPr/>
    </dgm:pt>
    <dgm:pt modelId="{ED38AFE3-50AB-4D9E-A114-141F4FC6114E}" type="pres">
      <dgm:prSet presAssocID="{F88608FF-37BB-4582-A04B-4E6AA5BAE66A}" presName="rootComposite1" presStyleCnt="0"/>
      <dgm:spPr/>
    </dgm:pt>
    <dgm:pt modelId="{C03C99A1-74AC-4ABF-BD3F-D31048D5906A}" type="pres">
      <dgm:prSet presAssocID="{F88608FF-37BB-4582-A04B-4E6AA5BAE66A}" presName="rootText1" presStyleLbl="node0" presStyleIdx="0" presStyleCnt="1">
        <dgm:presLayoutVars>
          <dgm:chPref val="3"/>
        </dgm:presLayoutVars>
      </dgm:prSet>
      <dgm:spPr/>
    </dgm:pt>
    <dgm:pt modelId="{6937EFBC-9175-43B3-BCD7-1051EF1911D5}" type="pres">
      <dgm:prSet presAssocID="{F88608FF-37BB-4582-A04B-4E6AA5BAE66A}" presName="rootConnector1" presStyleLbl="node1" presStyleIdx="0" presStyleCnt="0"/>
      <dgm:spPr/>
    </dgm:pt>
    <dgm:pt modelId="{5C025171-19F2-4AD8-892B-A1A131EE819E}" type="pres">
      <dgm:prSet presAssocID="{F88608FF-37BB-4582-A04B-4E6AA5BAE66A}" presName="hierChild2" presStyleCnt="0"/>
      <dgm:spPr/>
    </dgm:pt>
    <dgm:pt modelId="{A55C2E3E-2339-4840-B01E-2B0DF13325AE}" type="pres">
      <dgm:prSet presAssocID="{255B86C1-07EE-49D6-9ACB-C5ED737541C2}" presName="Name37" presStyleLbl="parChTrans1D2" presStyleIdx="0" presStyleCnt="4"/>
      <dgm:spPr/>
    </dgm:pt>
    <dgm:pt modelId="{D7D2C648-A8EB-4ACA-94BA-6B85EEC4FCA8}" type="pres">
      <dgm:prSet presAssocID="{802AB64F-53EF-4AAD-A528-A2DB8C9D5A01}" presName="hierRoot2" presStyleCnt="0">
        <dgm:presLayoutVars>
          <dgm:hierBranch val="init"/>
        </dgm:presLayoutVars>
      </dgm:prSet>
      <dgm:spPr/>
    </dgm:pt>
    <dgm:pt modelId="{657A2E63-1F7B-4A66-8A0C-782FABFFDC43}" type="pres">
      <dgm:prSet presAssocID="{802AB64F-53EF-4AAD-A528-A2DB8C9D5A01}" presName="rootComposite" presStyleCnt="0"/>
      <dgm:spPr/>
    </dgm:pt>
    <dgm:pt modelId="{6ADD5D2F-DA36-445C-9C36-3F9DB8D389D0}" type="pres">
      <dgm:prSet presAssocID="{802AB64F-53EF-4AAD-A528-A2DB8C9D5A01}" presName="rootText" presStyleLbl="node2" presStyleIdx="0" presStyleCnt="3">
        <dgm:presLayoutVars>
          <dgm:chPref val="3"/>
        </dgm:presLayoutVars>
      </dgm:prSet>
      <dgm:spPr/>
    </dgm:pt>
    <dgm:pt modelId="{85E56AE4-B87E-44FC-82E8-876253642E4B}" type="pres">
      <dgm:prSet presAssocID="{802AB64F-53EF-4AAD-A528-A2DB8C9D5A01}" presName="rootConnector" presStyleLbl="node2" presStyleIdx="0" presStyleCnt="3"/>
      <dgm:spPr/>
    </dgm:pt>
    <dgm:pt modelId="{CD8B08F7-2C47-4242-B37D-BE5FD2699432}" type="pres">
      <dgm:prSet presAssocID="{802AB64F-53EF-4AAD-A528-A2DB8C9D5A01}" presName="hierChild4" presStyleCnt="0"/>
      <dgm:spPr/>
    </dgm:pt>
    <dgm:pt modelId="{2E4EB67D-237A-44CD-8F44-2B80DF9CD0B0}" type="pres">
      <dgm:prSet presAssocID="{802AB64F-53EF-4AAD-A528-A2DB8C9D5A01}" presName="hierChild5" presStyleCnt="0"/>
      <dgm:spPr/>
    </dgm:pt>
    <dgm:pt modelId="{BB7A2B90-5421-42A7-8EB9-51B5FE56E223}" type="pres">
      <dgm:prSet presAssocID="{FCCF18FB-A461-4843-9188-2B820FB8B119}" presName="Name37" presStyleLbl="parChTrans1D2" presStyleIdx="1" presStyleCnt="4"/>
      <dgm:spPr/>
    </dgm:pt>
    <dgm:pt modelId="{EC5702FE-A80F-43BD-9E08-28BA2C736FEC}" type="pres">
      <dgm:prSet presAssocID="{FCCEF4EF-9171-47AA-B7FA-64618CF5314E}" presName="hierRoot2" presStyleCnt="0">
        <dgm:presLayoutVars>
          <dgm:hierBranch val="init"/>
        </dgm:presLayoutVars>
      </dgm:prSet>
      <dgm:spPr/>
    </dgm:pt>
    <dgm:pt modelId="{8120D46A-46DC-4AA8-B66F-3A69351A6F1F}" type="pres">
      <dgm:prSet presAssocID="{FCCEF4EF-9171-47AA-B7FA-64618CF5314E}" presName="rootComposite" presStyleCnt="0"/>
      <dgm:spPr/>
    </dgm:pt>
    <dgm:pt modelId="{DAB8512A-EA51-44BF-B799-367F289F5BB6}" type="pres">
      <dgm:prSet presAssocID="{FCCEF4EF-9171-47AA-B7FA-64618CF5314E}" presName="rootText" presStyleLbl="node2" presStyleIdx="1" presStyleCnt="3">
        <dgm:presLayoutVars>
          <dgm:chPref val="3"/>
        </dgm:presLayoutVars>
      </dgm:prSet>
      <dgm:spPr/>
    </dgm:pt>
    <dgm:pt modelId="{A47B786A-DD51-421D-8B12-0B1D67651918}" type="pres">
      <dgm:prSet presAssocID="{FCCEF4EF-9171-47AA-B7FA-64618CF5314E}" presName="rootConnector" presStyleLbl="node2" presStyleIdx="1" presStyleCnt="3"/>
      <dgm:spPr/>
    </dgm:pt>
    <dgm:pt modelId="{75065083-C3C1-4975-9857-B6CE393F5C73}" type="pres">
      <dgm:prSet presAssocID="{FCCEF4EF-9171-47AA-B7FA-64618CF5314E}" presName="hierChild4" presStyleCnt="0"/>
      <dgm:spPr/>
    </dgm:pt>
    <dgm:pt modelId="{3A5445E9-06C0-4828-8E6F-D5A91D2F76DF}" type="pres">
      <dgm:prSet presAssocID="{FCCEF4EF-9171-47AA-B7FA-64618CF5314E}" presName="hierChild5" presStyleCnt="0"/>
      <dgm:spPr/>
    </dgm:pt>
    <dgm:pt modelId="{6F305FD9-DFC5-4C3D-98F8-87A7F1140202}" type="pres">
      <dgm:prSet presAssocID="{0B030AB8-9E0A-4090-A71C-6D394C6D4398}" presName="Name37" presStyleLbl="parChTrans1D2" presStyleIdx="2" presStyleCnt="4"/>
      <dgm:spPr/>
    </dgm:pt>
    <dgm:pt modelId="{955F44CF-7324-4C47-A3C3-786715C60E11}" type="pres">
      <dgm:prSet presAssocID="{8F9D869F-414D-4F94-94FA-9B5C006B5BBB}" presName="hierRoot2" presStyleCnt="0">
        <dgm:presLayoutVars>
          <dgm:hierBranch val="init"/>
        </dgm:presLayoutVars>
      </dgm:prSet>
      <dgm:spPr/>
    </dgm:pt>
    <dgm:pt modelId="{AD6BAE31-A564-430C-B332-288C9BEBBE61}" type="pres">
      <dgm:prSet presAssocID="{8F9D869F-414D-4F94-94FA-9B5C006B5BBB}" presName="rootComposite" presStyleCnt="0"/>
      <dgm:spPr/>
    </dgm:pt>
    <dgm:pt modelId="{FCBA3F7A-F1C2-4999-98A4-DE136417F830}" type="pres">
      <dgm:prSet presAssocID="{8F9D869F-414D-4F94-94FA-9B5C006B5BBB}" presName="rootText" presStyleLbl="node2" presStyleIdx="2" presStyleCnt="3">
        <dgm:presLayoutVars>
          <dgm:chPref val="3"/>
        </dgm:presLayoutVars>
      </dgm:prSet>
      <dgm:spPr/>
    </dgm:pt>
    <dgm:pt modelId="{2502DB94-DA26-429B-A6EB-BEBA3FA78EF6}" type="pres">
      <dgm:prSet presAssocID="{8F9D869F-414D-4F94-94FA-9B5C006B5BBB}" presName="rootConnector" presStyleLbl="node2" presStyleIdx="2" presStyleCnt="3"/>
      <dgm:spPr/>
    </dgm:pt>
    <dgm:pt modelId="{B06C6BFF-378D-4B3C-8FA2-038550273907}" type="pres">
      <dgm:prSet presAssocID="{8F9D869F-414D-4F94-94FA-9B5C006B5BBB}" presName="hierChild4" presStyleCnt="0"/>
      <dgm:spPr/>
    </dgm:pt>
    <dgm:pt modelId="{28B8ACBD-27CD-46C5-B928-9E9D616799C0}" type="pres">
      <dgm:prSet presAssocID="{8F9D869F-414D-4F94-94FA-9B5C006B5BBB}" presName="hierChild5" presStyleCnt="0"/>
      <dgm:spPr/>
    </dgm:pt>
    <dgm:pt modelId="{891215A4-EC28-4846-9409-EF5C8E775D20}" type="pres">
      <dgm:prSet presAssocID="{F88608FF-37BB-4582-A04B-4E6AA5BAE66A}" presName="hierChild3" presStyleCnt="0"/>
      <dgm:spPr/>
    </dgm:pt>
    <dgm:pt modelId="{787A8411-F37B-41AF-92C2-40A96488650D}" type="pres">
      <dgm:prSet presAssocID="{91508259-9B7D-4F8A-8D64-7A673560248A}" presName="Name111" presStyleLbl="parChTrans1D2" presStyleIdx="3" presStyleCnt="4"/>
      <dgm:spPr/>
    </dgm:pt>
    <dgm:pt modelId="{E775718F-E808-40B9-8E1E-90D80C044B29}" type="pres">
      <dgm:prSet presAssocID="{75E839DF-AE7E-4EF7-8F3C-0D8BCF19CD5D}" presName="hierRoot3" presStyleCnt="0">
        <dgm:presLayoutVars>
          <dgm:hierBranch val="init"/>
        </dgm:presLayoutVars>
      </dgm:prSet>
      <dgm:spPr/>
    </dgm:pt>
    <dgm:pt modelId="{6D0B1955-7FA7-4090-9BE7-73B3F3815525}" type="pres">
      <dgm:prSet presAssocID="{75E839DF-AE7E-4EF7-8F3C-0D8BCF19CD5D}" presName="rootComposite3" presStyleCnt="0"/>
      <dgm:spPr/>
    </dgm:pt>
    <dgm:pt modelId="{80D9904C-A3F6-4BF0-BE01-46633E72E423}" type="pres">
      <dgm:prSet presAssocID="{75E839DF-AE7E-4EF7-8F3C-0D8BCF19CD5D}" presName="rootText3" presStyleLbl="asst1" presStyleIdx="0" presStyleCnt="1" custLinFactX="-36996" custLinFactNeighborX="-100000" custLinFactNeighborY="-38310">
        <dgm:presLayoutVars>
          <dgm:chPref val="3"/>
        </dgm:presLayoutVars>
      </dgm:prSet>
      <dgm:spPr/>
    </dgm:pt>
    <dgm:pt modelId="{F4C9BAB4-13DB-4FF2-9905-24040610B664}" type="pres">
      <dgm:prSet presAssocID="{75E839DF-AE7E-4EF7-8F3C-0D8BCF19CD5D}" presName="rootConnector3" presStyleLbl="asst1" presStyleIdx="0" presStyleCnt="1"/>
      <dgm:spPr/>
    </dgm:pt>
    <dgm:pt modelId="{DB8BF250-6CCD-47ED-9B18-E75F90E599CA}" type="pres">
      <dgm:prSet presAssocID="{75E839DF-AE7E-4EF7-8F3C-0D8BCF19CD5D}" presName="hierChild6" presStyleCnt="0"/>
      <dgm:spPr/>
    </dgm:pt>
    <dgm:pt modelId="{D0B507D3-7456-49CD-A33F-70E3353651E3}" type="pres">
      <dgm:prSet presAssocID="{75E839DF-AE7E-4EF7-8F3C-0D8BCF19CD5D}" presName="hierChild7" presStyleCnt="0"/>
      <dgm:spPr/>
    </dgm:pt>
  </dgm:ptLst>
  <dgm:cxnLst>
    <dgm:cxn modelId="{D69D1F17-24D6-4F73-9091-38D14BFE3389}" type="presOf" srcId="{FCCEF4EF-9171-47AA-B7FA-64618CF5314E}" destId="{A47B786A-DD51-421D-8B12-0B1D67651918}" srcOrd="1" destOrd="0" presId="urn:microsoft.com/office/officeart/2005/8/layout/orgChart1"/>
    <dgm:cxn modelId="{A9F6CD27-AB41-4F64-AC23-C504FBA176F4}" type="presOf" srcId="{75E839DF-AE7E-4EF7-8F3C-0D8BCF19CD5D}" destId="{F4C9BAB4-13DB-4FF2-9905-24040610B664}" srcOrd="1" destOrd="0" presId="urn:microsoft.com/office/officeart/2005/8/layout/orgChart1"/>
    <dgm:cxn modelId="{3896D83F-6E8E-4CF0-90AF-CBFDA81AB4ED}" type="presOf" srcId="{8F9D869F-414D-4F94-94FA-9B5C006B5BBB}" destId="{FCBA3F7A-F1C2-4999-98A4-DE136417F830}" srcOrd="0" destOrd="0" presId="urn:microsoft.com/office/officeart/2005/8/layout/orgChart1"/>
    <dgm:cxn modelId="{74BBFB3F-1FCB-4517-AA26-1A6E9361D669}" type="presOf" srcId="{FCCEF4EF-9171-47AA-B7FA-64618CF5314E}" destId="{DAB8512A-EA51-44BF-B799-367F289F5BB6}" srcOrd="0" destOrd="0" presId="urn:microsoft.com/office/officeart/2005/8/layout/orgChart1"/>
    <dgm:cxn modelId="{3FEF2A61-1639-44FC-B267-33664305170F}" srcId="{F88608FF-37BB-4582-A04B-4E6AA5BAE66A}" destId="{802AB64F-53EF-4AAD-A528-A2DB8C9D5A01}" srcOrd="1" destOrd="0" parTransId="{255B86C1-07EE-49D6-9ACB-C5ED737541C2}" sibTransId="{3ADAFCB8-E486-48CC-BEF4-C13D81586D32}"/>
    <dgm:cxn modelId="{7BD02E4C-A24C-4AF5-9A31-B4EBA012B8FC}" type="presOf" srcId="{255B86C1-07EE-49D6-9ACB-C5ED737541C2}" destId="{A55C2E3E-2339-4840-B01E-2B0DF13325AE}" srcOrd="0" destOrd="0" presId="urn:microsoft.com/office/officeart/2005/8/layout/orgChart1"/>
    <dgm:cxn modelId="{9B21FF6E-0D15-4780-AA59-5BBE358F5085}" type="presOf" srcId="{8F9D869F-414D-4F94-94FA-9B5C006B5BBB}" destId="{2502DB94-DA26-429B-A6EB-BEBA3FA78EF6}" srcOrd="1" destOrd="0" presId="urn:microsoft.com/office/officeart/2005/8/layout/orgChart1"/>
    <dgm:cxn modelId="{E73DFB71-A639-4214-902B-9C8EA41294B6}" type="presOf" srcId="{75E839DF-AE7E-4EF7-8F3C-0D8BCF19CD5D}" destId="{80D9904C-A3F6-4BF0-BE01-46633E72E423}" srcOrd="0" destOrd="0" presId="urn:microsoft.com/office/officeart/2005/8/layout/orgChart1"/>
    <dgm:cxn modelId="{D5BD3D73-CC5F-48D3-A05B-FDC15A013A0D}" type="presOf" srcId="{802AB64F-53EF-4AAD-A528-A2DB8C9D5A01}" destId="{6ADD5D2F-DA36-445C-9C36-3F9DB8D389D0}" srcOrd="0" destOrd="0" presId="urn:microsoft.com/office/officeart/2005/8/layout/orgChart1"/>
    <dgm:cxn modelId="{F9E7B559-324C-48C7-BE4A-D5820E1E3AE7}" srcId="{F88608FF-37BB-4582-A04B-4E6AA5BAE66A}" destId="{FCCEF4EF-9171-47AA-B7FA-64618CF5314E}" srcOrd="2" destOrd="0" parTransId="{FCCF18FB-A461-4843-9188-2B820FB8B119}" sibTransId="{A9F63A37-1CAD-4D0E-BCC6-99EFB7F7CE9C}"/>
    <dgm:cxn modelId="{2220AC7F-0152-430B-9643-847F23CAAE10}" type="presOf" srcId="{802AB64F-53EF-4AAD-A528-A2DB8C9D5A01}" destId="{85E56AE4-B87E-44FC-82E8-876253642E4B}" srcOrd="1" destOrd="0" presId="urn:microsoft.com/office/officeart/2005/8/layout/orgChart1"/>
    <dgm:cxn modelId="{A5B4229B-8213-45DC-B2A5-0B4B8787A305}" type="presOf" srcId="{F88608FF-37BB-4582-A04B-4E6AA5BAE66A}" destId="{6937EFBC-9175-43B3-BCD7-1051EF1911D5}" srcOrd="1" destOrd="0" presId="urn:microsoft.com/office/officeart/2005/8/layout/orgChart1"/>
    <dgm:cxn modelId="{31A457A2-FC46-4BE3-ACEC-0D886EB2392C}" type="presOf" srcId="{FCCF18FB-A461-4843-9188-2B820FB8B119}" destId="{BB7A2B90-5421-42A7-8EB9-51B5FE56E223}" srcOrd="0" destOrd="0" presId="urn:microsoft.com/office/officeart/2005/8/layout/orgChart1"/>
    <dgm:cxn modelId="{D0C3CBB9-4621-4368-8F39-200FE1C0ABA0}" type="presOf" srcId="{91508259-9B7D-4F8A-8D64-7A673560248A}" destId="{787A8411-F37B-41AF-92C2-40A96488650D}" srcOrd="0" destOrd="0" presId="urn:microsoft.com/office/officeart/2005/8/layout/orgChart1"/>
    <dgm:cxn modelId="{2B35DFCC-24B2-4816-A78B-477169C75CA4}" type="presOf" srcId="{F88608FF-37BB-4582-A04B-4E6AA5BAE66A}" destId="{C03C99A1-74AC-4ABF-BD3F-D31048D5906A}" srcOrd="0" destOrd="0" presId="urn:microsoft.com/office/officeart/2005/8/layout/orgChart1"/>
    <dgm:cxn modelId="{3D4576CF-B6A8-4BDC-8E4B-4334E4F9729A}" srcId="{F88608FF-37BB-4582-A04B-4E6AA5BAE66A}" destId="{75E839DF-AE7E-4EF7-8F3C-0D8BCF19CD5D}" srcOrd="0" destOrd="0" parTransId="{91508259-9B7D-4F8A-8D64-7A673560248A}" sibTransId="{2324B366-501A-4F86-A5AA-5A4A2EEC910E}"/>
    <dgm:cxn modelId="{36C9BCD0-9C95-4433-A6BB-D1C8A1A1FD32}" srcId="{B1C9B065-1527-4915-97AA-0F1FB11412EC}" destId="{F88608FF-37BB-4582-A04B-4E6AA5BAE66A}" srcOrd="0" destOrd="0" parTransId="{594DE659-4FD1-4AD5-994A-29F263E640AE}" sibTransId="{DD4EE350-9D0A-4919-A410-3FEA4B94E80C}"/>
    <dgm:cxn modelId="{86FED0DE-04F5-47B4-908C-A6A4913D6AF4}" srcId="{F88608FF-37BB-4582-A04B-4E6AA5BAE66A}" destId="{8F9D869F-414D-4F94-94FA-9B5C006B5BBB}" srcOrd="3" destOrd="0" parTransId="{0B030AB8-9E0A-4090-A71C-6D394C6D4398}" sibTransId="{0EEE7719-D703-40C6-8FCE-7CF92E622A7C}"/>
    <dgm:cxn modelId="{AC57DEE5-E12A-40BE-B8EA-BE0521442002}" type="presOf" srcId="{B1C9B065-1527-4915-97AA-0F1FB11412EC}" destId="{FE668E4C-DEA0-4532-896D-601394B44112}" srcOrd="0" destOrd="0" presId="urn:microsoft.com/office/officeart/2005/8/layout/orgChart1"/>
    <dgm:cxn modelId="{DB7FEEE9-F7F7-4BAA-9626-AFC81AE93E51}" type="presOf" srcId="{0B030AB8-9E0A-4090-A71C-6D394C6D4398}" destId="{6F305FD9-DFC5-4C3D-98F8-87A7F1140202}" srcOrd="0" destOrd="0" presId="urn:microsoft.com/office/officeart/2005/8/layout/orgChart1"/>
    <dgm:cxn modelId="{5194B5CA-FD24-40EB-BA35-6A5C994D753E}" type="presParOf" srcId="{FE668E4C-DEA0-4532-896D-601394B44112}" destId="{6869DCDD-F2EA-4D57-B757-4DD1801D1C81}" srcOrd="0" destOrd="0" presId="urn:microsoft.com/office/officeart/2005/8/layout/orgChart1"/>
    <dgm:cxn modelId="{75CC56CA-D336-42B1-90A0-8A0B6D56D36B}" type="presParOf" srcId="{6869DCDD-F2EA-4D57-B757-4DD1801D1C81}" destId="{ED38AFE3-50AB-4D9E-A114-141F4FC6114E}" srcOrd="0" destOrd="0" presId="urn:microsoft.com/office/officeart/2005/8/layout/orgChart1"/>
    <dgm:cxn modelId="{82092D89-E8D7-4CBB-B416-1CF40EC9E0C6}" type="presParOf" srcId="{ED38AFE3-50AB-4D9E-A114-141F4FC6114E}" destId="{C03C99A1-74AC-4ABF-BD3F-D31048D5906A}" srcOrd="0" destOrd="0" presId="urn:microsoft.com/office/officeart/2005/8/layout/orgChart1"/>
    <dgm:cxn modelId="{228A494B-5DDA-459F-A12C-9720B5C8D5BC}" type="presParOf" srcId="{ED38AFE3-50AB-4D9E-A114-141F4FC6114E}" destId="{6937EFBC-9175-43B3-BCD7-1051EF1911D5}" srcOrd="1" destOrd="0" presId="urn:microsoft.com/office/officeart/2005/8/layout/orgChart1"/>
    <dgm:cxn modelId="{672DD969-C0DE-44BF-94E8-10DCDBD2F497}" type="presParOf" srcId="{6869DCDD-F2EA-4D57-B757-4DD1801D1C81}" destId="{5C025171-19F2-4AD8-892B-A1A131EE819E}" srcOrd="1" destOrd="0" presId="urn:microsoft.com/office/officeart/2005/8/layout/orgChart1"/>
    <dgm:cxn modelId="{876451C0-B8B3-4FFE-A4E2-A6AB8044C2FF}" type="presParOf" srcId="{5C025171-19F2-4AD8-892B-A1A131EE819E}" destId="{A55C2E3E-2339-4840-B01E-2B0DF13325AE}" srcOrd="0" destOrd="0" presId="urn:microsoft.com/office/officeart/2005/8/layout/orgChart1"/>
    <dgm:cxn modelId="{43546ED8-C09F-4368-AB9D-8E8CE47B699C}" type="presParOf" srcId="{5C025171-19F2-4AD8-892B-A1A131EE819E}" destId="{D7D2C648-A8EB-4ACA-94BA-6B85EEC4FCA8}" srcOrd="1" destOrd="0" presId="urn:microsoft.com/office/officeart/2005/8/layout/orgChart1"/>
    <dgm:cxn modelId="{C0DE8E35-1A38-464B-8892-15C58887E7D4}" type="presParOf" srcId="{D7D2C648-A8EB-4ACA-94BA-6B85EEC4FCA8}" destId="{657A2E63-1F7B-4A66-8A0C-782FABFFDC43}" srcOrd="0" destOrd="0" presId="urn:microsoft.com/office/officeart/2005/8/layout/orgChart1"/>
    <dgm:cxn modelId="{47FB48FD-19ED-4831-BEA5-E481DA567169}" type="presParOf" srcId="{657A2E63-1F7B-4A66-8A0C-782FABFFDC43}" destId="{6ADD5D2F-DA36-445C-9C36-3F9DB8D389D0}" srcOrd="0" destOrd="0" presId="urn:microsoft.com/office/officeart/2005/8/layout/orgChart1"/>
    <dgm:cxn modelId="{9475C63F-1A1F-4779-9E67-CB89CC352CAC}" type="presParOf" srcId="{657A2E63-1F7B-4A66-8A0C-782FABFFDC43}" destId="{85E56AE4-B87E-44FC-82E8-876253642E4B}" srcOrd="1" destOrd="0" presId="urn:microsoft.com/office/officeart/2005/8/layout/orgChart1"/>
    <dgm:cxn modelId="{2F27314B-4D20-4B59-8B50-2FD0FE67AF7C}" type="presParOf" srcId="{D7D2C648-A8EB-4ACA-94BA-6B85EEC4FCA8}" destId="{CD8B08F7-2C47-4242-B37D-BE5FD2699432}" srcOrd="1" destOrd="0" presId="urn:microsoft.com/office/officeart/2005/8/layout/orgChart1"/>
    <dgm:cxn modelId="{CEA50573-05E9-4F42-80EF-91F1C054EB09}" type="presParOf" srcId="{D7D2C648-A8EB-4ACA-94BA-6B85EEC4FCA8}" destId="{2E4EB67D-237A-44CD-8F44-2B80DF9CD0B0}" srcOrd="2" destOrd="0" presId="urn:microsoft.com/office/officeart/2005/8/layout/orgChart1"/>
    <dgm:cxn modelId="{083BFD8A-808C-44FB-8E8F-DF82E94D077D}" type="presParOf" srcId="{5C025171-19F2-4AD8-892B-A1A131EE819E}" destId="{BB7A2B90-5421-42A7-8EB9-51B5FE56E223}" srcOrd="2" destOrd="0" presId="urn:microsoft.com/office/officeart/2005/8/layout/orgChart1"/>
    <dgm:cxn modelId="{369E9993-6E62-409C-B3F4-471354AC76D0}" type="presParOf" srcId="{5C025171-19F2-4AD8-892B-A1A131EE819E}" destId="{EC5702FE-A80F-43BD-9E08-28BA2C736FEC}" srcOrd="3" destOrd="0" presId="urn:microsoft.com/office/officeart/2005/8/layout/orgChart1"/>
    <dgm:cxn modelId="{25F1B6E4-268B-4513-8172-09E4D440BA67}" type="presParOf" srcId="{EC5702FE-A80F-43BD-9E08-28BA2C736FEC}" destId="{8120D46A-46DC-4AA8-B66F-3A69351A6F1F}" srcOrd="0" destOrd="0" presId="urn:microsoft.com/office/officeart/2005/8/layout/orgChart1"/>
    <dgm:cxn modelId="{DEF41260-9585-4749-A5D8-55034F74C044}" type="presParOf" srcId="{8120D46A-46DC-4AA8-B66F-3A69351A6F1F}" destId="{DAB8512A-EA51-44BF-B799-367F289F5BB6}" srcOrd="0" destOrd="0" presId="urn:microsoft.com/office/officeart/2005/8/layout/orgChart1"/>
    <dgm:cxn modelId="{54729ECE-244D-4012-AF16-1F47245A95A5}" type="presParOf" srcId="{8120D46A-46DC-4AA8-B66F-3A69351A6F1F}" destId="{A47B786A-DD51-421D-8B12-0B1D67651918}" srcOrd="1" destOrd="0" presId="urn:microsoft.com/office/officeart/2005/8/layout/orgChart1"/>
    <dgm:cxn modelId="{18382564-1808-4BB8-8188-F335F37B3528}" type="presParOf" srcId="{EC5702FE-A80F-43BD-9E08-28BA2C736FEC}" destId="{75065083-C3C1-4975-9857-B6CE393F5C73}" srcOrd="1" destOrd="0" presId="urn:microsoft.com/office/officeart/2005/8/layout/orgChart1"/>
    <dgm:cxn modelId="{3D73EDF2-43F4-4C0C-88B4-BD194ED0608F}" type="presParOf" srcId="{EC5702FE-A80F-43BD-9E08-28BA2C736FEC}" destId="{3A5445E9-06C0-4828-8E6F-D5A91D2F76DF}" srcOrd="2" destOrd="0" presId="urn:microsoft.com/office/officeart/2005/8/layout/orgChart1"/>
    <dgm:cxn modelId="{95A6A10E-62BB-41B1-BC9B-9B2B6776963E}" type="presParOf" srcId="{5C025171-19F2-4AD8-892B-A1A131EE819E}" destId="{6F305FD9-DFC5-4C3D-98F8-87A7F1140202}" srcOrd="4" destOrd="0" presId="urn:microsoft.com/office/officeart/2005/8/layout/orgChart1"/>
    <dgm:cxn modelId="{282DAE24-01D0-4976-80C1-BBFC7EA63849}" type="presParOf" srcId="{5C025171-19F2-4AD8-892B-A1A131EE819E}" destId="{955F44CF-7324-4C47-A3C3-786715C60E11}" srcOrd="5" destOrd="0" presId="urn:microsoft.com/office/officeart/2005/8/layout/orgChart1"/>
    <dgm:cxn modelId="{F8C56330-63F7-457F-BA5A-962CE90E63C0}" type="presParOf" srcId="{955F44CF-7324-4C47-A3C3-786715C60E11}" destId="{AD6BAE31-A564-430C-B332-288C9BEBBE61}" srcOrd="0" destOrd="0" presId="urn:microsoft.com/office/officeart/2005/8/layout/orgChart1"/>
    <dgm:cxn modelId="{8A81223F-F23D-45B9-8602-BA80EADCCEE2}" type="presParOf" srcId="{AD6BAE31-A564-430C-B332-288C9BEBBE61}" destId="{FCBA3F7A-F1C2-4999-98A4-DE136417F830}" srcOrd="0" destOrd="0" presId="urn:microsoft.com/office/officeart/2005/8/layout/orgChart1"/>
    <dgm:cxn modelId="{66F3A96F-2D12-4B73-BF77-8AA8C3743F62}" type="presParOf" srcId="{AD6BAE31-A564-430C-B332-288C9BEBBE61}" destId="{2502DB94-DA26-429B-A6EB-BEBA3FA78EF6}" srcOrd="1" destOrd="0" presId="urn:microsoft.com/office/officeart/2005/8/layout/orgChart1"/>
    <dgm:cxn modelId="{A5D07A3B-8AA3-47B4-8A53-25481B7D8D48}" type="presParOf" srcId="{955F44CF-7324-4C47-A3C3-786715C60E11}" destId="{B06C6BFF-378D-4B3C-8FA2-038550273907}" srcOrd="1" destOrd="0" presId="urn:microsoft.com/office/officeart/2005/8/layout/orgChart1"/>
    <dgm:cxn modelId="{2D1510B1-5C6A-4900-8E60-14BF9866C05F}" type="presParOf" srcId="{955F44CF-7324-4C47-A3C3-786715C60E11}" destId="{28B8ACBD-27CD-46C5-B928-9E9D616799C0}" srcOrd="2" destOrd="0" presId="urn:microsoft.com/office/officeart/2005/8/layout/orgChart1"/>
    <dgm:cxn modelId="{9D5C40A1-4744-4AFE-BD6E-B6C3EAF5E0BA}" type="presParOf" srcId="{6869DCDD-F2EA-4D57-B757-4DD1801D1C81}" destId="{891215A4-EC28-4846-9409-EF5C8E775D20}" srcOrd="2" destOrd="0" presId="urn:microsoft.com/office/officeart/2005/8/layout/orgChart1"/>
    <dgm:cxn modelId="{1D77DD65-E9DB-4AB9-AF05-99110F96A8FA}" type="presParOf" srcId="{891215A4-EC28-4846-9409-EF5C8E775D20}" destId="{787A8411-F37B-41AF-92C2-40A96488650D}" srcOrd="0" destOrd="0" presId="urn:microsoft.com/office/officeart/2005/8/layout/orgChart1"/>
    <dgm:cxn modelId="{94704585-1C35-4439-9EB3-5E90971002C3}" type="presParOf" srcId="{891215A4-EC28-4846-9409-EF5C8E775D20}" destId="{E775718F-E808-40B9-8E1E-90D80C044B29}" srcOrd="1" destOrd="0" presId="urn:microsoft.com/office/officeart/2005/8/layout/orgChart1"/>
    <dgm:cxn modelId="{FDE0C5CE-2FA3-4987-89D5-8312A36A8F47}" type="presParOf" srcId="{E775718F-E808-40B9-8E1E-90D80C044B29}" destId="{6D0B1955-7FA7-4090-9BE7-73B3F3815525}" srcOrd="0" destOrd="0" presId="urn:microsoft.com/office/officeart/2005/8/layout/orgChart1"/>
    <dgm:cxn modelId="{AE0D52BB-2453-43C0-941F-7B9315A22221}" type="presParOf" srcId="{6D0B1955-7FA7-4090-9BE7-73B3F3815525}" destId="{80D9904C-A3F6-4BF0-BE01-46633E72E423}" srcOrd="0" destOrd="0" presId="urn:microsoft.com/office/officeart/2005/8/layout/orgChart1"/>
    <dgm:cxn modelId="{B8EC5B1C-41D6-4325-A16F-43F8FFF319CF}" type="presParOf" srcId="{6D0B1955-7FA7-4090-9BE7-73B3F3815525}" destId="{F4C9BAB4-13DB-4FF2-9905-24040610B664}" srcOrd="1" destOrd="0" presId="urn:microsoft.com/office/officeart/2005/8/layout/orgChart1"/>
    <dgm:cxn modelId="{399F7845-0EE3-49F8-B0AA-90A6763CBC61}" type="presParOf" srcId="{E775718F-E808-40B9-8E1E-90D80C044B29}" destId="{DB8BF250-6CCD-47ED-9B18-E75F90E599CA}" srcOrd="1" destOrd="0" presId="urn:microsoft.com/office/officeart/2005/8/layout/orgChart1"/>
    <dgm:cxn modelId="{14D3A7C9-967D-4C85-A400-7C7CB9C1F2C1}" type="presParOf" srcId="{E775718F-E808-40B9-8E1E-90D80C044B29}" destId="{D0B507D3-7456-49CD-A33F-70E3353651E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5DC313-6B55-4DD1-A079-B5CABB99C562}">
      <dsp:nvSpPr>
        <dsp:cNvPr id="0" name=""/>
        <dsp:cNvSpPr/>
      </dsp:nvSpPr>
      <dsp:spPr>
        <a:xfrm>
          <a:off x="1872826" y="220133"/>
          <a:ext cx="4368800" cy="1517226"/>
        </a:xfrm>
        <a:prstGeom prst="ellipse">
          <a:avLst/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896E8F-9D97-43CA-B2CF-E08FC6985B70}">
      <dsp:nvSpPr>
        <dsp:cNvPr id="0" name=""/>
        <dsp:cNvSpPr/>
      </dsp:nvSpPr>
      <dsp:spPr>
        <a:xfrm>
          <a:off x="3640666" y="3935306"/>
          <a:ext cx="846666" cy="541866"/>
        </a:xfrm>
        <a:prstGeom prst="down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40F0862-1FD0-4268-863C-F198E5904DFF}">
      <dsp:nvSpPr>
        <dsp:cNvPr id="0" name=""/>
        <dsp:cNvSpPr/>
      </dsp:nvSpPr>
      <dsp:spPr>
        <a:xfrm>
          <a:off x="2031999" y="4368800"/>
          <a:ext cx="4064000" cy="1016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2700" kern="1200" dirty="0">
              <a:latin typeface="+mj-lt"/>
            </a:rPr>
            <a:t>Не використовуйте</a:t>
          </a:r>
          <a:br>
            <a:rPr lang="en-US" sz="2700" kern="1200" dirty="0">
              <a:latin typeface="+mj-lt"/>
            </a:rPr>
          </a:br>
          <a:r>
            <a:rPr lang="uk-UA" sz="2700" kern="1200" dirty="0">
              <a:latin typeface="+mj-lt"/>
            </a:rPr>
            <a:t> </a:t>
          </a:r>
          <a:r>
            <a:rPr lang="en-US" sz="2700" b="1" kern="1200" dirty="0">
              <a:latin typeface="+mj-lt"/>
            </a:rPr>
            <a:t>SMART ART </a:t>
          </a:r>
          <a:r>
            <a:rPr lang="uk-UA" sz="2700" kern="1200" dirty="0">
              <a:latin typeface="+mj-lt"/>
            </a:rPr>
            <a:t>ніколи</a:t>
          </a:r>
          <a:endParaRPr lang="ru-UA" sz="2700" kern="1200" dirty="0">
            <a:latin typeface="+mj-lt"/>
          </a:endParaRPr>
        </a:p>
      </dsp:txBody>
      <dsp:txXfrm>
        <a:off x="2031999" y="4368800"/>
        <a:ext cx="4064000" cy="1016000"/>
      </dsp:txXfrm>
    </dsp:sp>
    <dsp:sp modelId="{C620D4A8-7F57-4230-9F33-8914F41C2A7E}">
      <dsp:nvSpPr>
        <dsp:cNvPr id="0" name=""/>
        <dsp:cNvSpPr/>
      </dsp:nvSpPr>
      <dsp:spPr>
        <a:xfrm>
          <a:off x="3461173" y="1854538"/>
          <a:ext cx="1524000" cy="152400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2500" kern="1200" dirty="0"/>
            <a:t>ніколи</a:t>
          </a:r>
          <a:endParaRPr lang="ru-UA" sz="2500" kern="1200" dirty="0"/>
        </a:p>
      </dsp:txBody>
      <dsp:txXfrm>
        <a:off x="3684358" y="2077723"/>
        <a:ext cx="1077630" cy="1077630"/>
      </dsp:txXfrm>
    </dsp:sp>
    <dsp:sp modelId="{785DA140-E906-4DC0-92A2-60FF1C587B46}">
      <dsp:nvSpPr>
        <dsp:cNvPr id="0" name=""/>
        <dsp:cNvSpPr/>
      </dsp:nvSpPr>
      <dsp:spPr>
        <a:xfrm>
          <a:off x="2370666" y="711200"/>
          <a:ext cx="1524000" cy="152400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2500" kern="1200" dirty="0"/>
            <a:t>ніколи</a:t>
          </a:r>
          <a:endParaRPr lang="ru-UA" sz="2500" kern="1200" dirty="0"/>
        </a:p>
      </dsp:txBody>
      <dsp:txXfrm>
        <a:off x="2593851" y="934385"/>
        <a:ext cx="1077630" cy="1077630"/>
      </dsp:txXfrm>
    </dsp:sp>
    <dsp:sp modelId="{01A8E1F6-EBB0-4780-A550-7924134DA84E}">
      <dsp:nvSpPr>
        <dsp:cNvPr id="0" name=""/>
        <dsp:cNvSpPr/>
      </dsp:nvSpPr>
      <dsp:spPr>
        <a:xfrm>
          <a:off x="3928533" y="342730"/>
          <a:ext cx="1524000" cy="152400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2500" kern="1200" dirty="0"/>
            <a:t>ніколи</a:t>
          </a:r>
          <a:endParaRPr lang="ru-UA" sz="2500" kern="1200" dirty="0"/>
        </a:p>
      </dsp:txBody>
      <dsp:txXfrm>
        <a:off x="4151718" y="565915"/>
        <a:ext cx="1077630" cy="1077630"/>
      </dsp:txXfrm>
    </dsp:sp>
    <dsp:sp modelId="{E4B6DB02-40E6-4873-9EA3-7678C38DFBB8}">
      <dsp:nvSpPr>
        <dsp:cNvPr id="0" name=""/>
        <dsp:cNvSpPr/>
      </dsp:nvSpPr>
      <dsp:spPr>
        <a:xfrm>
          <a:off x="1693333" y="33866"/>
          <a:ext cx="4741333" cy="3793066"/>
        </a:xfrm>
        <a:prstGeom prst="funnel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7A8411-F37B-41AF-92C2-40A96488650D}">
      <dsp:nvSpPr>
        <dsp:cNvPr id="0" name=""/>
        <dsp:cNvSpPr/>
      </dsp:nvSpPr>
      <dsp:spPr>
        <a:xfrm>
          <a:off x="2376289" y="1616240"/>
          <a:ext cx="1687710" cy="637914"/>
        </a:xfrm>
        <a:custGeom>
          <a:avLst/>
          <a:gdLst/>
          <a:ahLst/>
          <a:cxnLst/>
          <a:rect l="0" t="0" r="0" b="0"/>
          <a:pathLst>
            <a:path>
              <a:moveTo>
                <a:pt x="1687710" y="0"/>
              </a:moveTo>
              <a:lnTo>
                <a:pt x="1687710" y="637914"/>
              </a:lnTo>
              <a:lnTo>
                <a:pt x="0" y="63791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F305FD9-DFC5-4C3D-98F8-87A7F1140202}">
      <dsp:nvSpPr>
        <dsp:cNvPr id="0" name=""/>
        <dsp:cNvSpPr/>
      </dsp:nvSpPr>
      <dsp:spPr>
        <a:xfrm>
          <a:off x="4064000" y="1616240"/>
          <a:ext cx="2875309" cy="21861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36675"/>
              </a:lnTo>
              <a:lnTo>
                <a:pt x="2875309" y="1936675"/>
              </a:lnTo>
              <a:lnTo>
                <a:pt x="2875309" y="21861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B7A2B90-5421-42A7-8EB9-51B5FE56E223}">
      <dsp:nvSpPr>
        <dsp:cNvPr id="0" name=""/>
        <dsp:cNvSpPr/>
      </dsp:nvSpPr>
      <dsp:spPr>
        <a:xfrm>
          <a:off x="4018280" y="1616240"/>
          <a:ext cx="91440" cy="218618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1861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55C2E3E-2339-4840-B01E-2B0DF13325AE}">
      <dsp:nvSpPr>
        <dsp:cNvPr id="0" name=""/>
        <dsp:cNvSpPr/>
      </dsp:nvSpPr>
      <dsp:spPr>
        <a:xfrm>
          <a:off x="1188690" y="1616240"/>
          <a:ext cx="2875309" cy="2186185"/>
        </a:xfrm>
        <a:custGeom>
          <a:avLst/>
          <a:gdLst/>
          <a:ahLst/>
          <a:cxnLst/>
          <a:rect l="0" t="0" r="0" b="0"/>
          <a:pathLst>
            <a:path>
              <a:moveTo>
                <a:pt x="2875309" y="0"/>
              </a:moveTo>
              <a:lnTo>
                <a:pt x="2875309" y="1936675"/>
              </a:lnTo>
              <a:lnTo>
                <a:pt x="0" y="1936675"/>
              </a:lnTo>
              <a:lnTo>
                <a:pt x="0" y="218618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3C99A1-74AC-4ABF-BD3F-D31048D5906A}">
      <dsp:nvSpPr>
        <dsp:cNvPr id="0" name=""/>
        <dsp:cNvSpPr/>
      </dsp:nvSpPr>
      <dsp:spPr>
        <a:xfrm>
          <a:off x="2875855" y="428096"/>
          <a:ext cx="2376289" cy="118814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XXXXXXXXXXXXXXXXXXXXXXXXX</a:t>
          </a:r>
          <a:endParaRPr lang="ru-UA" sz="1100" kern="1200" dirty="0"/>
        </a:p>
      </dsp:txBody>
      <dsp:txXfrm>
        <a:off x="2875855" y="428096"/>
        <a:ext cx="2376289" cy="1188144"/>
      </dsp:txXfrm>
    </dsp:sp>
    <dsp:sp modelId="{6ADD5D2F-DA36-445C-9C36-3F9DB8D389D0}">
      <dsp:nvSpPr>
        <dsp:cNvPr id="0" name=""/>
        <dsp:cNvSpPr/>
      </dsp:nvSpPr>
      <dsp:spPr>
        <a:xfrm>
          <a:off x="545" y="3802426"/>
          <a:ext cx="2376289" cy="118814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UA" sz="1100" kern="1200"/>
        </a:p>
      </dsp:txBody>
      <dsp:txXfrm>
        <a:off x="545" y="3802426"/>
        <a:ext cx="2376289" cy="1188144"/>
      </dsp:txXfrm>
    </dsp:sp>
    <dsp:sp modelId="{DAB8512A-EA51-44BF-B799-367F289F5BB6}">
      <dsp:nvSpPr>
        <dsp:cNvPr id="0" name=""/>
        <dsp:cNvSpPr/>
      </dsp:nvSpPr>
      <dsp:spPr>
        <a:xfrm>
          <a:off x="2875855" y="3802426"/>
          <a:ext cx="2376289" cy="118814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UA" sz="1100" kern="1200"/>
        </a:p>
      </dsp:txBody>
      <dsp:txXfrm>
        <a:off x="2875855" y="3802426"/>
        <a:ext cx="2376289" cy="1188144"/>
      </dsp:txXfrm>
    </dsp:sp>
    <dsp:sp modelId="{FCBA3F7A-F1C2-4999-98A4-DE136417F830}">
      <dsp:nvSpPr>
        <dsp:cNvPr id="0" name=""/>
        <dsp:cNvSpPr/>
      </dsp:nvSpPr>
      <dsp:spPr>
        <a:xfrm>
          <a:off x="5751165" y="3802426"/>
          <a:ext cx="2376289" cy="118814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UA" sz="1100" kern="1200"/>
        </a:p>
      </dsp:txBody>
      <dsp:txXfrm>
        <a:off x="5751165" y="3802426"/>
        <a:ext cx="2376289" cy="1188144"/>
      </dsp:txXfrm>
    </dsp:sp>
    <dsp:sp modelId="{80D9904C-A3F6-4BF0-BE01-46633E72E423}">
      <dsp:nvSpPr>
        <dsp:cNvPr id="0" name=""/>
        <dsp:cNvSpPr/>
      </dsp:nvSpPr>
      <dsp:spPr>
        <a:xfrm>
          <a:off x="0" y="1660083"/>
          <a:ext cx="2376289" cy="118814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400" kern="1200" dirty="0"/>
            <a:t>XXX</a:t>
          </a:r>
          <a:endParaRPr lang="ru-UA" sz="4400" kern="1200" dirty="0"/>
        </a:p>
      </dsp:txBody>
      <dsp:txXfrm>
        <a:off x="0" y="1660083"/>
        <a:ext cx="2376289" cy="11881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17:21:46.644"/>
    </inkml:context>
    <inkml:brush xml:id="br0">
      <inkml:brushProperty name="width" value="0.1" units="cm"/>
      <inkml:brushProperty name="height" value="0.1" units="cm"/>
      <inkml:brushProperty name="color" value="#FBAE18"/>
    </inkml:brush>
  </inkml:definitions>
  <inkml:trace contextRef="#ctx0" brushRef="#br0">22 1 24575,'-6'59'0,"0"-18"0,-4 87 0,12 234 0,7-267 0,4 0 0,3-1 0,35 107 0,-12-81 0,6-3 0,4-1 0,5-2 0,73 111 0,-67-135 0,3-2 0,4-3 0,4-3 0,3-3 0,88 72 0,526 366 0,42-59 0,-604-387 0,3-6 0,3-6 0,2-6 0,142 37 0,182 32 0,660 91 0,5-137 0,-980-70 0,759 3 0,-5-67 0,-708 32 0,-1-8 0,-2-8 0,-2-8 0,282-117 0,-304 95 0,-3-7 0,-4-7 0,-4-7 0,-4-6 0,145-129 0,-187 133 0,-5-4 0,127-163 0,-110 105 0,115-204 0,59-197 0,-30-15 0,-69 147 0,-145 323-108,157-302-1149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6-19T17:21:47.352"/>
    </inkml:context>
    <inkml:brush xml:id="br0">
      <inkml:brushProperty name="width" value="0.1" units="cm"/>
      <inkml:brushProperty name="height" value="0.1" units="cm"/>
      <inkml:brushProperty name="color" value="#FBAE18"/>
    </inkml:brush>
  </inkml:definitions>
  <inkml:trace contextRef="#ctx0" brushRef="#br0">1 1339 24575,'0'0'0,"0"0"0,2-1 0,2 0 0,0-1 0,0 1 0,-1-1 0,1 0 0,-1 0 0,0 0 0,6-5 0,9-7 0,360-294 0,-20-25 0,-354 329 0,224-219 0,101-93 0,-321 308 0,14-12 0,0 0 0,1 2 0,39-25 0,-60 42 0,1-1 0,-1 1 0,0 0 0,1 0 0,-1 0 0,1 0 0,-1 0 0,1 0 0,0 1 0,-1-1 0,1 1 0,0-1 0,-1 1 0,1 0 0,0 0 0,0 1 0,-1-1 0,1 1 0,-1-1 0,1 1 0,0 0 0,-1 0 0,1 0 0,-1 0 0,1 0 0,2 2 0,0 2 0,0 0 0,-1 1 0,0-1 0,0 0 0,0 1 0,-1 0 0,1 0 0,-1 0 0,3 12 0,10 27 0,-2 0 0,14 87 0,-1 102 0,-26-225 0,11 196 0,-21 332 0,-78 198 0,24-255-1365,56-392-546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UA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78F92F-44EE-4AFC-9216-95EC8700B21E}" type="datetimeFigureOut">
              <a:rPr lang="ru-UA" smtClean="0"/>
              <a:t>09.09.2023</a:t>
            </a:fld>
            <a:endParaRPr lang="ru-UA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UA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U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U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0075F9-96AC-4648-A39A-DD40E0F56777}" type="slidenum">
              <a:rPr lang="ru-UA" smtClean="0"/>
              <a:t>‹№›</a:t>
            </a:fld>
            <a:endParaRPr lang="ru-UA"/>
          </a:p>
        </p:txBody>
      </p:sp>
    </p:spTree>
    <p:extLst>
      <p:ext uri="{BB962C8B-B14F-4D97-AF65-F5344CB8AC3E}">
        <p14:creationId xmlns:p14="http://schemas.microsoft.com/office/powerpoint/2010/main" val="40591856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AB793D-FB5F-44CB-A465-769CD31FF93A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uk-U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21109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AB793D-FB5F-44CB-A465-769CD31FF93A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uk-U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21109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AB793D-FB5F-44CB-A465-769CD31FF93A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uk-U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07046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AB793D-FB5F-44CB-A465-769CD31FF93A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uk-U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58893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з контен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43D7CE9C-21BD-5C8E-A9FE-87992F5FA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4454685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43D7CE9C-21BD-5C8E-A9FE-87992F5FA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>
            <a:extLst>
              <a:ext uri="{FF2B5EF4-FFF2-40B4-BE49-F238E27FC236}">
                <a16:creationId xmlns:a16="http://schemas.microsoft.com/office/drawing/2014/main" id="{F8B3AA32-AEC3-491C-164F-DE89B0FDC3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4919" y="559106"/>
            <a:ext cx="10562167" cy="1080000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Заголовок для </a:t>
            </a:r>
            <a:r>
              <a:rPr lang="ru-RU" dirty="0" err="1"/>
              <a:t>дуже</a:t>
            </a:r>
            <a:r>
              <a:rPr lang="ru-RU" dirty="0"/>
              <a:t> </a:t>
            </a:r>
            <a:r>
              <a:rPr lang="ru-RU" dirty="0" err="1"/>
              <a:t>розумного</a:t>
            </a:r>
            <a:r>
              <a:rPr lang="ru-RU" dirty="0"/>
              <a:t> слайду</a:t>
            </a:r>
            <a:endParaRPr lang="ru-UA" dirty="0"/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2739835D-2FB8-2BC0-BB79-BF537C48E4C8}"/>
              </a:ext>
            </a:extLst>
          </p:cNvPr>
          <p:cNvSpPr/>
          <p:nvPr userDrawn="1"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5811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513">
          <p15:clr>
            <a:srgbClr val="FBAE40"/>
          </p15:clr>
        </p15:guide>
        <p15:guide id="3" pos="7167">
          <p15:clr>
            <a:srgbClr val="FBAE40"/>
          </p15:clr>
        </p15:guide>
        <p15:guide id="4" orient="horz" pos="3974">
          <p15:clr>
            <a:srgbClr val="FBAE40"/>
          </p15:clr>
        </p15:guide>
        <p15:guide id="5" orient="horz" pos="1026">
          <p15:clr>
            <a:srgbClr val="FBAE40"/>
          </p15:clr>
        </p15:guide>
        <p15:guide id="6" orient="horz" pos="134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 з контен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43D7CE9C-21BD-5C8E-A9FE-87992F5FA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4454685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43D7CE9C-21BD-5C8E-A9FE-87992F5FA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>
            <a:extLst>
              <a:ext uri="{FF2B5EF4-FFF2-40B4-BE49-F238E27FC236}">
                <a16:creationId xmlns:a16="http://schemas.microsoft.com/office/drawing/2014/main" id="{F8B3AA32-AEC3-491C-164F-DE89B0FDC3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4919" y="559106"/>
            <a:ext cx="10562167" cy="1080000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Заголовок для </a:t>
            </a:r>
            <a:r>
              <a:rPr lang="ru-RU" dirty="0" err="1"/>
              <a:t>дуже</a:t>
            </a:r>
            <a:r>
              <a:rPr lang="ru-RU" dirty="0"/>
              <a:t> </a:t>
            </a:r>
            <a:r>
              <a:rPr lang="ru-RU" dirty="0" err="1"/>
              <a:t>розумного</a:t>
            </a:r>
            <a:r>
              <a:rPr lang="ru-RU" dirty="0"/>
              <a:t> слайду</a:t>
            </a:r>
            <a:endParaRPr lang="ru-UA" dirty="0"/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2739835D-2FB8-2BC0-BB79-BF537C48E4C8}"/>
              </a:ext>
            </a:extLst>
          </p:cNvPr>
          <p:cNvSpPr/>
          <p:nvPr userDrawn="1"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Рисунок 3">
            <a:extLst>
              <a:ext uri="{FF2B5EF4-FFF2-40B4-BE49-F238E27FC236}">
                <a16:creationId xmlns:a16="http://schemas.microsoft.com/office/drawing/2014/main" id="{FDCB200F-5C4A-B885-74DD-DA2D1500DEE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03275" y="2133599"/>
            <a:ext cx="4177434" cy="4175125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0246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506" userDrawn="1">
          <p15:clr>
            <a:srgbClr val="FBAE40"/>
          </p15:clr>
        </p15:guide>
        <p15:guide id="3" pos="7167">
          <p15:clr>
            <a:srgbClr val="FBAE40"/>
          </p15:clr>
        </p15:guide>
        <p15:guide id="4" orient="horz" pos="3974">
          <p15:clr>
            <a:srgbClr val="FBAE40"/>
          </p15:clr>
        </p15:guide>
        <p15:guide id="5" orient="horz" pos="1026">
          <p15:clr>
            <a:srgbClr val="FBAE40"/>
          </p15:clr>
        </p15:guide>
        <p15:guide id="6" orient="horz" pos="134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з одною фразо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43D7CE9C-21BD-5C8E-A9FE-87992F5FA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843098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43D7CE9C-21BD-5C8E-A9FE-87992F5FA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>
            <a:extLst>
              <a:ext uri="{FF2B5EF4-FFF2-40B4-BE49-F238E27FC236}">
                <a16:creationId xmlns:a16="http://schemas.microsoft.com/office/drawing/2014/main" id="{F8B3AA32-AEC3-491C-164F-DE89B0FDC3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4919" y="2231923"/>
            <a:ext cx="10562167" cy="2113014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3200"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 err="1"/>
              <a:t>Дуже</a:t>
            </a:r>
            <a:r>
              <a:rPr lang="ru-RU" dirty="0"/>
              <a:t> </a:t>
            </a:r>
            <a:r>
              <a:rPr lang="ru-RU" dirty="0" err="1"/>
              <a:t>розумна</a:t>
            </a:r>
            <a:r>
              <a:rPr lang="ru-RU" dirty="0"/>
              <a:t> фраза</a:t>
            </a:r>
            <a:endParaRPr lang="ru-UA" dirty="0"/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061A4290-5CB4-0293-4DCE-B1C4BA484A1E}"/>
              </a:ext>
            </a:extLst>
          </p:cNvPr>
          <p:cNvSpPr/>
          <p:nvPr userDrawn="1"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2299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513">
          <p15:clr>
            <a:srgbClr val="FBAE40"/>
          </p15:clr>
        </p15:guide>
        <p15:guide id="3" pos="7167">
          <p15:clr>
            <a:srgbClr val="FBAE40"/>
          </p15:clr>
        </p15:guide>
        <p15:guide id="4" orient="horz" pos="397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'єкт 3" hidden="1">
            <a:extLst>
              <a:ext uri="{FF2B5EF4-FFF2-40B4-BE49-F238E27FC236}">
                <a16:creationId xmlns:a16="http://schemas.microsoft.com/office/drawing/2014/main" id="{314414CD-0BCF-455A-AB11-68D9E32F2F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86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Об'єкт 3" hidden="1">
                        <a:extLst>
                          <a:ext uri="{FF2B5EF4-FFF2-40B4-BE49-F238E27FC236}">
                            <a16:creationId xmlns:a16="http://schemas.microsoft.com/office/drawing/2014/main" id="{314414CD-0BCF-455A-AB11-68D9E32F2F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5DBEEF09-24C1-4393-8F5B-84780D9B5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3117" y="921659"/>
            <a:ext cx="10226221" cy="886397"/>
          </a:xfrm>
        </p:spPr>
        <p:txBody>
          <a:bodyPr vert="horz" wrap="square" lIns="0" tIns="0" rIns="0" bIns="0" anchor="t">
            <a:spAutoFit/>
          </a:bodyPr>
          <a:lstStyle>
            <a:lvl1pPr>
              <a:defRPr lang="ru-UA" sz="3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/>
            <a:r>
              <a:rPr lang="uk-UA" dirty="0"/>
              <a:t>Клацніть, щоб редагувати стиль зразка заголовка</a:t>
            </a:r>
            <a:endParaRPr lang="ru-UA" dirty="0"/>
          </a:p>
        </p:txBody>
      </p:sp>
    </p:spTree>
    <p:extLst>
      <p:ext uri="{BB962C8B-B14F-4D97-AF65-F5344CB8AC3E}">
        <p14:creationId xmlns:p14="http://schemas.microsoft.com/office/powerpoint/2010/main" val="440258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8044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'єкт 6" hidden="1">
            <a:extLst>
              <a:ext uri="{FF2B5EF4-FFF2-40B4-BE49-F238E27FC236}">
                <a16:creationId xmlns:a16="http://schemas.microsoft.com/office/drawing/2014/main" id="{8C65DADB-A28E-439B-8DFE-D7EFF4E755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4157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Об'єкт 6" hidden="1">
                        <a:extLst>
                          <a:ext uri="{FF2B5EF4-FFF2-40B4-BE49-F238E27FC236}">
                            <a16:creationId xmlns:a16="http://schemas.microsoft.com/office/drawing/2014/main" id="{8C65DADB-A28E-439B-8DFE-D7EFF4E755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кутник 2" hidden="1">
            <a:extLst>
              <a:ext uri="{FF2B5EF4-FFF2-40B4-BE49-F238E27FC236}">
                <a16:creationId xmlns:a16="http://schemas.microsoft.com/office/drawing/2014/main" id="{0899A24E-9493-4249-B0EC-DC1C9C456E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uk-UA" sz="2800" b="0" i="0" baseline="0" dirty="0">
              <a:latin typeface="Franklin Gothic Demi" panose="020B0703020102020204" pitchFamily="34" charset="0"/>
              <a:ea typeface="+mn-ea"/>
              <a:cs typeface="+mn-cs"/>
              <a:sym typeface="Franklin Gothic Demi" panose="020B0703020102020204" pitchFamily="34" charset="0"/>
            </a:endParaRP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C930B7F6-DAB9-4889-9D99-1EC7FADC1FBF}"/>
              </a:ext>
            </a:extLst>
          </p:cNvPr>
          <p:cNvGrpSpPr/>
          <p:nvPr userDrawn="1"/>
        </p:nvGrpSpPr>
        <p:grpSpPr>
          <a:xfrm>
            <a:off x="10068509" y="154983"/>
            <a:ext cx="1141232" cy="288000"/>
            <a:chOff x="8897138" y="424144"/>
            <a:chExt cx="1141232" cy="288000"/>
          </a:xfrm>
        </p:grpSpPr>
        <p:sp>
          <p:nvSpPr>
            <p:cNvPr id="13" name="Прямоугольник: скругленные углы 12">
              <a:extLst>
                <a:ext uri="{FF2B5EF4-FFF2-40B4-BE49-F238E27FC236}">
                  <a16:creationId xmlns:a16="http://schemas.microsoft.com/office/drawing/2014/main" id="{AF034F71-BEF5-477B-B115-DB7B4A36D206}"/>
                </a:ext>
              </a:extLst>
            </p:cNvPr>
            <p:cNvSpPr/>
            <p:nvPr/>
          </p:nvSpPr>
          <p:spPr>
            <a:xfrm rot="16200000">
              <a:off x="8897138" y="424144"/>
              <a:ext cx="288000" cy="288000"/>
            </a:xfrm>
            <a:prstGeom prst="roundRect">
              <a:avLst/>
            </a:prstGeom>
            <a:solidFill>
              <a:srgbClr val="FBAE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4" name="Прямоугольник: скругленные углы 13">
              <a:extLst>
                <a:ext uri="{FF2B5EF4-FFF2-40B4-BE49-F238E27FC236}">
                  <a16:creationId xmlns:a16="http://schemas.microsoft.com/office/drawing/2014/main" id="{BF77EF4F-D384-4360-87A7-E88D272187C0}"/>
                </a:ext>
              </a:extLst>
            </p:cNvPr>
            <p:cNvSpPr/>
            <p:nvPr/>
          </p:nvSpPr>
          <p:spPr>
            <a:xfrm rot="16200000">
              <a:off x="9323754" y="424144"/>
              <a:ext cx="288000" cy="288000"/>
            </a:xfrm>
            <a:prstGeom prst="roundRect">
              <a:avLst/>
            </a:prstGeom>
            <a:solidFill>
              <a:srgbClr val="EF76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5" name="Прямоугольник: скругленные углы 14">
              <a:extLst>
                <a:ext uri="{FF2B5EF4-FFF2-40B4-BE49-F238E27FC236}">
                  <a16:creationId xmlns:a16="http://schemas.microsoft.com/office/drawing/2014/main" id="{4D640F02-25C9-4AC4-B787-2EA2E113E5ED}"/>
                </a:ext>
              </a:extLst>
            </p:cNvPr>
            <p:cNvSpPr/>
            <p:nvPr/>
          </p:nvSpPr>
          <p:spPr>
            <a:xfrm rot="16200000">
              <a:off x="9750370" y="424144"/>
              <a:ext cx="288000" cy="288000"/>
            </a:xfrm>
            <a:prstGeom prst="roundRect">
              <a:avLst/>
            </a:prstGeom>
            <a:solidFill>
              <a:srgbClr val="EF4F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8" name="Пятиугольник 9">
            <a:extLst>
              <a:ext uri="{FF2B5EF4-FFF2-40B4-BE49-F238E27FC236}">
                <a16:creationId xmlns:a16="http://schemas.microsoft.com/office/drawing/2014/main" id="{1DFDB90F-492C-4E38-96DD-3928CCF0E309}"/>
              </a:ext>
            </a:extLst>
          </p:cNvPr>
          <p:cNvSpPr/>
          <p:nvPr userDrawn="1"/>
        </p:nvSpPr>
        <p:spPr>
          <a:xfrm rot="5400000">
            <a:off x="871910" y="105222"/>
            <a:ext cx="620708" cy="398296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tlCol="0" anchor="ctr"/>
          <a:lstStyle/>
          <a:p>
            <a:pPr algn="ctr"/>
            <a:endParaRPr lang="en-US" dirty="0">
              <a:latin typeface="Franklin Gothic Demi" panose="020B07030201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D66C753-A46E-4D52-B5FA-0B28CD893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3117" y="921659"/>
            <a:ext cx="10226221" cy="332399"/>
          </a:xfrm>
        </p:spPr>
        <p:txBody>
          <a:bodyPr vert="horz" wrap="square" lIns="0" tIns="0" rIns="0" bIns="0" anchor="t">
            <a:spAutoFit/>
          </a:bodyPr>
          <a:lstStyle>
            <a:lvl1pPr>
              <a:defRPr lang="ru-UA" sz="2400" dirty="0">
                <a:latin typeface="+mj-lt"/>
                <a:ea typeface="+mn-ea"/>
                <a:cs typeface="+mn-cs"/>
              </a:defRPr>
            </a:lvl1pPr>
          </a:lstStyle>
          <a:p>
            <a:pPr marL="0" lvl="0"/>
            <a:r>
              <a:rPr lang="uk-UA" dirty="0"/>
              <a:t>Клацніть, щоб редагувати стиль зразка заголовка</a:t>
            </a:r>
            <a:endParaRPr lang="ru-UA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487D8E07-DB2A-45E6-8A4E-CB43791BD557}"/>
              </a:ext>
            </a:extLst>
          </p:cNvPr>
          <p:cNvSpPr txBox="1">
            <a:spLocks/>
          </p:cNvSpPr>
          <p:nvPr userDrawn="1"/>
        </p:nvSpPr>
        <p:spPr>
          <a:xfrm>
            <a:off x="11196505" y="6318780"/>
            <a:ext cx="758704" cy="365125"/>
          </a:xfrm>
          <a:prstGeom prst="rect">
            <a:avLst/>
          </a:prstGeom>
        </p:spPr>
        <p:txBody>
          <a:bodyPr vert="horz" lIns="72000" tIns="0" rIns="0" bIns="0" rtlCol="0" anchor="t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158F33DB-420C-4C6B-8ADD-EC1D9E54B115}" type="slidenum">
              <a:rPr lang="uk-UA" sz="1200" b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pPr algn="l"/>
              <a:t>‹№›</a:t>
            </a:fld>
            <a:endParaRPr lang="uk-UA" sz="1200" b="0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5" name="Місце для тексту 4">
            <a:extLst>
              <a:ext uri="{FF2B5EF4-FFF2-40B4-BE49-F238E27FC236}">
                <a16:creationId xmlns:a16="http://schemas.microsoft.com/office/drawing/2014/main" id="{AA8031F0-93B1-451B-B909-18992922CE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39278" y="154983"/>
            <a:ext cx="3734451" cy="288000"/>
          </a:xfrm>
        </p:spPr>
        <p:txBody>
          <a:bodyPr lIns="0" tIns="0" rIns="0" bIns="0" anchor="ctr">
            <a:normAutofit/>
          </a:bodyPr>
          <a:lstStyle>
            <a:lvl1pPr>
              <a:buNone/>
              <a:defRPr sz="1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uk-UA" dirty="0"/>
              <a:t>ТЕМА СЛАЙДУ</a:t>
            </a:r>
            <a:endParaRPr lang="ru-UA" dirty="0"/>
          </a:p>
        </p:txBody>
      </p:sp>
      <p:sp>
        <p:nvSpPr>
          <p:cNvPr id="18" name="Місце для тексту 11">
            <a:extLst>
              <a:ext uri="{FF2B5EF4-FFF2-40B4-BE49-F238E27FC236}">
                <a16:creationId xmlns:a16="http://schemas.microsoft.com/office/drawing/2014/main" id="{2D88FDA5-9B41-48CB-8C90-BD7D765C56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83116" y="6345238"/>
            <a:ext cx="4680000" cy="365125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uk-UA" dirty="0"/>
              <a:t>Джерело</a:t>
            </a:r>
            <a:r>
              <a:rPr lang="uk-UA"/>
              <a:t>: 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19187529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061">
          <p15:clr>
            <a:srgbClr val="FBAE40"/>
          </p15:clr>
        </p15:guide>
        <p15:guide id="2" pos="619">
          <p15:clr>
            <a:srgbClr val="FBAE40"/>
          </p15:clr>
        </p15:guide>
        <p15:guide id="3" orient="horz" pos="3997">
          <p15:clr>
            <a:srgbClr val="FBAE40"/>
          </p15:clr>
        </p15:guide>
        <p15:guide id="4" orient="horz" pos="1253">
          <p15:clr>
            <a:srgbClr val="FBAE40"/>
          </p15:clr>
        </p15:guide>
        <p15:guide id="5" orient="horz" pos="4224">
          <p15:clr>
            <a:srgbClr val="A4A3A4"/>
          </p15:clr>
        </p15:guide>
        <p15:guide id="6" orient="horz" pos="1094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пови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'єкт 2" hidden="1">
            <a:extLst>
              <a:ext uri="{FF2B5EF4-FFF2-40B4-BE49-F238E27FC236}">
                <a16:creationId xmlns:a16="http://schemas.microsoft.com/office/drawing/2014/main" id="{88E1AFB8-7400-426C-A667-6C5992EA06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3718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Об'єкт 2" hidden="1">
                        <a:extLst>
                          <a:ext uri="{FF2B5EF4-FFF2-40B4-BE49-F238E27FC236}">
                            <a16:creationId xmlns:a16="http://schemas.microsoft.com/office/drawing/2014/main" id="{88E1AFB8-7400-426C-A667-6C5992EA06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Місце для тексту 15">
            <a:extLst>
              <a:ext uri="{FF2B5EF4-FFF2-40B4-BE49-F238E27FC236}">
                <a16:creationId xmlns:a16="http://schemas.microsoft.com/office/drawing/2014/main" id="{EAD13A98-2A24-48C7-8163-28473B61F0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189401"/>
            <a:ext cx="11160126" cy="6472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uk-UA" dirty="0"/>
              <a:t>Назва розділу</a:t>
            </a:r>
          </a:p>
        </p:txBody>
      </p:sp>
      <p:sp>
        <p:nvSpPr>
          <p:cNvPr id="6" name="Прямокутник 5" hidden="1">
            <a:extLst>
              <a:ext uri="{FF2B5EF4-FFF2-40B4-BE49-F238E27FC236}">
                <a16:creationId xmlns:a16="http://schemas.microsoft.com/office/drawing/2014/main" id="{BBDC09B3-8A2E-42AB-9AD8-F62010F811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uk-UA" sz="2000" b="0" i="0" baseline="0" dirty="0">
              <a:latin typeface="e-Ukraine Head LOGO" panose="00000605000000000000" pitchFamily="50" charset="-52"/>
              <a:ea typeface="+mj-ea"/>
              <a:cs typeface="Arial" panose="020B0604020202020204" pitchFamily="34" charset="0"/>
              <a:sym typeface="e-Ukraine Head LOGO" panose="00000605000000000000" pitchFamily="50" charset="-52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6B9F27C-5B70-46B1-823B-389AE386586E}"/>
              </a:ext>
            </a:extLst>
          </p:cNvPr>
          <p:cNvSpPr txBox="1">
            <a:spLocks/>
          </p:cNvSpPr>
          <p:nvPr userDrawn="1"/>
        </p:nvSpPr>
        <p:spPr>
          <a:xfrm>
            <a:off x="11857037" y="6561138"/>
            <a:ext cx="334962" cy="296862"/>
          </a:xfrm>
          <a:prstGeom prst="rect">
            <a:avLst/>
          </a:prstGeom>
        </p:spPr>
        <p:txBody>
          <a:bodyPr vert="horz" lIns="0" tIns="0" rIns="72000" bIns="720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/>
            <a:fld id="{158F33DB-420C-4C6B-8ADD-EC1D9E54B115}" type="slidenum">
              <a:rPr lang="uk-UA" sz="1000" b="0" smtClean="0">
                <a:solidFill>
                  <a:srgbClr val="003A5D"/>
                </a:solidFill>
                <a:latin typeface="e-Ukraine Head LOGO" panose="00000605000000000000" pitchFamily="50" charset="-52"/>
              </a:rPr>
              <a:pPr algn="r" rtl="0"/>
              <a:t>‹№›</a:t>
            </a:fld>
            <a:endParaRPr lang="uk-UA" sz="1000" b="0" dirty="0">
              <a:solidFill>
                <a:srgbClr val="003A5D"/>
              </a:solidFill>
              <a:latin typeface="e-Ukraine Head LOGO" panose="00000605000000000000" pitchFamily="50" charset="-52"/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FE487C30-15B5-2205-907E-A394D5063D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91154" y="2971800"/>
            <a:ext cx="8409693" cy="914400"/>
          </a:xfrm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uk-UA" dirty="0"/>
              <a:t>Назва підрозділу</a:t>
            </a:r>
          </a:p>
        </p:txBody>
      </p:sp>
    </p:spTree>
    <p:extLst>
      <p:ext uri="{BB962C8B-B14F-4D97-AF65-F5344CB8AC3E}">
        <p14:creationId xmlns:p14="http://schemas.microsoft.com/office/powerpoint/2010/main" val="1480010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119">
          <p15:clr>
            <a:srgbClr val="FBAE40"/>
          </p15:clr>
        </p15:guide>
        <p15:guide id="4" orient="horz" pos="527">
          <p15:clr>
            <a:srgbClr val="FBAE40"/>
          </p15:clr>
        </p15:guide>
        <p15:guide id="7" orient="horz" pos="42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F81898-D24C-4212-88FA-65C169501C17}" type="datetimeFigureOut">
              <a:rPr lang="ru-UA" smtClean="0"/>
              <a:t>09.09.2023</a:t>
            </a:fld>
            <a:endParaRPr lang="ru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A97019-2E89-4F1E-AFCF-9B349F589BB2}" type="slidenum">
              <a:rPr lang="ru-UA" smtClean="0"/>
              <a:t>‹№›</a:t>
            </a:fld>
            <a:endParaRPr lang="ru-UA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571FC2F1-1292-F928-E633-E5BBFA8A46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39720216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99" imgH="499" progId="TCLayout.ActiveDocument.1">
                  <p:embed/>
                </p:oleObj>
              </mc:Choice>
              <mc:Fallback>
                <p:oleObj name="think-cell Slide" r:id="rId10" imgW="499" imgH="499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571FC2F1-1292-F928-E633-E5BBFA8A46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09005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81" r:id="rId2"/>
    <p:sldLayoutId id="2147483676" r:id="rId3"/>
    <p:sldLayoutId id="2147483677" r:id="rId4"/>
    <p:sldLayoutId id="2147483678" r:id="rId5"/>
    <p:sldLayoutId id="2147483679" r:id="rId6"/>
    <p:sldLayoutId id="2147483680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4.xml"/><Relationship Id="rId4" Type="http://schemas.openxmlformats.org/officeDocument/2006/relationships/image" Target="../media/image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4" Type="http://schemas.openxmlformats.org/officeDocument/2006/relationships/image" Target="../media/image4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0.xml"/><Relationship Id="rId4" Type="http://schemas.openxmlformats.org/officeDocument/2006/relationships/image" Target="../media/image4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3.xml"/><Relationship Id="rId4" Type="http://schemas.openxmlformats.org/officeDocument/2006/relationships/image" Target="../media/image4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4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5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hyperlink" Target="https://emojipedia.org/" TargetMode="Externa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oleObject" Target="../embeddings/oleObject25.bin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4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8.xml"/><Relationship Id="rId4" Type="http://schemas.openxmlformats.org/officeDocument/2006/relationships/image" Target="../media/image4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9.xml"/><Relationship Id="rId4" Type="http://schemas.openxmlformats.org/officeDocument/2006/relationships/image" Target="../media/image4.emf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0.xml"/><Relationship Id="rId4" Type="http://schemas.openxmlformats.org/officeDocument/2006/relationships/image" Target="../media/image4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2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26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18" Type="http://schemas.openxmlformats.org/officeDocument/2006/relationships/oleObject" Target="../embeddings/oleObject32.bin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17" Type="http://schemas.openxmlformats.org/officeDocument/2006/relationships/notesSlide" Target="../notesSlides/notesSlide1.xml"/><Relationship Id="rId2" Type="http://schemas.openxmlformats.org/officeDocument/2006/relationships/tags" Target="../tags/tag46.xml"/><Relationship Id="rId16" Type="http://schemas.openxmlformats.org/officeDocument/2006/relationships/slideLayout" Target="../slideLayouts/slideLayout7.xml"/><Relationship Id="rId20" Type="http://schemas.openxmlformats.org/officeDocument/2006/relationships/chart" Target="../charts/chart1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5" Type="http://schemas.openxmlformats.org/officeDocument/2006/relationships/tags" Target="../tags/tag59.xml"/><Relationship Id="rId10" Type="http://schemas.openxmlformats.org/officeDocument/2006/relationships/tags" Target="../tags/tag54.xml"/><Relationship Id="rId19" Type="http://schemas.openxmlformats.org/officeDocument/2006/relationships/image" Target="../media/image2.emf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tags" Target="../tags/tag58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oleObject" Target="../embeddings/oleObject33.bin"/><Relationship Id="rId3" Type="http://schemas.openxmlformats.org/officeDocument/2006/relationships/tags" Target="../tags/tag62.xml"/><Relationship Id="rId21" Type="http://schemas.openxmlformats.org/officeDocument/2006/relationships/image" Target="../media/image27.png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notesSlide" Target="../notesSlides/notesSlide2.xml"/><Relationship Id="rId2" Type="http://schemas.openxmlformats.org/officeDocument/2006/relationships/tags" Target="../tags/tag61.xml"/><Relationship Id="rId16" Type="http://schemas.openxmlformats.org/officeDocument/2006/relationships/slideLayout" Target="../slideLayouts/slideLayout7.xml"/><Relationship Id="rId20" Type="http://schemas.openxmlformats.org/officeDocument/2006/relationships/chart" Target="../charts/chart2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10" Type="http://schemas.openxmlformats.org/officeDocument/2006/relationships/tags" Target="../tags/tag69.xml"/><Relationship Id="rId19" Type="http://schemas.openxmlformats.org/officeDocument/2006/relationships/image" Target="../media/image2.emf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tags" Target="../tags/tag87.xml"/><Relationship Id="rId18" Type="http://schemas.openxmlformats.org/officeDocument/2006/relationships/oleObject" Target="../embeddings/oleObject34.bin"/><Relationship Id="rId3" Type="http://schemas.openxmlformats.org/officeDocument/2006/relationships/tags" Target="../tags/tag77.xml"/><Relationship Id="rId21" Type="http://schemas.openxmlformats.org/officeDocument/2006/relationships/image" Target="../media/image27.png"/><Relationship Id="rId7" Type="http://schemas.openxmlformats.org/officeDocument/2006/relationships/tags" Target="../tags/tag81.xml"/><Relationship Id="rId12" Type="http://schemas.openxmlformats.org/officeDocument/2006/relationships/tags" Target="../tags/tag86.xml"/><Relationship Id="rId17" Type="http://schemas.openxmlformats.org/officeDocument/2006/relationships/notesSlide" Target="../notesSlides/notesSlide3.xml"/><Relationship Id="rId2" Type="http://schemas.openxmlformats.org/officeDocument/2006/relationships/tags" Target="../tags/tag76.xml"/><Relationship Id="rId16" Type="http://schemas.openxmlformats.org/officeDocument/2006/relationships/slideLayout" Target="../slideLayouts/slideLayout7.xml"/><Relationship Id="rId20" Type="http://schemas.openxmlformats.org/officeDocument/2006/relationships/chart" Target="../charts/chart3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5" Type="http://schemas.openxmlformats.org/officeDocument/2006/relationships/tags" Target="../tags/tag79.xml"/><Relationship Id="rId15" Type="http://schemas.openxmlformats.org/officeDocument/2006/relationships/tags" Target="../tags/tag89.xml"/><Relationship Id="rId10" Type="http://schemas.openxmlformats.org/officeDocument/2006/relationships/tags" Target="../tags/tag84.xml"/><Relationship Id="rId19" Type="http://schemas.openxmlformats.org/officeDocument/2006/relationships/image" Target="../media/image2.emf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tags" Target="../tags/tag88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0.png"/><Relationship Id="rId3" Type="http://schemas.openxmlformats.org/officeDocument/2006/relationships/slideLayout" Target="../slideLayouts/slideLayout7.xml"/><Relationship Id="rId7" Type="http://schemas.openxmlformats.org/officeDocument/2006/relationships/customXml" Target="../ink/ink1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10" Type="http://schemas.openxmlformats.org/officeDocument/2006/relationships/image" Target="../media/image400.png"/><Relationship Id="rId4" Type="http://schemas.openxmlformats.org/officeDocument/2006/relationships/notesSlide" Target="../notesSlides/notesSlide4.xml"/><Relationship Id="rId9" Type="http://schemas.openxmlformats.org/officeDocument/2006/relationships/customXml" Target="../ink/ink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2.xml"/><Relationship Id="rId4" Type="http://schemas.openxmlformats.org/officeDocument/2006/relationships/image" Target="../media/image4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2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2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2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7" Type="http://schemas.openxmlformats.org/officeDocument/2006/relationships/audio" Target="../media/audio1.wav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9.xml"/><Relationship Id="rId6" Type="http://schemas.openxmlformats.org/officeDocument/2006/relationships/image" Target="../media/image29.gif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.xml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1B3E4F37-698F-423B-B473-5D927AB99B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1B3E4F37-698F-423B-B473-5D927AB99B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71465413-A61B-484B-3274-3F9F60E5DEA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UA"/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68D5F1BF-947A-0F44-F59A-88E76FEA87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4920" y="2231923"/>
            <a:ext cx="9544816" cy="2113014"/>
          </a:xfrm>
        </p:spPr>
        <p:txBody>
          <a:bodyPr/>
          <a:lstStyle/>
          <a:p>
            <a:r>
              <a:rPr lang="ru-RU" sz="4800" dirty="0">
                <a:solidFill>
                  <a:schemeClr val="bg1"/>
                </a:solidFill>
              </a:rPr>
              <a:t>Алгоритм </a:t>
            </a:r>
            <a:r>
              <a:rPr lang="ru-RU" sz="4800" dirty="0" err="1">
                <a:solidFill>
                  <a:schemeClr val="bg1"/>
                </a:solidFill>
              </a:rPr>
              <a:t>роботи</a:t>
            </a:r>
            <a:r>
              <a:rPr lang="ru-RU" sz="4800" dirty="0">
                <a:solidFill>
                  <a:schemeClr val="bg1"/>
                </a:solidFill>
              </a:rPr>
              <a:t> в </a:t>
            </a:r>
            <a:r>
              <a:rPr lang="en-US" sz="4800" dirty="0">
                <a:solidFill>
                  <a:schemeClr val="bg1"/>
                </a:solidFill>
              </a:rPr>
              <a:t>PowerPoint </a:t>
            </a:r>
            <a:endParaRPr lang="ru-RU" sz="4800" dirty="0">
              <a:solidFill>
                <a:schemeClr val="bg1"/>
              </a:solidFill>
            </a:endParaRP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D366CD11-E393-D3E5-DB17-3B9C346CEB77}"/>
              </a:ext>
            </a:extLst>
          </p:cNvPr>
          <p:cNvSpPr/>
          <p:nvPr/>
        </p:nvSpPr>
        <p:spPr>
          <a:xfrm>
            <a:off x="6463314" y="549275"/>
            <a:ext cx="540328" cy="540328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dirty="0">
                <a:latin typeface="+mj-lt"/>
              </a:rPr>
              <a:t>0</a:t>
            </a:r>
            <a:endParaRPr lang="ru-UA" dirty="0">
              <a:latin typeface="+mj-lt"/>
            </a:endParaRP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5AFFE72B-B4B5-0580-154F-C04392A07F3D}"/>
              </a:ext>
            </a:extLst>
          </p:cNvPr>
          <p:cNvSpPr/>
          <p:nvPr/>
        </p:nvSpPr>
        <p:spPr>
          <a:xfrm>
            <a:off x="7099204" y="549275"/>
            <a:ext cx="540328" cy="540328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dirty="0">
                <a:latin typeface="+mj-lt"/>
              </a:rPr>
              <a:t>1</a:t>
            </a:r>
            <a:endParaRPr lang="ru-UA" dirty="0">
              <a:latin typeface="+mj-lt"/>
            </a:endParaRP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5FE7DACE-6813-BF9B-659A-4293B74087FE}"/>
              </a:ext>
            </a:extLst>
          </p:cNvPr>
          <p:cNvSpPr/>
          <p:nvPr/>
        </p:nvSpPr>
        <p:spPr>
          <a:xfrm>
            <a:off x="9642763" y="549275"/>
            <a:ext cx="1734849" cy="54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dirty="0">
                <a:solidFill>
                  <a:schemeClr val="accent1"/>
                </a:solidFill>
                <a:latin typeface="+mj-lt"/>
              </a:rPr>
              <a:t>МОДУЛЬ 4</a:t>
            </a:r>
            <a:endParaRPr lang="ru-RU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8" name="Рисунок 7" descr="Зображення, що містить текст, картинка&#10;&#10;Автоматично згенерований опис">
            <a:extLst>
              <a:ext uri="{FF2B5EF4-FFF2-40B4-BE49-F238E27FC236}">
                <a16:creationId xmlns:a16="http://schemas.microsoft.com/office/drawing/2014/main" id="{A978FE94-4F11-C0BC-E3B1-ABA9D22840C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081" y="430381"/>
            <a:ext cx="2235492" cy="865135"/>
          </a:xfrm>
          <a:prstGeom prst="rect">
            <a:avLst/>
          </a:prstGeom>
        </p:spPr>
      </p:pic>
      <p:sp>
        <p:nvSpPr>
          <p:cNvPr id="12" name="Овал 11">
            <a:extLst>
              <a:ext uri="{FF2B5EF4-FFF2-40B4-BE49-F238E27FC236}">
                <a16:creationId xmlns:a16="http://schemas.microsoft.com/office/drawing/2014/main" id="{990FB24F-163A-4FA8-0EA2-320C39A2A8C6}"/>
              </a:ext>
            </a:extLst>
          </p:cNvPr>
          <p:cNvSpPr/>
          <p:nvPr/>
        </p:nvSpPr>
        <p:spPr>
          <a:xfrm>
            <a:off x="7735094" y="549275"/>
            <a:ext cx="540328" cy="540328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dirty="0">
                <a:latin typeface="+mj-lt"/>
              </a:rPr>
              <a:t>2</a:t>
            </a:r>
            <a:endParaRPr lang="ru-UA" dirty="0">
              <a:latin typeface="+mj-lt"/>
            </a:endParaRPr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CA70F889-CBA8-64C9-3A37-80280E176B9C}"/>
              </a:ext>
            </a:extLst>
          </p:cNvPr>
          <p:cNvSpPr/>
          <p:nvPr/>
        </p:nvSpPr>
        <p:spPr>
          <a:xfrm>
            <a:off x="8370984" y="549275"/>
            <a:ext cx="540328" cy="540328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dirty="0">
                <a:latin typeface="+mj-lt"/>
              </a:rPr>
              <a:t>3</a:t>
            </a:r>
            <a:endParaRPr lang="ru-UA" dirty="0">
              <a:latin typeface="+mj-lt"/>
            </a:endParaRP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84E970ED-448F-42E6-D4D7-523B3D6E3E35}"/>
              </a:ext>
            </a:extLst>
          </p:cNvPr>
          <p:cNvSpPr/>
          <p:nvPr/>
        </p:nvSpPr>
        <p:spPr>
          <a:xfrm>
            <a:off x="9006874" y="549275"/>
            <a:ext cx="540328" cy="540328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dirty="0" err="1">
                <a:latin typeface="+mj-lt"/>
              </a:rPr>
              <a:t>дз</a:t>
            </a:r>
            <a:endParaRPr lang="ru-UA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801418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EFE17672-BE7D-9F59-A27A-F52DD40B96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uk-UA" dirty="0"/>
              <a:t>Якийсь дуже розумний слайд</a:t>
            </a:r>
            <a:endParaRPr lang="ru-UA" dirty="0"/>
          </a:p>
        </p:txBody>
      </p:sp>
    </p:spTree>
    <p:extLst>
      <p:ext uri="{BB962C8B-B14F-4D97-AF65-F5344CB8AC3E}">
        <p14:creationId xmlns:p14="http://schemas.microsoft.com/office/powerpoint/2010/main" val="7425555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'єкт 5" hidden="1">
            <a:extLst>
              <a:ext uri="{FF2B5EF4-FFF2-40B4-BE49-F238E27FC236}">
                <a16:creationId xmlns:a16="http://schemas.microsoft.com/office/drawing/2014/main" id="{45D5EBB6-39BD-444B-81C9-382FD9769B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21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Об'єкт 5" hidden="1">
                        <a:extLst>
                          <a:ext uri="{FF2B5EF4-FFF2-40B4-BE49-F238E27FC236}">
                            <a16:creationId xmlns:a16="http://schemas.microsoft.com/office/drawing/2014/main" id="{45D5EBB6-39BD-444B-81C9-382FD9769B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A9E2EE7-188F-4FDC-ABAA-76D99FC5C3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972543EE-C5EE-498C-9291-776BDFB4ED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Місце для тексту 3">
            <a:extLst>
              <a:ext uri="{FF2B5EF4-FFF2-40B4-BE49-F238E27FC236}">
                <a16:creationId xmlns:a16="http://schemas.microsoft.com/office/drawing/2014/main" id="{BEFC6E3E-2DCB-4D7E-8A84-8C04DA8112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32775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554B64-4457-450E-87F9-A52B139EA8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554B64-4457-450E-87F9-A52B139EA8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кутник 13">
            <a:extLst>
              <a:ext uri="{FF2B5EF4-FFF2-40B4-BE49-F238E27FC236}">
                <a16:creationId xmlns:a16="http://schemas.microsoft.com/office/drawing/2014/main" id="{A14FE9C0-B3BB-4470-824A-5C18DF861D3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uk-UA" sz="4800" dirty="0">
              <a:latin typeface="Franklin Gothic Heavy" panose="020B0903020102020204" pitchFamily="34" charset="0"/>
            </a:endParaRPr>
          </a:p>
        </p:txBody>
      </p:sp>
      <p:grpSp>
        <p:nvGrpSpPr>
          <p:cNvPr id="4" name="Групувати 3">
            <a:extLst>
              <a:ext uri="{FF2B5EF4-FFF2-40B4-BE49-F238E27FC236}">
                <a16:creationId xmlns:a16="http://schemas.microsoft.com/office/drawing/2014/main" id="{0E5D3BF8-F5B7-40A6-AC70-1FCE6BC0B2F0}"/>
              </a:ext>
            </a:extLst>
          </p:cNvPr>
          <p:cNvGrpSpPr/>
          <p:nvPr/>
        </p:nvGrpSpPr>
        <p:grpSpPr>
          <a:xfrm>
            <a:off x="814919" y="549275"/>
            <a:ext cx="4033215" cy="540000"/>
            <a:chOff x="4428714" y="405223"/>
            <a:chExt cx="4033215" cy="540000"/>
          </a:xfrm>
        </p:grpSpPr>
        <p:sp>
          <p:nvSpPr>
            <p:cNvPr id="2" name="Овал 1">
              <a:extLst>
                <a:ext uri="{FF2B5EF4-FFF2-40B4-BE49-F238E27FC236}">
                  <a16:creationId xmlns:a16="http://schemas.microsoft.com/office/drawing/2014/main" id="{28EA5771-CA78-48BE-8A17-314EEC0A0526}"/>
                </a:ext>
              </a:extLst>
            </p:cNvPr>
            <p:cNvSpPr/>
            <p:nvPr/>
          </p:nvSpPr>
          <p:spPr>
            <a:xfrm>
              <a:off x="6524643" y="405223"/>
              <a:ext cx="540000" cy="540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4</a:t>
              </a:r>
            </a:p>
          </p:txBody>
        </p:sp>
        <p:sp>
          <p:nvSpPr>
            <p:cNvPr id="7" name="Овал 6">
              <a:extLst>
                <a:ext uri="{FF2B5EF4-FFF2-40B4-BE49-F238E27FC236}">
                  <a16:creationId xmlns:a16="http://schemas.microsoft.com/office/drawing/2014/main" id="{EE04EC6C-E813-405C-85E0-FCBDC316F647}"/>
                </a:ext>
              </a:extLst>
            </p:cNvPr>
            <p:cNvSpPr/>
            <p:nvPr/>
          </p:nvSpPr>
          <p:spPr>
            <a:xfrm>
              <a:off x="7223286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5</a:t>
              </a:r>
            </a:p>
          </p:txBody>
        </p:sp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6648A949-B8CC-4A6D-94E5-2DFF39DC7ED4}"/>
                </a:ext>
              </a:extLst>
            </p:cNvPr>
            <p:cNvSpPr/>
            <p:nvPr/>
          </p:nvSpPr>
          <p:spPr>
            <a:xfrm>
              <a:off x="5826000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3</a:t>
              </a:r>
            </a:p>
          </p:txBody>
        </p:sp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4B191F34-4590-4925-B7D1-9BBB0BC35E6A}"/>
                </a:ext>
              </a:extLst>
            </p:cNvPr>
            <p:cNvSpPr/>
            <p:nvPr/>
          </p:nvSpPr>
          <p:spPr>
            <a:xfrm>
              <a:off x="5127357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2</a:t>
              </a:r>
            </a:p>
          </p:txBody>
        </p:sp>
        <p:sp>
          <p:nvSpPr>
            <p:cNvPr id="12" name="Овал 11">
              <a:extLst>
                <a:ext uri="{FF2B5EF4-FFF2-40B4-BE49-F238E27FC236}">
                  <a16:creationId xmlns:a16="http://schemas.microsoft.com/office/drawing/2014/main" id="{C33B1DF5-6D37-46EA-8E4C-6280EEF976E8}"/>
                </a:ext>
              </a:extLst>
            </p:cNvPr>
            <p:cNvSpPr/>
            <p:nvPr/>
          </p:nvSpPr>
          <p:spPr>
            <a:xfrm>
              <a:off x="4428714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1</a:t>
              </a:r>
            </a:p>
          </p:txBody>
        </p:sp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E9AF2337-8BDF-4A4D-8773-C8EBDD38FA86}"/>
                </a:ext>
              </a:extLst>
            </p:cNvPr>
            <p:cNvSpPr/>
            <p:nvPr/>
          </p:nvSpPr>
          <p:spPr>
            <a:xfrm>
              <a:off x="7921929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6</a:t>
              </a:r>
            </a:p>
          </p:txBody>
        </p:sp>
      </p:grpSp>
      <p:sp>
        <p:nvSpPr>
          <p:cNvPr id="3" name="Текст 2">
            <a:extLst>
              <a:ext uri="{FF2B5EF4-FFF2-40B4-BE49-F238E27FC236}">
                <a16:creationId xmlns:a16="http://schemas.microsoft.com/office/drawing/2014/main" id="{62BDA759-9989-8E39-1064-E6FB4762FB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4919" y="2231923"/>
            <a:ext cx="10562167" cy="2113014"/>
          </a:xfrm>
        </p:spPr>
        <p:txBody>
          <a:bodyPr/>
          <a:lstStyle/>
          <a:p>
            <a:r>
              <a:rPr lang="uk-UA" dirty="0">
                <a:solidFill>
                  <a:schemeClr val="bg1"/>
                </a:solidFill>
              </a:rPr>
              <a:t>Красиві шрифти</a:t>
            </a: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C7A2AC60-1E62-E622-2FB8-603A1A204365}"/>
              </a:ext>
            </a:extLst>
          </p:cNvPr>
          <p:cNvSpPr/>
          <p:nvPr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52847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'єкт 4" hidden="1">
            <a:extLst>
              <a:ext uri="{FF2B5EF4-FFF2-40B4-BE49-F238E27FC236}">
                <a16:creationId xmlns:a16="http://schemas.microsoft.com/office/drawing/2014/main" id="{5D8ADA94-0022-47FD-B11E-9EE20982B8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Об'єкт 4" hidden="1">
                        <a:extLst>
                          <a:ext uri="{FF2B5EF4-FFF2-40B4-BE49-F238E27FC236}">
                            <a16:creationId xmlns:a16="http://schemas.microsoft.com/office/drawing/2014/main" id="{5D8ADA94-0022-47FD-B11E-9EE20982B8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кутник 6" hidden="1">
            <a:extLst>
              <a:ext uri="{FF2B5EF4-FFF2-40B4-BE49-F238E27FC236}">
                <a16:creationId xmlns:a16="http://schemas.microsoft.com/office/drawing/2014/main" id="{B5FCAB56-6AE7-4B67-B5BC-639A83AFFA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2800" dirty="0">
              <a:latin typeface="Franklin Gothic Demi" panose="020B070302010202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8" name="Прямоугольник 25">
            <a:extLst>
              <a:ext uri="{FF2B5EF4-FFF2-40B4-BE49-F238E27FC236}">
                <a16:creationId xmlns:a16="http://schemas.microsoft.com/office/drawing/2014/main" id="{8E673FB6-E0FE-4DF3-8E96-F1AA425DA93E}"/>
              </a:ext>
            </a:extLst>
          </p:cNvPr>
          <p:cNvSpPr/>
          <p:nvPr/>
        </p:nvSpPr>
        <p:spPr>
          <a:xfrm>
            <a:off x="5300518" y="2362807"/>
            <a:ext cx="5105400" cy="2132387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1200"/>
              </a:spcAft>
            </a:pPr>
            <a:r>
              <a:rPr lang="uk-UA" sz="4000" dirty="0">
                <a:latin typeface="+mj-lt"/>
                <a:cs typeface="Calibri" panose="020F0502020204030204" pitchFamily="34" charset="0"/>
              </a:rPr>
              <a:t>Зроблять вашу  презентацією красивішою в</a:t>
            </a:r>
            <a:br>
              <a:rPr lang="uk-UA" sz="4000" dirty="0">
                <a:latin typeface="+mj-lt"/>
                <a:cs typeface="Calibri" panose="020F0502020204030204" pitchFamily="34" charset="0"/>
              </a:rPr>
            </a:br>
            <a:r>
              <a:rPr lang="uk-UA" sz="4000" dirty="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мільйон разів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14DAFB0-A196-4299-844E-BB0478CC9D7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5530" y="1481138"/>
            <a:ext cx="3381375" cy="389572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Овал 1">
            <a:extLst>
              <a:ext uri="{FF2B5EF4-FFF2-40B4-BE49-F238E27FC236}">
                <a16:creationId xmlns:a16="http://schemas.microsoft.com/office/drawing/2014/main" id="{3ED88575-2380-51E8-F77D-6228906CA691}"/>
              </a:ext>
            </a:extLst>
          </p:cNvPr>
          <p:cNvSpPr/>
          <p:nvPr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25733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'єкт 4" hidden="1">
            <a:extLst>
              <a:ext uri="{FF2B5EF4-FFF2-40B4-BE49-F238E27FC236}">
                <a16:creationId xmlns:a16="http://schemas.microsoft.com/office/drawing/2014/main" id="{5D8ADA94-0022-47FD-B11E-9EE20982B8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Об'єкт 4" hidden="1">
                        <a:extLst>
                          <a:ext uri="{FF2B5EF4-FFF2-40B4-BE49-F238E27FC236}">
                            <a16:creationId xmlns:a16="http://schemas.microsoft.com/office/drawing/2014/main" id="{5D8ADA94-0022-47FD-B11E-9EE20982B8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кутник 6" hidden="1">
            <a:extLst>
              <a:ext uri="{FF2B5EF4-FFF2-40B4-BE49-F238E27FC236}">
                <a16:creationId xmlns:a16="http://schemas.microsoft.com/office/drawing/2014/main" id="{B5FCAB56-6AE7-4B67-B5BC-639A83AFFA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2800" dirty="0">
              <a:latin typeface="Franklin Gothic Demi" panose="020B070302010202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8" name="Прямоугольник 25">
            <a:extLst>
              <a:ext uri="{FF2B5EF4-FFF2-40B4-BE49-F238E27FC236}">
                <a16:creationId xmlns:a16="http://schemas.microsoft.com/office/drawing/2014/main" id="{8E673FB6-E0FE-4DF3-8E96-F1AA425DA93E}"/>
              </a:ext>
            </a:extLst>
          </p:cNvPr>
          <p:cNvSpPr/>
          <p:nvPr/>
        </p:nvSpPr>
        <p:spPr>
          <a:xfrm>
            <a:off x="5300518" y="2362807"/>
            <a:ext cx="5105400" cy="2132387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1200"/>
              </a:spcAft>
            </a:pPr>
            <a:r>
              <a:rPr lang="en-US" sz="11500" dirty="0">
                <a:latin typeface="Slime Yogurt Demo" pitchFamily="50" charset="0"/>
                <a:cs typeface="Calibri" panose="020F0502020204030204" pitchFamily="34" charset="0"/>
              </a:rPr>
              <a:t>Slime Yogurt</a:t>
            </a:r>
            <a:endParaRPr lang="uk-UA" sz="11500" dirty="0">
              <a:solidFill>
                <a:schemeClr val="accent1"/>
              </a:solidFill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14DAFB0-A196-4299-844E-BB0478CC9D7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5530" y="1481138"/>
            <a:ext cx="3381375" cy="389572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Овал 1">
            <a:extLst>
              <a:ext uri="{FF2B5EF4-FFF2-40B4-BE49-F238E27FC236}">
                <a16:creationId xmlns:a16="http://schemas.microsoft.com/office/drawing/2014/main" id="{3ED88575-2380-51E8-F77D-6228906CA691}"/>
              </a:ext>
            </a:extLst>
          </p:cNvPr>
          <p:cNvSpPr/>
          <p:nvPr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53441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554B64-4457-450E-87F9-A52B139EA8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554B64-4457-450E-87F9-A52B139EA8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кутник 13">
            <a:extLst>
              <a:ext uri="{FF2B5EF4-FFF2-40B4-BE49-F238E27FC236}">
                <a16:creationId xmlns:a16="http://schemas.microsoft.com/office/drawing/2014/main" id="{A14FE9C0-B3BB-4470-824A-5C18DF861D3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uk-UA" sz="4800" dirty="0">
              <a:latin typeface="Franklin Gothic Heavy" panose="020B0903020102020204" pitchFamily="34" charset="0"/>
            </a:endParaRPr>
          </a:p>
        </p:txBody>
      </p:sp>
      <p:grpSp>
        <p:nvGrpSpPr>
          <p:cNvPr id="4" name="Групувати 3">
            <a:extLst>
              <a:ext uri="{FF2B5EF4-FFF2-40B4-BE49-F238E27FC236}">
                <a16:creationId xmlns:a16="http://schemas.microsoft.com/office/drawing/2014/main" id="{0E5D3BF8-F5B7-40A6-AC70-1FCE6BC0B2F0}"/>
              </a:ext>
            </a:extLst>
          </p:cNvPr>
          <p:cNvGrpSpPr/>
          <p:nvPr/>
        </p:nvGrpSpPr>
        <p:grpSpPr>
          <a:xfrm>
            <a:off x="814919" y="549275"/>
            <a:ext cx="4033215" cy="540000"/>
            <a:chOff x="4428714" y="405223"/>
            <a:chExt cx="4033215" cy="540000"/>
          </a:xfrm>
        </p:grpSpPr>
        <p:sp>
          <p:nvSpPr>
            <p:cNvPr id="2" name="Овал 1">
              <a:extLst>
                <a:ext uri="{FF2B5EF4-FFF2-40B4-BE49-F238E27FC236}">
                  <a16:creationId xmlns:a16="http://schemas.microsoft.com/office/drawing/2014/main" id="{28EA5771-CA78-48BE-8A17-314EEC0A0526}"/>
                </a:ext>
              </a:extLst>
            </p:cNvPr>
            <p:cNvSpPr/>
            <p:nvPr/>
          </p:nvSpPr>
          <p:spPr>
            <a:xfrm>
              <a:off x="6524643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4</a:t>
              </a:r>
            </a:p>
          </p:txBody>
        </p:sp>
        <p:sp>
          <p:nvSpPr>
            <p:cNvPr id="7" name="Овал 6">
              <a:extLst>
                <a:ext uri="{FF2B5EF4-FFF2-40B4-BE49-F238E27FC236}">
                  <a16:creationId xmlns:a16="http://schemas.microsoft.com/office/drawing/2014/main" id="{EE04EC6C-E813-405C-85E0-FCBDC316F647}"/>
                </a:ext>
              </a:extLst>
            </p:cNvPr>
            <p:cNvSpPr/>
            <p:nvPr/>
          </p:nvSpPr>
          <p:spPr>
            <a:xfrm>
              <a:off x="7223286" y="405223"/>
              <a:ext cx="540000" cy="540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5</a:t>
              </a:r>
            </a:p>
          </p:txBody>
        </p:sp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6648A949-B8CC-4A6D-94E5-2DFF39DC7ED4}"/>
                </a:ext>
              </a:extLst>
            </p:cNvPr>
            <p:cNvSpPr/>
            <p:nvPr/>
          </p:nvSpPr>
          <p:spPr>
            <a:xfrm>
              <a:off x="5826000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3</a:t>
              </a:r>
            </a:p>
          </p:txBody>
        </p:sp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4B191F34-4590-4925-B7D1-9BBB0BC35E6A}"/>
                </a:ext>
              </a:extLst>
            </p:cNvPr>
            <p:cNvSpPr/>
            <p:nvPr/>
          </p:nvSpPr>
          <p:spPr>
            <a:xfrm>
              <a:off x="5127357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2</a:t>
              </a:r>
            </a:p>
          </p:txBody>
        </p:sp>
        <p:sp>
          <p:nvSpPr>
            <p:cNvPr id="12" name="Овал 11">
              <a:extLst>
                <a:ext uri="{FF2B5EF4-FFF2-40B4-BE49-F238E27FC236}">
                  <a16:creationId xmlns:a16="http://schemas.microsoft.com/office/drawing/2014/main" id="{C33B1DF5-6D37-46EA-8E4C-6280EEF976E8}"/>
                </a:ext>
              </a:extLst>
            </p:cNvPr>
            <p:cNvSpPr/>
            <p:nvPr/>
          </p:nvSpPr>
          <p:spPr>
            <a:xfrm>
              <a:off x="4428714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1</a:t>
              </a:r>
            </a:p>
          </p:txBody>
        </p:sp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E9AF2337-8BDF-4A4D-8773-C8EBDD38FA86}"/>
                </a:ext>
              </a:extLst>
            </p:cNvPr>
            <p:cNvSpPr/>
            <p:nvPr/>
          </p:nvSpPr>
          <p:spPr>
            <a:xfrm>
              <a:off x="7921929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6</a:t>
              </a:r>
            </a:p>
          </p:txBody>
        </p:sp>
      </p:grpSp>
      <p:sp>
        <p:nvSpPr>
          <p:cNvPr id="3" name="Текст 2">
            <a:extLst>
              <a:ext uri="{FF2B5EF4-FFF2-40B4-BE49-F238E27FC236}">
                <a16:creationId xmlns:a16="http://schemas.microsoft.com/office/drawing/2014/main" id="{62BDA759-9989-8E39-1064-E6FB4762FB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4919" y="2231923"/>
            <a:ext cx="10562167" cy="2113014"/>
          </a:xfrm>
        </p:spPr>
        <p:txBody>
          <a:bodyPr/>
          <a:lstStyle/>
          <a:p>
            <a:r>
              <a:rPr lang="uk-UA" dirty="0">
                <a:solidFill>
                  <a:schemeClr val="bg1"/>
                </a:solidFill>
              </a:rPr>
              <a:t>Красиві кольори</a:t>
            </a: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C7A2AC60-1E62-E622-2FB8-603A1A204365}"/>
              </a:ext>
            </a:extLst>
          </p:cNvPr>
          <p:cNvSpPr/>
          <p:nvPr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33132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'єкт 4" hidden="1">
            <a:extLst>
              <a:ext uri="{FF2B5EF4-FFF2-40B4-BE49-F238E27FC236}">
                <a16:creationId xmlns:a16="http://schemas.microsoft.com/office/drawing/2014/main" id="{5D8ADA94-0022-47FD-B11E-9EE20982B8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Об'єкт 4" hidden="1">
                        <a:extLst>
                          <a:ext uri="{FF2B5EF4-FFF2-40B4-BE49-F238E27FC236}">
                            <a16:creationId xmlns:a16="http://schemas.microsoft.com/office/drawing/2014/main" id="{5D8ADA94-0022-47FD-B11E-9EE20982B8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кутник 6" hidden="1">
            <a:extLst>
              <a:ext uri="{FF2B5EF4-FFF2-40B4-BE49-F238E27FC236}">
                <a16:creationId xmlns:a16="http://schemas.microsoft.com/office/drawing/2014/main" id="{B5FCAB56-6AE7-4B67-B5BC-639A83AFFA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2800" dirty="0">
              <a:latin typeface="Franklin Gothic Demi" panose="020B070302010202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8" name="Прямоугольник 25">
            <a:extLst>
              <a:ext uri="{FF2B5EF4-FFF2-40B4-BE49-F238E27FC236}">
                <a16:creationId xmlns:a16="http://schemas.microsoft.com/office/drawing/2014/main" id="{8E673FB6-E0FE-4DF3-8E96-F1AA425DA93E}"/>
              </a:ext>
            </a:extLst>
          </p:cNvPr>
          <p:cNvSpPr/>
          <p:nvPr/>
        </p:nvSpPr>
        <p:spPr>
          <a:xfrm>
            <a:off x="5300518" y="2362807"/>
            <a:ext cx="5105400" cy="2132387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1200"/>
              </a:spcAft>
            </a:pPr>
            <a:r>
              <a:rPr lang="uk-UA" sz="4000" dirty="0">
                <a:latin typeface="+mj-lt"/>
                <a:cs typeface="Calibri" panose="020F0502020204030204" pitchFamily="34" charset="0"/>
              </a:rPr>
              <a:t>Зроблять вашу  презентацією красивішою в</a:t>
            </a:r>
            <a:br>
              <a:rPr lang="uk-UA" sz="4000" dirty="0">
                <a:latin typeface="+mj-lt"/>
                <a:cs typeface="Calibri" panose="020F0502020204030204" pitchFamily="34" charset="0"/>
              </a:rPr>
            </a:br>
            <a:r>
              <a:rPr lang="uk-UA" sz="4000" dirty="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мільйон разів</a:t>
            </a:r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3ED88575-2380-51E8-F77D-6228906CA691}"/>
              </a:ext>
            </a:extLst>
          </p:cNvPr>
          <p:cNvSpPr/>
          <p:nvPr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4D2F5E3-00BC-895A-0BFB-224396A4B2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8325" y="2162175"/>
            <a:ext cx="3705225" cy="253365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542074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2022 Color Trends: The Year's Top Colors – Shutterstock">
            <a:extLst>
              <a:ext uri="{FF2B5EF4-FFF2-40B4-BE49-F238E27FC236}">
                <a16:creationId xmlns:a16="http://schemas.microsoft.com/office/drawing/2014/main" id="{D09AA42E-F29B-A4A6-DD39-1A005E87ED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3364" y="1018309"/>
            <a:ext cx="5486400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FC8CE2F-F2DC-5CEA-04FB-91B1236C791F}"/>
              </a:ext>
            </a:extLst>
          </p:cNvPr>
          <p:cNvSpPr/>
          <p:nvPr/>
        </p:nvSpPr>
        <p:spPr>
          <a:xfrm>
            <a:off x="924790" y="1059873"/>
            <a:ext cx="1704109" cy="914400"/>
          </a:xfrm>
          <a:prstGeom prst="rect">
            <a:avLst/>
          </a:prstGeom>
          <a:solidFill>
            <a:srgbClr val="EA967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#EA967A</a:t>
            </a:r>
            <a:endParaRPr lang="ru-UA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4DE8E46-5DB0-7D1A-04D7-0EA3CBA21585}"/>
              </a:ext>
            </a:extLst>
          </p:cNvPr>
          <p:cNvSpPr/>
          <p:nvPr/>
        </p:nvSpPr>
        <p:spPr>
          <a:xfrm>
            <a:off x="924790" y="2254827"/>
            <a:ext cx="1704109" cy="914400"/>
          </a:xfrm>
          <a:prstGeom prst="rect">
            <a:avLst/>
          </a:prstGeom>
          <a:solidFill>
            <a:srgbClr val="7F01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#7F017F</a:t>
            </a:r>
            <a:endParaRPr lang="ru-UA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D6DCD5B-C1F5-0106-4EB7-A00AEEB6DC8E}"/>
              </a:ext>
            </a:extLst>
          </p:cNvPr>
          <p:cNvSpPr/>
          <p:nvPr/>
        </p:nvSpPr>
        <p:spPr>
          <a:xfrm>
            <a:off x="924790" y="3429000"/>
            <a:ext cx="1704109" cy="914400"/>
          </a:xfrm>
          <a:prstGeom prst="rect">
            <a:avLst/>
          </a:prstGeom>
          <a:solidFill>
            <a:srgbClr val="DC709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#DC7092</a:t>
            </a:r>
            <a:endParaRPr lang="ru-UA" dirty="0"/>
          </a:p>
        </p:txBody>
      </p:sp>
    </p:spTree>
    <p:extLst>
      <p:ext uri="{BB962C8B-B14F-4D97-AF65-F5344CB8AC3E}">
        <p14:creationId xmlns:p14="http://schemas.microsoft.com/office/powerpoint/2010/main" val="6648302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554B64-4457-450E-87F9-A52B139EA8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554B64-4457-450E-87F9-A52B139EA8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кутник 13">
            <a:extLst>
              <a:ext uri="{FF2B5EF4-FFF2-40B4-BE49-F238E27FC236}">
                <a16:creationId xmlns:a16="http://schemas.microsoft.com/office/drawing/2014/main" id="{A14FE9C0-B3BB-4470-824A-5C18DF861D3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uk-UA" sz="4800" dirty="0">
              <a:latin typeface="Franklin Gothic Heavy" panose="020B0903020102020204" pitchFamily="34" charset="0"/>
            </a:endParaRPr>
          </a:p>
        </p:txBody>
      </p:sp>
      <p:grpSp>
        <p:nvGrpSpPr>
          <p:cNvPr id="4" name="Групувати 3">
            <a:extLst>
              <a:ext uri="{FF2B5EF4-FFF2-40B4-BE49-F238E27FC236}">
                <a16:creationId xmlns:a16="http://schemas.microsoft.com/office/drawing/2014/main" id="{0E5D3BF8-F5B7-40A6-AC70-1FCE6BC0B2F0}"/>
              </a:ext>
            </a:extLst>
          </p:cNvPr>
          <p:cNvGrpSpPr/>
          <p:nvPr/>
        </p:nvGrpSpPr>
        <p:grpSpPr>
          <a:xfrm>
            <a:off x="814919" y="549275"/>
            <a:ext cx="4033215" cy="540000"/>
            <a:chOff x="4428714" y="405223"/>
            <a:chExt cx="4033215" cy="540000"/>
          </a:xfrm>
        </p:grpSpPr>
        <p:sp>
          <p:nvSpPr>
            <p:cNvPr id="2" name="Овал 1">
              <a:extLst>
                <a:ext uri="{FF2B5EF4-FFF2-40B4-BE49-F238E27FC236}">
                  <a16:creationId xmlns:a16="http://schemas.microsoft.com/office/drawing/2014/main" id="{28EA5771-CA78-48BE-8A17-314EEC0A0526}"/>
                </a:ext>
              </a:extLst>
            </p:cNvPr>
            <p:cNvSpPr/>
            <p:nvPr/>
          </p:nvSpPr>
          <p:spPr>
            <a:xfrm>
              <a:off x="6524643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4</a:t>
              </a:r>
            </a:p>
          </p:txBody>
        </p:sp>
        <p:sp>
          <p:nvSpPr>
            <p:cNvPr id="7" name="Овал 6">
              <a:extLst>
                <a:ext uri="{FF2B5EF4-FFF2-40B4-BE49-F238E27FC236}">
                  <a16:creationId xmlns:a16="http://schemas.microsoft.com/office/drawing/2014/main" id="{EE04EC6C-E813-405C-85E0-FCBDC316F647}"/>
                </a:ext>
              </a:extLst>
            </p:cNvPr>
            <p:cNvSpPr/>
            <p:nvPr/>
          </p:nvSpPr>
          <p:spPr>
            <a:xfrm>
              <a:off x="7223286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5</a:t>
              </a:r>
            </a:p>
          </p:txBody>
        </p:sp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6648A949-B8CC-4A6D-94E5-2DFF39DC7ED4}"/>
                </a:ext>
              </a:extLst>
            </p:cNvPr>
            <p:cNvSpPr/>
            <p:nvPr/>
          </p:nvSpPr>
          <p:spPr>
            <a:xfrm>
              <a:off x="5826000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3</a:t>
              </a:r>
            </a:p>
          </p:txBody>
        </p:sp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4B191F34-4590-4925-B7D1-9BBB0BC35E6A}"/>
                </a:ext>
              </a:extLst>
            </p:cNvPr>
            <p:cNvSpPr/>
            <p:nvPr/>
          </p:nvSpPr>
          <p:spPr>
            <a:xfrm>
              <a:off x="5127357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2</a:t>
              </a:r>
            </a:p>
          </p:txBody>
        </p:sp>
        <p:sp>
          <p:nvSpPr>
            <p:cNvPr id="12" name="Овал 11">
              <a:extLst>
                <a:ext uri="{FF2B5EF4-FFF2-40B4-BE49-F238E27FC236}">
                  <a16:creationId xmlns:a16="http://schemas.microsoft.com/office/drawing/2014/main" id="{C33B1DF5-6D37-46EA-8E4C-6280EEF976E8}"/>
                </a:ext>
              </a:extLst>
            </p:cNvPr>
            <p:cNvSpPr/>
            <p:nvPr/>
          </p:nvSpPr>
          <p:spPr>
            <a:xfrm>
              <a:off x="4428714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1</a:t>
              </a:r>
            </a:p>
          </p:txBody>
        </p:sp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E9AF2337-8BDF-4A4D-8773-C8EBDD38FA86}"/>
                </a:ext>
              </a:extLst>
            </p:cNvPr>
            <p:cNvSpPr/>
            <p:nvPr/>
          </p:nvSpPr>
          <p:spPr>
            <a:xfrm>
              <a:off x="7921929" y="405223"/>
              <a:ext cx="540000" cy="540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6</a:t>
              </a:r>
            </a:p>
          </p:txBody>
        </p:sp>
      </p:grpSp>
      <p:sp>
        <p:nvSpPr>
          <p:cNvPr id="3" name="Текст 2">
            <a:extLst>
              <a:ext uri="{FF2B5EF4-FFF2-40B4-BE49-F238E27FC236}">
                <a16:creationId xmlns:a16="http://schemas.microsoft.com/office/drawing/2014/main" id="{62BDA759-9989-8E39-1064-E6FB4762FB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4919" y="2231923"/>
            <a:ext cx="10562167" cy="2113014"/>
          </a:xfrm>
        </p:spPr>
        <p:txBody>
          <a:bodyPr/>
          <a:lstStyle/>
          <a:p>
            <a:r>
              <a:rPr lang="uk-UA" dirty="0">
                <a:solidFill>
                  <a:schemeClr val="bg1"/>
                </a:solidFill>
              </a:rPr>
              <a:t>Красиві іконки</a:t>
            </a: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C7A2AC60-1E62-E622-2FB8-603A1A204365}"/>
              </a:ext>
            </a:extLst>
          </p:cNvPr>
          <p:cNvSpPr/>
          <p:nvPr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56565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BBED916-4171-464C-40AE-28E6F38BDE2C}"/>
              </a:ext>
            </a:extLst>
          </p:cNvPr>
          <p:cNvGrpSpPr/>
          <p:nvPr/>
        </p:nvGrpSpPr>
        <p:grpSpPr>
          <a:xfrm>
            <a:off x="2772590" y="2529000"/>
            <a:ext cx="6646820" cy="1800000"/>
            <a:chOff x="3097554" y="2286000"/>
            <a:chExt cx="6646820" cy="1800000"/>
          </a:xfrm>
        </p:grpSpPr>
        <p:pic>
          <p:nvPicPr>
            <p:cNvPr id="3" name="Рисунок 2" descr="Африка со сплошной заливкой">
              <a:extLst>
                <a:ext uri="{FF2B5EF4-FFF2-40B4-BE49-F238E27FC236}">
                  <a16:creationId xmlns:a16="http://schemas.microsoft.com/office/drawing/2014/main" id="{9FFF5CB3-09CD-78AB-4325-CA1031F0322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520964" y="2286000"/>
              <a:ext cx="1800000" cy="1800000"/>
            </a:xfrm>
            <a:prstGeom prst="rect">
              <a:avLst/>
            </a:prstGeom>
          </p:spPr>
        </p:pic>
        <p:pic>
          <p:nvPicPr>
            <p:cNvPr id="5" name="Рисунок 4" descr="Сигнал будильника со сплошной заливкой">
              <a:extLst>
                <a:ext uri="{FF2B5EF4-FFF2-40B4-BE49-F238E27FC236}">
                  <a16:creationId xmlns:a16="http://schemas.microsoft.com/office/drawing/2014/main" id="{2CED7707-EE33-6897-1D60-4C925D41D60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097554" y="2286000"/>
              <a:ext cx="1800000" cy="1800000"/>
            </a:xfrm>
            <a:prstGeom prst="rect">
              <a:avLst/>
            </a:prstGeom>
          </p:spPr>
        </p:pic>
        <p:pic>
          <p:nvPicPr>
            <p:cNvPr id="7" name="Рисунок 6" descr="Авокадо со сплошной заливкой">
              <a:extLst>
                <a:ext uri="{FF2B5EF4-FFF2-40B4-BE49-F238E27FC236}">
                  <a16:creationId xmlns:a16="http://schemas.microsoft.com/office/drawing/2014/main" id="{844801E7-0FF5-ABEA-602F-B7E713C6D02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944374" y="2286000"/>
              <a:ext cx="1800000" cy="180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694774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576AE79-652B-18A8-31D9-28C2BC3EA1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A576AE79-652B-18A8-31D9-28C2BC3EA1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Текст 4">
            <a:extLst>
              <a:ext uri="{FF2B5EF4-FFF2-40B4-BE49-F238E27FC236}">
                <a16:creationId xmlns:a16="http://schemas.microsoft.com/office/drawing/2014/main" id="{805F823C-4B4D-4EC8-15D7-D1C57874B9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err="1">
                <a:solidFill>
                  <a:schemeClr val="accent1"/>
                </a:solidFill>
              </a:rPr>
              <a:t>Що</a:t>
            </a:r>
            <a:r>
              <a:rPr lang="ru-RU" dirty="0">
                <a:solidFill>
                  <a:schemeClr val="accent1"/>
                </a:solidFill>
              </a:rPr>
              <a:t> я </a:t>
            </a:r>
            <a:r>
              <a:rPr lang="ru-RU" dirty="0" err="1">
                <a:solidFill>
                  <a:schemeClr val="accent1"/>
                </a:solidFill>
              </a:rPr>
              <a:t>використовую</a:t>
            </a:r>
            <a:r>
              <a:rPr lang="ru-RU" dirty="0">
                <a:solidFill>
                  <a:schemeClr val="accent1"/>
                </a:solidFill>
              </a:rPr>
              <a:t> в Power Point</a:t>
            </a:r>
          </a:p>
        </p:txBody>
      </p:sp>
      <p:sp>
        <p:nvSpPr>
          <p:cNvPr id="9" name="Текст 1">
            <a:extLst>
              <a:ext uri="{FF2B5EF4-FFF2-40B4-BE49-F238E27FC236}">
                <a16:creationId xmlns:a16="http://schemas.microsoft.com/office/drawing/2014/main" id="{C79EB7FD-E4EE-930B-9FB4-B72F4FD018B7}"/>
              </a:ext>
            </a:extLst>
          </p:cNvPr>
          <p:cNvSpPr txBox="1">
            <a:spLocks/>
          </p:cNvSpPr>
          <p:nvPr/>
        </p:nvSpPr>
        <p:spPr>
          <a:xfrm>
            <a:off x="814387" y="2133600"/>
            <a:ext cx="8038667" cy="211301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Aft>
                <a:spcPts val="2400"/>
              </a:spcAft>
              <a:buFont typeface="+mj-lt"/>
              <a:buAutoNum type="arabicPeriod"/>
            </a:pPr>
            <a:r>
              <a:rPr lang="ru-RU" sz="2400" dirty="0" err="1"/>
              <a:t>Гарячі</a:t>
            </a:r>
            <a:r>
              <a:rPr lang="ru-RU" sz="2400" dirty="0"/>
              <a:t> </a:t>
            </a:r>
            <a:r>
              <a:rPr lang="ru-RU" sz="2400" dirty="0" err="1"/>
              <a:t>клавіші</a:t>
            </a:r>
            <a:endParaRPr lang="ru-RU" sz="2400" dirty="0"/>
          </a:p>
          <a:p>
            <a:pPr marL="457200" indent="-457200">
              <a:spcAft>
                <a:spcPts val="2400"/>
              </a:spcAft>
              <a:buFont typeface="+mj-lt"/>
              <a:buAutoNum type="arabicPeriod"/>
            </a:pPr>
            <a:r>
              <a:rPr lang="ru-RU" sz="2400" dirty="0"/>
              <a:t>Панель </a:t>
            </a:r>
            <a:r>
              <a:rPr lang="ru-RU" sz="2400" dirty="0" err="1"/>
              <a:t>швидкого</a:t>
            </a:r>
            <a:r>
              <a:rPr lang="ru-RU" sz="2400" dirty="0"/>
              <a:t> доступу</a:t>
            </a:r>
          </a:p>
          <a:p>
            <a:pPr marL="457200" indent="-457200">
              <a:spcAft>
                <a:spcPts val="2400"/>
              </a:spcAft>
              <a:buFont typeface="+mj-lt"/>
              <a:buAutoNum type="arabicPeriod"/>
            </a:pPr>
            <a:r>
              <a:rPr lang="ru-RU" sz="2400" dirty="0" err="1"/>
              <a:t>Зразки</a:t>
            </a:r>
            <a:r>
              <a:rPr lang="ru-RU" sz="2400" dirty="0"/>
              <a:t> </a:t>
            </a:r>
            <a:r>
              <a:rPr lang="ru-RU" sz="2400" dirty="0" err="1"/>
              <a:t>слайдів</a:t>
            </a:r>
            <a:r>
              <a:rPr lang="ru-RU" sz="2400" dirty="0"/>
              <a:t> і </a:t>
            </a:r>
            <a:r>
              <a:rPr lang="ru-RU" sz="2400" dirty="0" err="1"/>
              <a:t>напрямні</a:t>
            </a:r>
            <a:endParaRPr lang="ru-RU" sz="2400" dirty="0"/>
          </a:p>
          <a:p>
            <a:pPr marL="457200" indent="-457200">
              <a:spcAft>
                <a:spcPts val="2400"/>
              </a:spcAft>
              <a:buFont typeface="+mj-lt"/>
              <a:buAutoNum type="arabicPeriod"/>
            </a:pPr>
            <a:r>
              <a:rPr lang="ru-RU" sz="2400" dirty="0" err="1"/>
              <a:t>Красиві</a:t>
            </a:r>
            <a:r>
              <a:rPr lang="ru-RU" sz="2400" dirty="0"/>
              <a:t> </a:t>
            </a:r>
            <a:r>
              <a:rPr lang="ru-RU" sz="2400" dirty="0" err="1"/>
              <a:t>шрифти</a:t>
            </a:r>
            <a:endParaRPr lang="ru-RU" sz="2400" dirty="0"/>
          </a:p>
          <a:p>
            <a:pPr marL="457200" indent="-457200">
              <a:spcAft>
                <a:spcPts val="2400"/>
              </a:spcAft>
              <a:buFont typeface="+mj-lt"/>
              <a:buAutoNum type="arabicPeriod"/>
            </a:pPr>
            <a:r>
              <a:rPr lang="ru-RU" sz="2400" dirty="0" err="1"/>
              <a:t>Красиві</a:t>
            </a:r>
            <a:r>
              <a:rPr lang="ru-RU" sz="2400" dirty="0"/>
              <a:t> </a:t>
            </a:r>
            <a:r>
              <a:rPr lang="ru-RU" sz="2400" dirty="0" err="1"/>
              <a:t>кольори</a:t>
            </a:r>
            <a:endParaRPr lang="ru-RU" sz="2400" dirty="0"/>
          </a:p>
          <a:p>
            <a:pPr marL="457200" indent="-457200">
              <a:spcAft>
                <a:spcPts val="2400"/>
              </a:spcAft>
              <a:buFont typeface="+mj-lt"/>
              <a:buAutoNum type="arabicPeriod"/>
            </a:pPr>
            <a:r>
              <a:rPr lang="ru-RU" sz="2400" dirty="0" err="1"/>
              <a:t>Красиві</a:t>
            </a:r>
            <a:r>
              <a:rPr lang="ru-RU" sz="2400" dirty="0"/>
              <a:t> </a:t>
            </a:r>
            <a:r>
              <a:rPr lang="ru-RU" sz="2400" dirty="0" err="1"/>
              <a:t>іконки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30740861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'єкт 4" hidden="1">
            <a:extLst>
              <a:ext uri="{FF2B5EF4-FFF2-40B4-BE49-F238E27FC236}">
                <a16:creationId xmlns:a16="http://schemas.microsoft.com/office/drawing/2014/main" id="{5D8ADA94-0022-47FD-B11E-9EE20982B8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Об'єкт 4" hidden="1">
                        <a:extLst>
                          <a:ext uri="{FF2B5EF4-FFF2-40B4-BE49-F238E27FC236}">
                            <a16:creationId xmlns:a16="http://schemas.microsoft.com/office/drawing/2014/main" id="{5D8ADA94-0022-47FD-B11E-9EE20982B8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>
            <a:hlinkClick r:id="rId6"/>
            <a:extLst>
              <a:ext uri="{FF2B5EF4-FFF2-40B4-BE49-F238E27FC236}">
                <a16:creationId xmlns:a16="http://schemas.microsoft.com/office/drawing/2014/main" id="{14CD6ED0-6CC1-46C9-BC57-714D2EFCC1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12192000" cy="478404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Прямокутник 6" hidden="1">
            <a:extLst>
              <a:ext uri="{FF2B5EF4-FFF2-40B4-BE49-F238E27FC236}">
                <a16:creationId xmlns:a16="http://schemas.microsoft.com/office/drawing/2014/main" id="{B5FCAB56-6AE7-4B67-B5BC-639A83AFFA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2800" dirty="0">
              <a:latin typeface="Franklin Gothic Demi" panose="020B0703020102020204" pitchFamily="34" charset="0"/>
              <a:sym typeface="Franklin Gothic Demi" panose="020B0703020102020204" pitchFamily="34" charset="0"/>
            </a:endParaRPr>
          </a:p>
        </p:txBody>
      </p:sp>
      <p:grpSp>
        <p:nvGrpSpPr>
          <p:cNvPr id="4" name="Групувати 3">
            <a:extLst>
              <a:ext uri="{FF2B5EF4-FFF2-40B4-BE49-F238E27FC236}">
                <a16:creationId xmlns:a16="http://schemas.microsoft.com/office/drawing/2014/main" id="{0942EB1B-162D-4C04-9FF2-C5ACB0BE5910}"/>
              </a:ext>
            </a:extLst>
          </p:cNvPr>
          <p:cNvGrpSpPr/>
          <p:nvPr/>
        </p:nvGrpSpPr>
        <p:grpSpPr>
          <a:xfrm>
            <a:off x="9971566" y="3556645"/>
            <a:ext cx="1781174" cy="895350"/>
            <a:chOff x="9112250" y="1915132"/>
            <a:chExt cx="1781174" cy="895350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022FBB6-04D4-4D72-A752-6D7B16909D47}"/>
                </a:ext>
              </a:extLst>
            </p:cNvPr>
            <p:cNvSpPr txBox="1"/>
            <p:nvPr/>
          </p:nvSpPr>
          <p:spPr>
            <a:xfrm>
              <a:off x="9112250" y="2178140"/>
              <a:ext cx="1530350" cy="374559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>
              <a:spAutoFit/>
            </a:bodyPr>
            <a:lstStyle/>
            <a:p>
              <a:r>
                <a:rPr lang="uk-UA" sz="1800" dirty="0">
                  <a:solidFill>
                    <a:schemeClr val="bg1"/>
                  </a:solidFill>
                  <a:latin typeface="+mj-lt"/>
                </a:rPr>
                <a:t>або</a:t>
              </a:r>
              <a:endParaRPr lang="uk-UA" dirty="0">
                <a:solidFill>
                  <a:schemeClr val="bg1"/>
                </a:solidFill>
              </a:endParaRPr>
            </a:p>
          </p:txBody>
        </p:sp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C096AF0B-A105-4329-9AAF-D0B0EF94E0D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864724" y="1915132"/>
              <a:ext cx="1028700" cy="895350"/>
            </a:xfrm>
            <a:prstGeom prst="rect">
              <a:avLst/>
            </a:prstGeom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2" name="Овал 1">
            <a:extLst>
              <a:ext uri="{FF2B5EF4-FFF2-40B4-BE49-F238E27FC236}">
                <a16:creationId xmlns:a16="http://schemas.microsoft.com/office/drawing/2014/main" id="{E2E81FC4-2D39-6BC8-7688-B614993735C1}"/>
              </a:ext>
            </a:extLst>
          </p:cNvPr>
          <p:cNvSpPr/>
          <p:nvPr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5">
            <a:extLst>
              <a:ext uri="{FF2B5EF4-FFF2-40B4-BE49-F238E27FC236}">
                <a16:creationId xmlns:a16="http://schemas.microsoft.com/office/drawing/2014/main" id="{84D2E573-F94C-77D6-84A7-9B3E522E9F64}"/>
              </a:ext>
            </a:extLst>
          </p:cNvPr>
          <p:cNvSpPr/>
          <p:nvPr/>
        </p:nvSpPr>
        <p:spPr>
          <a:xfrm>
            <a:off x="468140" y="4725613"/>
            <a:ext cx="11255720" cy="2132387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1200"/>
              </a:spcAft>
            </a:pPr>
            <a:r>
              <a:rPr lang="uk-UA" sz="4000" dirty="0">
                <a:latin typeface="+mj-lt"/>
              </a:rPr>
              <a:t>Зроблять вашу презентацією красивішою в </a:t>
            </a:r>
            <a:r>
              <a:rPr lang="uk-UA" sz="4000" dirty="0">
                <a:solidFill>
                  <a:schemeClr val="accent1"/>
                </a:solidFill>
                <a:latin typeface="+mj-lt"/>
              </a:rPr>
              <a:t>мільйон разів</a:t>
            </a:r>
          </a:p>
        </p:txBody>
      </p:sp>
    </p:spTree>
    <p:extLst>
      <p:ext uri="{BB962C8B-B14F-4D97-AF65-F5344CB8AC3E}">
        <p14:creationId xmlns:p14="http://schemas.microsoft.com/office/powerpoint/2010/main" val="5865856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6A6D14E-1B39-3709-1373-2BC8ABB5464B}"/>
              </a:ext>
            </a:extLst>
          </p:cNvPr>
          <p:cNvGrpSpPr/>
          <p:nvPr/>
        </p:nvGrpSpPr>
        <p:grpSpPr>
          <a:xfrm>
            <a:off x="2587282" y="2529000"/>
            <a:ext cx="7017436" cy="1800000"/>
            <a:chOff x="942372" y="2082982"/>
            <a:chExt cx="7017436" cy="1800000"/>
          </a:xfrm>
        </p:grpSpPr>
        <p:pic>
          <p:nvPicPr>
            <p:cNvPr id="4" name="Графіка 16" descr="Fire with solid fill">
              <a:extLst>
                <a:ext uri="{FF2B5EF4-FFF2-40B4-BE49-F238E27FC236}">
                  <a16:creationId xmlns:a16="http://schemas.microsoft.com/office/drawing/2014/main" id="{E2FEF0C8-AF45-61F0-9B80-6F843C00456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59808" y="2082982"/>
              <a:ext cx="1800000" cy="1800000"/>
            </a:xfrm>
            <a:prstGeom prst="rect">
              <a:avLst/>
            </a:prstGeom>
          </p:spPr>
        </p:pic>
        <p:pic>
          <p:nvPicPr>
            <p:cNvPr id="2050" name="Picture 2" descr="Fire on Apple iOS 15.4">
              <a:extLst>
                <a:ext uri="{FF2B5EF4-FFF2-40B4-BE49-F238E27FC236}">
                  <a16:creationId xmlns:a16="http://schemas.microsoft.com/office/drawing/2014/main" id="{1035F4EE-8D7C-3222-9691-775F6FFB858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51090" y="2082982"/>
              <a:ext cx="1800000" cy="180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9B02992A-92CE-FD8A-3181-3787069818D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2372" y="2082982"/>
              <a:ext cx="1800000" cy="180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472642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554B64-4457-450E-87F9-A52B139EA8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554B64-4457-450E-87F9-A52B139EA8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кутник 13">
            <a:extLst>
              <a:ext uri="{FF2B5EF4-FFF2-40B4-BE49-F238E27FC236}">
                <a16:creationId xmlns:a16="http://schemas.microsoft.com/office/drawing/2014/main" id="{A14FE9C0-B3BB-4470-824A-5C18DF861D3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r>
              <a:rPr lang="uk-UA" sz="4800" dirty="0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uk-UA" sz="4800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+mj-lt"/>
              </a:rPr>
              <a:t>ТАБУ</a:t>
            </a:r>
            <a:endParaRPr lang="uk-UA" sz="4800" dirty="0">
              <a:solidFill>
                <a:schemeClr val="accent6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45366B40-9C6D-06B4-51C1-A615A445F71A}"/>
              </a:ext>
            </a:extLst>
          </p:cNvPr>
          <p:cNvSpPr/>
          <p:nvPr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7" descr="Пожилая женщина, большой палец вниз">
            <a:extLst>
              <a:ext uri="{FF2B5EF4-FFF2-40B4-BE49-F238E27FC236}">
                <a16:creationId xmlns:a16="http://schemas.microsoft.com/office/drawing/2014/main" id="{57203068-F8D5-EBE5-44C9-122C5A9917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7259" y="1704109"/>
            <a:ext cx="1464059" cy="3600000"/>
          </a:xfrm>
          <a:prstGeom prst="rect">
            <a:avLst/>
          </a:prstGeom>
        </p:spPr>
      </p:pic>
      <p:pic>
        <p:nvPicPr>
          <p:cNvPr id="10" name="Рисунок 9" descr="Молодой мальчик с рукой на лицом">
            <a:extLst>
              <a:ext uri="{FF2B5EF4-FFF2-40B4-BE49-F238E27FC236}">
                <a16:creationId xmlns:a16="http://schemas.microsoft.com/office/drawing/2014/main" id="{3E6B7C54-5D86-142D-ACFE-BE952B0F45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3918" y="1843718"/>
            <a:ext cx="1099690" cy="3600000"/>
          </a:xfrm>
          <a:prstGeom prst="rect">
            <a:avLst/>
          </a:prstGeom>
        </p:spPr>
      </p:pic>
      <p:pic>
        <p:nvPicPr>
          <p:cNvPr id="18" name="Рисунок 17" descr="Бусинессман, возподнятая пожимает плечами">
            <a:extLst>
              <a:ext uri="{FF2B5EF4-FFF2-40B4-BE49-F238E27FC236}">
                <a16:creationId xmlns:a16="http://schemas.microsoft.com/office/drawing/2014/main" id="{FAF7FCC3-D0EA-96B6-EB7F-FCE86E2EE13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7919" y="1763781"/>
            <a:ext cx="2372347" cy="3600000"/>
          </a:xfrm>
          <a:prstGeom prst="rect">
            <a:avLst/>
          </a:prstGeom>
        </p:spPr>
      </p:pic>
      <p:pic>
        <p:nvPicPr>
          <p:cNvPr id="20" name="Рисунок 19" descr="Бусинессманная рука на морщины нае">
            <a:extLst>
              <a:ext uri="{FF2B5EF4-FFF2-40B4-BE49-F238E27FC236}">
                <a16:creationId xmlns:a16="http://schemas.microsoft.com/office/drawing/2014/main" id="{307F89B0-A43C-2893-AAA5-636D336E1D3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388" y="1756064"/>
            <a:ext cx="1809879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1164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576AE79-652B-18A8-31D9-28C2BC3EA1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A576AE79-652B-18A8-31D9-28C2BC3EA1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Текст 4">
            <a:extLst>
              <a:ext uri="{FF2B5EF4-FFF2-40B4-BE49-F238E27FC236}">
                <a16:creationId xmlns:a16="http://schemas.microsoft.com/office/drawing/2014/main" id="{805F823C-4B4D-4EC8-15D7-D1C57874B9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err="1">
                <a:solidFill>
                  <a:schemeClr val="accent1"/>
                </a:solidFill>
              </a:rPr>
              <a:t>Що</a:t>
            </a:r>
            <a:r>
              <a:rPr lang="ru-RU" dirty="0">
                <a:solidFill>
                  <a:schemeClr val="accent1"/>
                </a:solidFill>
              </a:rPr>
              <a:t> я </a:t>
            </a:r>
            <a:r>
              <a:rPr lang="ru-RU" dirty="0">
                <a:solidFill>
                  <a:srgbClr val="C00000"/>
                </a:solidFill>
              </a:rPr>
              <a:t>не</a:t>
            </a:r>
            <a:r>
              <a:rPr lang="ru-RU" dirty="0">
                <a:solidFill>
                  <a:schemeClr val="accent1"/>
                </a:solidFill>
              </a:rPr>
              <a:t> </a:t>
            </a:r>
            <a:r>
              <a:rPr lang="ru-RU" dirty="0" err="1">
                <a:solidFill>
                  <a:schemeClr val="accent1"/>
                </a:solidFill>
              </a:rPr>
              <a:t>використовую</a:t>
            </a:r>
            <a:r>
              <a:rPr lang="ru-RU" dirty="0">
                <a:solidFill>
                  <a:schemeClr val="accent1"/>
                </a:solidFill>
              </a:rPr>
              <a:t> в Power Point</a:t>
            </a:r>
          </a:p>
        </p:txBody>
      </p:sp>
      <p:sp>
        <p:nvSpPr>
          <p:cNvPr id="9" name="Текст 1">
            <a:extLst>
              <a:ext uri="{FF2B5EF4-FFF2-40B4-BE49-F238E27FC236}">
                <a16:creationId xmlns:a16="http://schemas.microsoft.com/office/drawing/2014/main" id="{C79EB7FD-E4EE-930B-9FB4-B72F4FD018B7}"/>
              </a:ext>
            </a:extLst>
          </p:cNvPr>
          <p:cNvSpPr txBox="1">
            <a:spLocks/>
          </p:cNvSpPr>
          <p:nvPr/>
        </p:nvSpPr>
        <p:spPr>
          <a:xfrm>
            <a:off x="814388" y="2133600"/>
            <a:ext cx="7332086" cy="211301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Aft>
                <a:spcPts val="2400"/>
              </a:spcAft>
              <a:buFont typeface="+mj-lt"/>
              <a:buAutoNum type="arabicPeriod"/>
            </a:pPr>
            <a:r>
              <a:rPr lang="en-US" sz="2400" dirty="0"/>
              <a:t>Smart Art, Word Art, </a:t>
            </a:r>
            <a:r>
              <a:rPr lang="ru-RU" sz="2400" dirty="0" err="1"/>
              <a:t>ефекти</a:t>
            </a:r>
            <a:r>
              <a:rPr lang="ru-RU" sz="2400" dirty="0"/>
              <a:t> для </a:t>
            </a:r>
            <a:r>
              <a:rPr lang="ru-RU" sz="2400" dirty="0" err="1"/>
              <a:t>фігур</a:t>
            </a:r>
            <a:endParaRPr lang="ru-RU" sz="2400" dirty="0"/>
          </a:p>
          <a:p>
            <a:pPr marL="457200" indent="-457200">
              <a:spcAft>
                <a:spcPts val="2400"/>
              </a:spcAft>
              <a:buFont typeface="+mj-lt"/>
              <a:buAutoNum type="arabicPeriod"/>
            </a:pPr>
            <a:r>
              <a:rPr lang="ru-RU" sz="2400" dirty="0" err="1"/>
              <a:t>Стандартні</a:t>
            </a:r>
            <a:r>
              <a:rPr lang="ru-RU" sz="2400" dirty="0"/>
              <a:t> теми та </a:t>
            </a:r>
            <a:r>
              <a:rPr lang="ru-RU" sz="2400" dirty="0" err="1"/>
              <a:t>шаблони</a:t>
            </a:r>
            <a:r>
              <a:rPr lang="ru-RU" sz="2400" dirty="0"/>
              <a:t> </a:t>
            </a:r>
            <a:r>
              <a:rPr lang="ru-RU" sz="2400" dirty="0" err="1"/>
              <a:t>слайдів</a:t>
            </a:r>
            <a:endParaRPr lang="ru-RU" sz="2400" dirty="0"/>
          </a:p>
          <a:p>
            <a:pPr marL="457200" indent="-457200">
              <a:spcAft>
                <a:spcPts val="2400"/>
              </a:spcAft>
              <a:buFont typeface="+mj-lt"/>
              <a:buAutoNum type="arabicPeriod"/>
            </a:pPr>
            <a:r>
              <a:rPr lang="ru-RU" sz="2400" dirty="0"/>
              <a:t>Переходи </a:t>
            </a:r>
            <a:r>
              <a:rPr lang="ru-RU" sz="2400" dirty="0" err="1"/>
              <a:t>між</a:t>
            </a:r>
            <a:r>
              <a:rPr lang="ru-RU" sz="2400" dirty="0"/>
              <a:t> слайдами</a:t>
            </a:r>
          </a:p>
          <a:p>
            <a:pPr marL="457200" indent="-457200">
              <a:spcAft>
                <a:spcPts val="2400"/>
              </a:spcAft>
              <a:buFont typeface="+mj-lt"/>
              <a:buAutoNum type="arabicPeriod"/>
            </a:pPr>
            <a:r>
              <a:rPr lang="ru-RU" sz="2400" dirty="0" err="1"/>
              <a:t>Анімації</a:t>
            </a:r>
            <a:endParaRPr lang="ru-RU" sz="2400" dirty="0"/>
          </a:p>
          <a:p>
            <a:pPr marL="457200" indent="-457200">
              <a:spcAft>
                <a:spcPts val="2400"/>
              </a:spcAft>
              <a:buFont typeface="+mj-lt"/>
              <a:buAutoNum type="arabicPeriod"/>
            </a:pPr>
            <a:r>
              <a:rPr lang="ru-RU" sz="2400" dirty="0"/>
              <a:t>*</a:t>
            </a: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13259852-43B5-E657-A95A-914172BA2282}"/>
              </a:ext>
            </a:extLst>
          </p:cNvPr>
          <p:cNvSpPr txBox="1">
            <a:spLocks/>
          </p:cNvSpPr>
          <p:nvPr/>
        </p:nvSpPr>
        <p:spPr>
          <a:xfrm>
            <a:off x="814388" y="5366420"/>
            <a:ext cx="7332086" cy="9423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2400"/>
              </a:spcAft>
            </a:pPr>
            <a:r>
              <a:rPr lang="ru-RU" sz="1800" dirty="0">
                <a:solidFill>
                  <a:schemeClr val="bg1">
                    <a:lumMod val="75000"/>
                  </a:schemeClr>
                </a:solidFill>
              </a:rPr>
              <a:t>* І все </a:t>
            </a:r>
            <a:r>
              <a:rPr lang="ru-RU" sz="1800" dirty="0" err="1">
                <a:solidFill>
                  <a:schemeClr val="bg1">
                    <a:lumMod val="75000"/>
                  </a:schemeClr>
                </a:solidFill>
              </a:rPr>
              <a:t>інше</a:t>
            </a:r>
            <a:r>
              <a:rPr lang="ru-RU" sz="1800" dirty="0">
                <a:solidFill>
                  <a:schemeClr val="bg1">
                    <a:lumMod val="75000"/>
                  </a:schemeClr>
                </a:solidFill>
              </a:rPr>
              <a:t>, про </a:t>
            </a:r>
            <a:r>
              <a:rPr lang="ru-RU" sz="1800" dirty="0" err="1">
                <a:solidFill>
                  <a:schemeClr val="bg1">
                    <a:lumMod val="75000"/>
                  </a:schemeClr>
                </a:solidFill>
              </a:rPr>
              <a:t>що</a:t>
            </a:r>
            <a:r>
              <a:rPr lang="ru-RU" sz="1800" dirty="0">
                <a:solidFill>
                  <a:schemeClr val="bg1">
                    <a:lumMod val="75000"/>
                  </a:schemeClr>
                </a:solidFill>
              </a:rPr>
              <a:t> я не </a:t>
            </a:r>
            <a:r>
              <a:rPr lang="ru-RU" sz="1800" dirty="0" err="1">
                <a:solidFill>
                  <a:schemeClr val="bg1">
                    <a:lumMod val="75000"/>
                  </a:schemeClr>
                </a:solidFill>
              </a:rPr>
              <a:t>згадав</a:t>
            </a:r>
            <a:r>
              <a:rPr lang="ru-RU" sz="1800" dirty="0">
                <a:solidFill>
                  <a:schemeClr val="bg1">
                    <a:lumMod val="75000"/>
                  </a:schemeClr>
                </a:solidFill>
              </a:rPr>
              <a:t> у </a:t>
            </a:r>
            <a:r>
              <a:rPr lang="ru-RU" sz="1800" dirty="0" err="1">
                <a:solidFill>
                  <a:schemeClr val="bg1">
                    <a:lumMod val="75000"/>
                  </a:schemeClr>
                </a:solidFill>
              </a:rPr>
              <a:t>цій</a:t>
            </a:r>
            <a:r>
              <a:rPr lang="ru-RU" sz="18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ru-RU" sz="1800" dirty="0" err="1">
                <a:solidFill>
                  <a:schemeClr val="bg1">
                    <a:lumMod val="75000"/>
                  </a:schemeClr>
                </a:solidFill>
              </a:rPr>
              <a:t>презентації</a:t>
            </a:r>
            <a:endParaRPr lang="ru-RU" sz="18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92029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554B64-4457-450E-87F9-A52B139EA8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554B64-4457-450E-87F9-A52B139EA8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кутник 13">
            <a:extLst>
              <a:ext uri="{FF2B5EF4-FFF2-40B4-BE49-F238E27FC236}">
                <a16:creationId xmlns:a16="http://schemas.microsoft.com/office/drawing/2014/main" id="{A14FE9C0-B3BB-4470-824A-5C18DF861D3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uk-UA" sz="4800" dirty="0">
              <a:latin typeface="Franklin Gothic Heavy" panose="020B0903020102020204" pitchFamily="34" charset="0"/>
            </a:endParaRPr>
          </a:p>
        </p:txBody>
      </p:sp>
      <p:grpSp>
        <p:nvGrpSpPr>
          <p:cNvPr id="4" name="Групувати 3">
            <a:extLst>
              <a:ext uri="{FF2B5EF4-FFF2-40B4-BE49-F238E27FC236}">
                <a16:creationId xmlns:a16="http://schemas.microsoft.com/office/drawing/2014/main" id="{0E5D3BF8-F5B7-40A6-AC70-1FCE6BC0B2F0}"/>
              </a:ext>
            </a:extLst>
          </p:cNvPr>
          <p:cNvGrpSpPr/>
          <p:nvPr/>
        </p:nvGrpSpPr>
        <p:grpSpPr>
          <a:xfrm>
            <a:off x="814919" y="549275"/>
            <a:ext cx="2635929" cy="540000"/>
            <a:chOff x="4428714" y="405223"/>
            <a:chExt cx="2635929" cy="540000"/>
          </a:xfrm>
        </p:grpSpPr>
        <p:sp>
          <p:nvSpPr>
            <p:cNvPr id="2" name="Овал 1">
              <a:extLst>
                <a:ext uri="{FF2B5EF4-FFF2-40B4-BE49-F238E27FC236}">
                  <a16:creationId xmlns:a16="http://schemas.microsoft.com/office/drawing/2014/main" id="{28EA5771-CA78-48BE-8A17-314EEC0A0526}"/>
                </a:ext>
              </a:extLst>
            </p:cNvPr>
            <p:cNvSpPr/>
            <p:nvPr/>
          </p:nvSpPr>
          <p:spPr>
            <a:xfrm>
              <a:off x="6524643" y="405223"/>
              <a:ext cx="540000" cy="540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4</a:t>
              </a:r>
            </a:p>
          </p:txBody>
        </p:sp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6648A949-B8CC-4A6D-94E5-2DFF39DC7ED4}"/>
                </a:ext>
              </a:extLst>
            </p:cNvPr>
            <p:cNvSpPr/>
            <p:nvPr/>
          </p:nvSpPr>
          <p:spPr>
            <a:xfrm>
              <a:off x="5826000" y="405223"/>
              <a:ext cx="540000" cy="540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3</a:t>
              </a:r>
            </a:p>
          </p:txBody>
        </p:sp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4B191F34-4590-4925-B7D1-9BBB0BC35E6A}"/>
                </a:ext>
              </a:extLst>
            </p:cNvPr>
            <p:cNvSpPr/>
            <p:nvPr/>
          </p:nvSpPr>
          <p:spPr>
            <a:xfrm>
              <a:off x="5127357" y="405223"/>
              <a:ext cx="540000" cy="540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2</a:t>
              </a:r>
            </a:p>
          </p:txBody>
        </p:sp>
        <p:sp>
          <p:nvSpPr>
            <p:cNvPr id="12" name="Овал 11">
              <a:extLst>
                <a:ext uri="{FF2B5EF4-FFF2-40B4-BE49-F238E27FC236}">
                  <a16:creationId xmlns:a16="http://schemas.microsoft.com/office/drawing/2014/main" id="{C33B1DF5-6D37-46EA-8E4C-6280EEF976E8}"/>
                </a:ext>
              </a:extLst>
            </p:cNvPr>
            <p:cNvSpPr/>
            <p:nvPr/>
          </p:nvSpPr>
          <p:spPr>
            <a:xfrm>
              <a:off x="4428714" y="405223"/>
              <a:ext cx="540000" cy="54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solidFill>
                    <a:srgbClr val="7B0000"/>
                  </a:solidFill>
                  <a:latin typeface="+mj-lt"/>
                </a:rPr>
                <a:t>1</a:t>
              </a:r>
            </a:p>
          </p:txBody>
        </p:sp>
      </p:grpSp>
      <p:sp>
        <p:nvSpPr>
          <p:cNvPr id="3" name="Текст 2">
            <a:extLst>
              <a:ext uri="{FF2B5EF4-FFF2-40B4-BE49-F238E27FC236}">
                <a16:creationId xmlns:a16="http://schemas.microsoft.com/office/drawing/2014/main" id="{62BDA759-9989-8E39-1064-E6FB4762FB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4919" y="2231923"/>
            <a:ext cx="10562167" cy="2113014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Smart Art, Word Art,</a:t>
            </a:r>
            <a:r>
              <a:rPr lang="uk-UA" dirty="0">
                <a:solidFill>
                  <a:schemeClr val="bg1"/>
                </a:solidFill>
              </a:rPr>
              <a:t> ефекти для фігур</a:t>
            </a: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C7A2AC60-1E62-E622-2FB8-603A1A204365}"/>
              </a:ext>
            </a:extLst>
          </p:cNvPr>
          <p:cNvSpPr/>
          <p:nvPr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7094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5CEAE2A4-6EF9-4449-8EF9-EE458C9A47C4}"/>
              </a:ext>
            </a:extLst>
          </p:cNvPr>
          <p:cNvGraphicFramePr/>
          <p:nvPr/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2780124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кутник 2">
            <a:extLst>
              <a:ext uri="{FF2B5EF4-FFF2-40B4-BE49-F238E27FC236}">
                <a16:creationId xmlns:a16="http://schemas.microsoft.com/office/drawing/2014/main" id="{A7504478-1AD2-4B5D-9D70-ED3EA8A2BA40}"/>
              </a:ext>
            </a:extLst>
          </p:cNvPr>
          <p:cNvSpPr/>
          <p:nvPr/>
        </p:nvSpPr>
        <p:spPr>
          <a:xfrm>
            <a:off x="91983" y="728261"/>
            <a:ext cx="12008034" cy="540147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uk-UA" sz="11500" b="0" cap="none" spc="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Такі речі виглядають жахливо</a:t>
            </a:r>
          </a:p>
        </p:txBody>
      </p:sp>
    </p:spTree>
    <p:extLst>
      <p:ext uri="{BB962C8B-B14F-4D97-AF65-F5344CB8AC3E}">
        <p14:creationId xmlns:p14="http://schemas.microsoft.com/office/powerpoint/2010/main" val="42536670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кутник 2">
            <a:extLst>
              <a:ext uri="{FF2B5EF4-FFF2-40B4-BE49-F238E27FC236}">
                <a16:creationId xmlns:a16="http://schemas.microsoft.com/office/drawing/2014/main" id="{A7504478-1AD2-4B5D-9D70-ED3EA8A2BA40}"/>
              </a:ext>
            </a:extLst>
          </p:cNvPr>
          <p:cNvSpPr/>
          <p:nvPr/>
        </p:nvSpPr>
        <p:spPr>
          <a:xfrm>
            <a:off x="91983" y="1351508"/>
            <a:ext cx="12008034" cy="415498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uk-UA" sz="8800" b="0" cap="none" spc="0" dirty="0">
                <a:ln w="0"/>
                <a:solidFill>
                  <a:schemeClr val="accent5"/>
                </a:solidFill>
                <a:effectLst/>
                <a:latin typeface="+mj-lt"/>
              </a:rPr>
              <a:t>Такі речі виглядають жахливо</a:t>
            </a:r>
          </a:p>
        </p:txBody>
      </p:sp>
    </p:spTree>
    <p:extLst>
      <p:ext uri="{BB962C8B-B14F-4D97-AF65-F5344CB8AC3E}">
        <p14:creationId xmlns:p14="http://schemas.microsoft.com/office/powerpoint/2010/main" val="152339963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кутник 2">
            <a:extLst>
              <a:ext uri="{FF2B5EF4-FFF2-40B4-BE49-F238E27FC236}">
                <a16:creationId xmlns:a16="http://schemas.microsoft.com/office/drawing/2014/main" id="{11B27E33-982C-41EB-8679-5CE1119C7A23}"/>
              </a:ext>
            </a:extLst>
          </p:cNvPr>
          <p:cNvSpPr/>
          <p:nvPr/>
        </p:nvSpPr>
        <p:spPr>
          <a:xfrm>
            <a:off x="1620470" y="1654629"/>
            <a:ext cx="3548743" cy="3548743"/>
          </a:xfrm>
          <a:prstGeom prst="rect">
            <a:avLst/>
          </a:prstGeom>
          <a:effectLst>
            <a:glow rad="228600">
              <a:schemeClr val="accent6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 w="400050"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UA" dirty="0"/>
          </a:p>
        </p:txBody>
      </p:sp>
      <p:sp>
        <p:nvSpPr>
          <p:cNvPr id="4" name="Прямокутник 3">
            <a:extLst>
              <a:ext uri="{FF2B5EF4-FFF2-40B4-BE49-F238E27FC236}">
                <a16:creationId xmlns:a16="http://schemas.microsoft.com/office/drawing/2014/main" id="{D5EF1166-B9F6-420D-AC49-5C07A638EBEA}"/>
              </a:ext>
            </a:extLst>
          </p:cNvPr>
          <p:cNvSpPr/>
          <p:nvPr/>
        </p:nvSpPr>
        <p:spPr>
          <a:xfrm>
            <a:off x="7022789" y="1654629"/>
            <a:ext cx="3548743" cy="3548743"/>
          </a:xfrm>
          <a:prstGeom prst="rect">
            <a:avLst/>
          </a:prstGeom>
          <a:effectLst>
            <a:reflection blurRad="6350" stA="50000" endA="275" endPos="40000" dist="101600" dir="5400000" sy="-100000" algn="bl" rotWithShape="0"/>
          </a:effectLst>
          <a:scene3d>
            <a:camera prst="perspectiveLeft"/>
            <a:lightRig rig="threePt" dir="t"/>
          </a:scene3d>
          <a:sp3d>
            <a:bevelT w="400050"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UA" dirty="0"/>
          </a:p>
        </p:txBody>
      </p:sp>
    </p:spTree>
    <p:extLst>
      <p:ext uri="{BB962C8B-B14F-4D97-AF65-F5344CB8AC3E}">
        <p14:creationId xmlns:p14="http://schemas.microsoft.com/office/powerpoint/2010/main" val="176695143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Схема 1">
            <a:extLst>
              <a:ext uri="{FF2B5EF4-FFF2-40B4-BE49-F238E27FC236}">
                <a16:creationId xmlns:a16="http://schemas.microsoft.com/office/drawing/2014/main" id="{F225CB8F-3977-452F-62D9-967DFF0ED2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3482508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300077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554B64-4457-450E-87F9-A52B139EA8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554B64-4457-450E-87F9-A52B139EA8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кутник 13">
            <a:extLst>
              <a:ext uri="{FF2B5EF4-FFF2-40B4-BE49-F238E27FC236}">
                <a16:creationId xmlns:a16="http://schemas.microsoft.com/office/drawing/2014/main" id="{A14FE9C0-B3BB-4470-824A-5C18DF861D3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uk-UA" sz="4800" dirty="0">
              <a:latin typeface="Franklin Gothic Heavy" panose="020B0903020102020204" pitchFamily="34" charset="0"/>
            </a:endParaRPr>
          </a:p>
        </p:txBody>
      </p:sp>
      <p:grpSp>
        <p:nvGrpSpPr>
          <p:cNvPr id="4" name="Групувати 3">
            <a:extLst>
              <a:ext uri="{FF2B5EF4-FFF2-40B4-BE49-F238E27FC236}">
                <a16:creationId xmlns:a16="http://schemas.microsoft.com/office/drawing/2014/main" id="{0E5D3BF8-F5B7-40A6-AC70-1FCE6BC0B2F0}"/>
              </a:ext>
            </a:extLst>
          </p:cNvPr>
          <p:cNvGrpSpPr/>
          <p:nvPr/>
        </p:nvGrpSpPr>
        <p:grpSpPr>
          <a:xfrm>
            <a:off x="814919" y="549275"/>
            <a:ext cx="4033215" cy="540000"/>
            <a:chOff x="4428714" y="405223"/>
            <a:chExt cx="4033215" cy="540000"/>
          </a:xfrm>
        </p:grpSpPr>
        <p:sp>
          <p:nvSpPr>
            <p:cNvPr id="2" name="Овал 1">
              <a:extLst>
                <a:ext uri="{FF2B5EF4-FFF2-40B4-BE49-F238E27FC236}">
                  <a16:creationId xmlns:a16="http://schemas.microsoft.com/office/drawing/2014/main" id="{28EA5771-CA78-48BE-8A17-314EEC0A0526}"/>
                </a:ext>
              </a:extLst>
            </p:cNvPr>
            <p:cNvSpPr/>
            <p:nvPr/>
          </p:nvSpPr>
          <p:spPr>
            <a:xfrm>
              <a:off x="6524643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4</a:t>
              </a:r>
            </a:p>
          </p:txBody>
        </p:sp>
        <p:sp>
          <p:nvSpPr>
            <p:cNvPr id="7" name="Овал 6">
              <a:extLst>
                <a:ext uri="{FF2B5EF4-FFF2-40B4-BE49-F238E27FC236}">
                  <a16:creationId xmlns:a16="http://schemas.microsoft.com/office/drawing/2014/main" id="{EE04EC6C-E813-405C-85E0-FCBDC316F647}"/>
                </a:ext>
              </a:extLst>
            </p:cNvPr>
            <p:cNvSpPr/>
            <p:nvPr/>
          </p:nvSpPr>
          <p:spPr>
            <a:xfrm>
              <a:off x="7223286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5</a:t>
              </a:r>
            </a:p>
          </p:txBody>
        </p:sp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6648A949-B8CC-4A6D-94E5-2DFF39DC7ED4}"/>
                </a:ext>
              </a:extLst>
            </p:cNvPr>
            <p:cNvSpPr/>
            <p:nvPr/>
          </p:nvSpPr>
          <p:spPr>
            <a:xfrm>
              <a:off x="5826000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3</a:t>
              </a:r>
            </a:p>
          </p:txBody>
        </p:sp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4B191F34-4590-4925-B7D1-9BBB0BC35E6A}"/>
                </a:ext>
              </a:extLst>
            </p:cNvPr>
            <p:cNvSpPr/>
            <p:nvPr/>
          </p:nvSpPr>
          <p:spPr>
            <a:xfrm>
              <a:off x="5127357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2</a:t>
              </a:r>
            </a:p>
          </p:txBody>
        </p:sp>
        <p:sp>
          <p:nvSpPr>
            <p:cNvPr id="12" name="Овал 11">
              <a:extLst>
                <a:ext uri="{FF2B5EF4-FFF2-40B4-BE49-F238E27FC236}">
                  <a16:creationId xmlns:a16="http://schemas.microsoft.com/office/drawing/2014/main" id="{C33B1DF5-6D37-46EA-8E4C-6280EEF976E8}"/>
                </a:ext>
              </a:extLst>
            </p:cNvPr>
            <p:cNvSpPr/>
            <p:nvPr/>
          </p:nvSpPr>
          <p:spPr>
            <a:xfrm>
              <a:off x="4428714" y="405223"/>
              <a:ext cx="540000" cy="540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1</a:t>
              </a:r>
            </a:p>
          </p:txBody>
        </p:sp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E9AF2337-8BDF-4A4D-8773-C8EBDD38FA86}"/>
                </a:ext>
              </a:extLst>
            </p:cNvPr>
            <p:cNvSpPr/>
            <p:nvPr/>
          </p:nvSpPr>
          <p:spPr>
            <a:xfrm>
              <a:off x="7921929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6</a:t>
              </a:r>
            </a:p>
          </p:txBody>
        </p:sp>
      </p:grpSp>
      <p:sp>
        <p:nvSpPr>
          <p:cNvPr id="3" name="Текст 2">
            <a:extLst>
              <a:ext uri="{FF2B5EF4-FFF2-40B4-BE49-F238E27FC236}">
                <a16:creationId xmlns:a16="http://schemas.microsoft.com/office/drawing/2014/main" id="{62BDA759-9989-8E39-1064-E6FB4762FB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4919" y="2231923"/>
            <a:ext cx="10562167" cy="2113014"/>
          </a:xfrm>
        </p:spPr>
        <p:txBody>
          <a:bodyPr/>
          <a:lstStyle/>
          <a:p>
            <a:r>
              <a:rPr lang="uk-UA" dirty="0">
                <a:solidFill>
                  <a:schemeClr val="bg1"/>
                </a:solidFill>
              </a:rPr>
              <a:t>Гарячі клавіші</a:t>
            </a: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C3668492-9114-2769-22F8-8CA0D46132F2}"/>
              </a:ext>
            </a:extLst>
          </p:cNvPr>
          <p:cNvSpPr/>
          <p:nvPr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228595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8E195BA2-6999-BAF5-B353-D93B53449C5E}"/>
              </a:ext>
            </a:extLst>
          </p:cNvPr>
          <p:cNvSpPr/>
          <p:nvPr/>
        </p:nvSpPr>
        <p:spPr>
          <a:xfrm>
            <a:off x="4354010" y="1605988"/>
            <a:ext cx="3483980" cy="13773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XXXX</a:t>
            </a:r>
            <a:endParaRPr lang="ru-UA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555016B-441C-D97E-88A2-BFB42FB453A4}"/>
              </a:ext>
            </a:extLst>
          </p:cNvPr>
          <p:cNvSpPr/>
          <p:nvPr/>
        </p:nvSpPr>
        <p:spPr>
          <a:xfrm>
            <a:off x="4354010" y="3874626"/>
            <a:ext cx="3483980" cy="13773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XXXX</a:t>
            </a:r>
            <a:endParaRPr lang="ru-UA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8A4BC55-7F32-1A5B-A785-F65A73AA7CCD}"/>
              </a:ext>
            </a:extLst>
          </p:cNvPr>
          <p:cNvSpPr/>
          <p:nvPr/>
        </p:nvSpPr>
        <p:spPr>
          <a:xfrm>
            <a:off x="545939" y="3874626"/>
            <a:ext cx="3483980" cy="13773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XXXX</a:t>
            </a:r>
            <a:endParaRPr lang="ru-UA" dirty="0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DF394F3-3B5B-DB98-6D47-184EAA2D9BC2}"/>
              </a:ext>
            </a:extLst>
          </p:cNvPr>
          <p:cNvSpPr/>
          <p:nvPr/>
        </p:nvSpPr>
        <p:spPr>
          <a:xfrm>
            <a:off x="8162081" y="3874626"/>
            <a:ext cx="3483980" cy="13773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XXXXX</a:t>
            </a:r>
            <a:endParaRPr lang="ru-UA" dirty="0"/>
          </a:p>
        </p:txBody>
      </p:sp>
      <p:cxnSp>
        <p:nvCxnSpPr>
          <p:cNvPr id="15" name="Соединитель: уступ 14">
            <a:extLst>
              <a:ext uri="{FF2B5EF4-FFF2-40B4-BE49-F238E27FC236}">
                <a16:creationId xmlns:a16="http://schemas.microsoft.com/office/drawing/2014/main" id="{6FF85353-F6FD-CD68-47E1-4EA6DF697C4F}"/>
              </a:ext>
            </a:extLst>
          </p:cNvPr>
          <p:cNvCxnSpPr>
            <a:stCxn id="2" idx="2"/>
            <a:endCxn id="8" idx="0"/>
          </p:cNvCxnSpPr>
          <p:nvPr/>
        </p:nvCxnSpPr>
        <p:spPr>
          <a:xfrm rot="5400000">
            <a:off x="3746340" y="1524965"/>
            <a:ext cx="891251" cy="3808071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Соединитель: уступ 15">
            <a:extLst>
              <a:ext uri="{FF2B5EF4-FFF2-40B4-BE49-F238E27FC236}">
                <a16:creationId xmlns:a16="http://schemas.microsoft.com/office/drawing/2014/main" id="{C60E6BBB-D468-B716-8C95-2C89ED46EEB3}"/>
              </a:ext>
            </a:extLst>
          </p:cNvPr>
          <p:cNvCxnSpPr>
            <a:cxnSpLocks/>
            <a:stCxn id="2" idx="2"/>
            <a:endCxn id="11" idx="0"/>
          </p:cNvCxnSpPr>
          <p:nvPr/>
        </p:nvCxnSpPr>
        <p:spPr>
          <a:xfrm rot="16200000" flipH="1">
            <a:off x="7554410" y="1524964"/>
            <a:ext cx="891251" cy="380807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Соединитель: уступ 18">
            <a:extLst>
              <a:ext uri="{FF2B5EF4-FFF2-40B4-BE49-F238E27FC236}">
                <a16:creationId xmlns:a16="http://schemas.microsoft.com/office/drawing/2014/main" id="{98706604-3173-8C04-00C3-E5B9F08859E0}"/>
              </a:ext>
            </a:extLst>
          </p:cNvPr>
          <p:cNvCxnSpPr>
            <a:cxnSpLocks/>
            <a:stCxn id="2" idx="2"/>
            <a:endCxn id="3" idx="0"/>
          </p:cNvCxnSpPr>
          <p:nvPr/>
        </p:nvCxnSpPr>
        <p:spPr>
          <a:xfrm rot="5400000">
            <a:off x="5650375" y="3429000"/>
            <a:ext cx="891251" cy="1270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602550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554B64-4457-450E-87F9-A52B139EA8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554B64-4457-450E-87F9-A52B139EA8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кутник 13">
            <a:extLst>
              <a:ext uri="{FF2B5EF4-FFF2-40B4-BE49-F238E27FC236}">
                <a16:creationId xmlns:a16="http://schemas.microsoft.com/office/drawing/2014/main" id="{A14FE9C0-B3BB-4470-824A-5C18DF861D3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uk-UA" sz="4800" dirty="0">
              <a:latin typeface="Franklin Gothic Heavy" panose="020B0903020102020204" pitchFamily="34" charset="0"/>
            </a:endParaRPr>
          </a:p>
        </p:txBody>
      </p:sp>
      <p:grpSp>
        <p:nvGrpSpPr>
          <p:cNvPr id="4" name="Групувати 3">
            <a:extLst>
              <a:ext uri="{FF2B5EF4-FFF2-40B4-BE49-F238E27FC236}">
                <a16:creationId xmlns:a16="http://schemas.microsoft.com/office/drawing/2014/main" id="{0E5D3BF8-F5B7-40A6-AC70-1FCE6BC0B2F0}"/>
              </a:ext>
            </a:extLst>
          </p:cNvPr>
          <p:cNvGrpSpPr/>
          <p:nvPr/>
        </p:nvGrpSpPr>
        <p:grpSpPr>
          <a:xfrm>
            <a:off x="814919" y="549275"/>
            <a:ext cx="2635929" cy="540000"/>
            <a:chOff x="4428714" y="405223"/>
            <a:chExt cx="2635929" cy="540000"/>
          </a:xfrm>
        </p:grpSpPr>
        <p:sp>
          <p:nvSpPr>
            <p:cNvPr id="2" name="Овал 1">
              <a:extLst>
                <a:ext uri="{FF2B5EF4-FFF2-40B4-BE49-F238E27FC236}">
                  <a16:creationId xmlns:a16="http://schemas.microsoft.com/office/drawing/2014/main" id="{28EA5771-CA78-48BE-8A17-314EEC0A0526}"/>
                </a:ext>
              </a:extLst>
            </p:cNvPr>
            <p:cNvSpPr/>
            <p:nvPr/>
          </p:nvSpPr>
          <p:spPr>
            <a:xfrm>
              <a:off x="6524643" y="405223"/>
              <a:ext cx="540000" cy="540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4</a:t>
              </a:r>
            </a:p>
          </p:txBody>
        </p:sp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6648A949-B8CC-4A6D-94E5-2DFF39DC7ED4}"/>
                </a:ext>
              </a:extLst>
            </p:cNvPr>
            <p:cNvSpPr/>
            <p:nvPr/>
          </p:nvSpPr>
          <p:spPr>
            <a:xfrm>
              <a:off x="5826000" y="405223"/>
              <a:ext cx="540000" cy="540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3</a:t>
              </a:r>
            </a:p>
          </p:txBody>
        </p:sp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4B191F34-4590-4925-B7D1-9BBB0BC35E6A}"/>
                </a:ext>
              </a:extLst>
            </p:cNvPr>
            <p:cNvSpPr/>
            <p:nvPr/>
          </p:nvSpPr>
          <p:spPr>
            <a:xfrm>
              <a:off x="5127357" y="405223"/>
              <a:ext cx="540000" cy="54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solidFill>
                    <a:srgbClr val="7B0000"/>
                  </a:solidFill>
                  <a:latin typeface="+mj-lt"/>
                </a:rPr>
                <a:t>2</a:t>
              </a:r>
            </a:p>
          </p:txBody>
        </p:sp>
        <p:sp>
          <p:nvSpPr>
            <p:cNvPr id="12" name="Овал 11">
              <a:extLst>
                <a:ext uri="{FF2B5EF4-FFF2-40B4-BE49-F238E27FC236}">
                  <a16:creationId xmlns:a16="http://schemas.microsoft.com/office/drawing/2014/main" id="{C33B1DF5-6D37-46EA-8E4C-6280EEF976E8}"/>
                </a:ext>
              </a:extLst>
            </p:cNvPr>
            <p:cNvSpPr/>
            <p:nvPr/>
          </p:nvSpPr>
          <p:spPr>
            <a:xfrm>
              <a:off x="4428714" y="405223"/>
              <a:ext cx="540000" cy="540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1</a:t>
              </a:r>
            </a:p>
          </p:txBody>
        </p:sp>
      </p:grpSp>
      <p:sp>
        <p:nvSpPr>
          <p:cNvPr id="3" name="Текст 2">
            <a:extLst>
              <a:ext uri="{FF2B5EF4-FFF2-40B4-BE49-F238E27FC236}">
                <a16:creationId xmlns:a16="http://schemas.microsoft.com/office/drawing/2014/main" id="{62BDA759-9989-8E39-1064-E6FB4762FB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4919" y="2231923"/>
            <a:ext cx="10562167" cy="2113014"/>
          </a:xfrm>
        </p:spPr>
        <p:txBody>
          <a:bodyPr/>
          <a:lstStyle/>
          <a:p>
            <a:r>
              <a:rPr lang="ru-RU" dirty="0" err="1">
                <a:solidFill>
                  <a:schemeClr val="bg1"/>
                </a:solidFill>
              </a:rPr>
              <a:t>Стандартні</a:t>
            </a:r>
            <a:r>
              <a:rPr lang="ru-RU" dirty="0">
                <a:solidFill>
                  <a:schemeClr val="bg1"/>
                </a:solidFill>
              </a:rPr>
              <a:t> теми та </a:t>
            </a:r>
            <a:r>
              <a:rPr lang="ru-RU" dirty="0" err="1">
                <a:solidFill>
                  <a:schemeClr val="bg1"/>
                </a:solidFill>
              </a:rPr>
              <a:t>шаблони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слайдів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C7A2AC60-1E62-E622-2FB8-603A1A204365}"/>
              </a:ext>
            </a:extLst>
          </p:cNvPr>
          <p:cNvSpPr/>
          <p:nvPr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766120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ABA96BC-155E-4DD7-9982-0D1EEF6738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140" y="743762"/>
            <a:ext cx="7981950" cy="36195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Прямоугольник 25">
            <a:extLst>
              <a:ext uri="{FF2B5EF4-FFF2-40B4-BE49-F238E27FC236}">
                <a16:creationId xmlns:a16="http://schemas.microsoft.com/office/drawing/2014/main" id="{796C6AAA-A745-4753-AD98-F33AA6E090F7}"/>
              </a:ext>
            </a:extLst>
          </p:cNvPr>
          <p:cNvSpPr/>
          <p:nvPr/>
        </p:nvSpPr>
        <p:spPr>
          <a:xfrm>
            <a:off x="468140" y="4725613"/>
            <a:ext cx="11255720" cy="2132387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1200"/>
              </a:spcAft>
            </a:pPr>
            <a:r>
              <a:rPr lang="uk-UA" sz="4000" dirty="0">
                <a:latin typeface="+mj-lt"/>
              </a:rPr>
              <a:t>Зроблять вашу презентацією</a:t>
            </a:r>
            <a:br>
              <a:rPr lang="uk-UA" sz="4000" dirty="0">
                <a:latin typeface="+mj-lt"/>
              </a:rPr>
            </a:br>
            <a:r>
              <a:rPr lang="uk-UA" sz="4000" dirty="0">
                <a:latin typeface="+mj-lt"/>
              </a:rPr>
              <a:t>гіршою в </a:t>
            </a:r>
            <a:r>
              <a:rPr lang="uk-UA" sz="4000" dirty="0">
                <a:solidFill>
                  <a:srgbClr val="C00000"/>
                </a:solidFill>
                <a:latin typeface="+mj-lt"/>
              </a:rPr>
              <a:t>мільйон разів</a:t>
            </a:r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FFCA77DB-D7D6-45CD-B0AD-078A59077E88}"/>
              </a:ext>
            </a:extLst>
          </p:cNvPr>
          <p:cNvSpPr/>
          <p:nvPr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621828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554B64-4457-450E-87F9-A52B139EA8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554B64-4457-450E-87F9-A52B139EA8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кутник 13">
            <a:extLst>
              <a:ext uri="{FF2B5EF4-FFF2-40B4-BE49-F238E27FC236}">
                <a16:creationId xmlns:a16="http://schemas.microsoft.com/office/drawing/2014/main" id="{A14FE9C0-B3BB-4470-824A-5C18DF861D3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uk-UA" sz="4800" dirty="0">
              <a:latin typeface="Franklin Gothic Heavy" panose="020B0903020102020204" pitchFamily="34" charset="0"/>
            </a:endParaRPr>
          </a:p>
        </p:txBody>
      </p:sp>
      <p:grpSp>
        <p:nvGrpSpPr>
          <p:cNvPr id="4" name="Групувати 3">
            <a:extLst>
              <a:ext uri="{FF2B5EF4-FFF2-40B4-BE49-F238E27FC236}">
                <a16:creationId xmlns:a16="http://schemas.microsoft.com/office/drawing/2014/main" id="{0E5D3BF8-F5B7-40A6-AC70-1FCE6BC0B2F0}"/>
              </a:ext>
            </a:extLst>
          </p:cNvPr>
          <p:cNvGrpSpPr/>
          <p:nvPr/>
        </p:nvGrpSpPr>
        <p:grpSpPr>
          <a:xfrm>
            <a:off x="814919" y="549275"/>
            <a:ext cx="2635929" cy="540000"/>
            <a:chOff x="4428714" y="405223"/>
            <a:chExt cx="2635929" cy="540000"/>
          </a:xfrm>
        </p:grpSpPr>
        <p:sp>
          <p:nvSpPr>
            <p:cNvPr id="2" name="Овал 1">
              <a:extLst>
                <a:ext uri="{FF2B5EF4-FFF2-40B4-BE49-F238E27FC236}">
                  <a16:creationId xmlns:a16="http://schemas.microsoft.com/office/drawing/2014/main" id="{28EA5771-CA78-48BE-8A17-314EEC0A0526}"/>
                </a:ext>
              </a:extLst>
            </p:cNvPr>
            <p:cNvSpPr/>
            <p:nvPr/>
          </p:nvSpPr>
          <p:spPr>
            <a:xfrm>
              <a:off x="6524643" y="405223"/>
              <a:ext cx="540000" cy="540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4</a:t>
              </a:r>
            </a:p>
          </p:txBody>
        </p:sp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6648A949-B8CC-4A6D-94E5-2DFF39DC7ED4}"/>
                </a:ext>
              </a:extLst>
            </p:cNvPr>
            <p:cNvSpPr/>
            <p:nvPr/>
          </p:nvSpPr>
          <p:spPr>
            <a:xfrm>
              <a:off x="5826000" y="405223"/>
              <a:ext cx="540000" cy="54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solidFill>
                    <a:srgbClr val="7B0000"/>
                  </a:solidFill>
                  <a:latin typeface="+mj-lt"/>
                </a:rPr>
                <a:t>3</a:t>
              </a:r>
            </a:p>
          </p:txBody>
        </p:sp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4B191F34-4590-4925-B7D1-9BBB0BC35E6A}"/>
                </a:ext>
              </a:extLst>
            </p:cNvPr>
            <p:cNvSpPr/>
            <p:nvPr/>
          </p:nvSpPr>
          <p:spPr>
            <a:xfrm>
              <a:off x="5127357" y="405223"/>
              <a:ext cx="540000" cy="540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2</a:t>
              </a:r>
            </a:p>
          </p:txBody>
        </p:sp>
        <p:sp>
          <p:nvSpPr>
            <p:cNvPr id="12" name="Овал 11">
              <a:extLst>
                <a:ext uri="{FF2B5EF4-FFF2-40B4-BE49-F238E27FC236}">
                  <a16:creationId xmlns:a16="http://schemas.microsoft.com/office/drawing/2014/main" id="{C33B1DF5-6D37-46EA-8E4C-6280EEF976E8}"/>
                </a:ext>
              </a:extLst>
            </p:cNvPr>
            <p:cNvSpPr/>
            <p:nvPr/>
          </p:nvSpPr>
          <p:spPr>
            <a:xfrm>
              <a:off x="4428714" y="405223"/>
              <a:ext cx="540000" cy="540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1</a:t>
              </a:r>
            </a:p>
          </p:txBody>
        </p:sp>
      </p:grpSp>
      <p:sp>
        <p:nvSpPr>
          <p:cNvPr id="3" name="Текст 2">
            <a:extLst>
              <a:ext uri="{FF2B5EF4-FFF2-40B4-BE49-F238E27FC236}">
                <a16:creationId xmlns:a16="http://schemas.microsoft.com/office/drawing/2014/main" id="{62BDA759-9989-8E39-1064-E6FB4762FB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4919" y="2231923"/>
            <a:ext cx="10562167" cy="2113014"/>
          </a:xfr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Переходи </a:t>
            </a:r>
            <a:r>
              <a:rPr lang="ru-RU" dirty="0" err="1">
                <a:solidFill>
                  <a:schemeClr val="bg1"/>
                </a:solidFill>
              </a:rPr>
              <a:t>між</a:t>
            </a:r>
            <a:r>
              <a:rPr lang="ru-RU" dirty="0">
                <a:solidFill>
                  <a:schemeClr val="bg1"/>
                </a:solidFill>
              </a:rPr>
              <a:t> слайдами</a:t>
            </a: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C7A2AC60-1E62-E622-2FB8-603A1A204365}"/>
              </a:ext>
            </a:extLst>
          </p:cNvPr>
          <p:cNvSpPr/>
          <p:nvPr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172576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'єкт 4" hidden="1">
            <a:extLst>
              <a:ext uri="{FF2B5EF4-FFF2-40B4-BE49-F238E27FC236}">
                <a16:creationId xmlns:a16="http://schemas.microsoft.com/office/drawing/2014/main" id="{5D8ADA94-0022-47FD-B11E-9EE20982B8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Об'єкт 4" hidden="1">
                        <a:extLst>
                          <a:ext uri="{FF2B5EF4-FFF2-40B4-BE49-F238E27FC236}">
                            <a16:creationId xmlns:a16="http://schemas.microsoft.com/office/drawing/2014/main" id="{5D8ADA94-0022-47FD-B11E-9EE20982B8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кутник 6" hidden="1">
            <a:extLst>
              <a:ext uri="{FF2B5EF4-FFF2-40B4-BE49-F238E27FC236}">
                <a16:creationId xmlns:a16="http://schemas.microsoft.com/office/drawing/2014/main" id="{B5FCAB56-6AE7-4B67-B5BC-639A83AFFA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2800" dirty="0">
              <a:latin typeface="Franklin Gothic Demi" panose="020B070302010202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8" name="Прямоугольник 25">
            <a:extLst>
              <a:ext uri="{FF2B5EF4-FFF2-40B4-BE49-F238E27FC236}">
                <a16:creationId xmlns:a16="http://schemas.microsoft.com/office/drawing/2014/main" id="{8E673FB6-E0FE-4DF3-8E96-F1AA425DA93E}"/>
              </a:ext>
            </a:extLst>
          </p:cNvPr>
          <p:cNvSpPr/>
          <p:nvPr/>
        </p:nvSpPr>
        <p:spPr>
          <a:xfrm>
            <a:off x="5300518" y="2362807"/>
            <a:ext cx="5105400" cy="2132387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1200"/>
              </a:spcAft>
            </a:pPr>
            <a:r>
              <a:rPr lang="uk-UA" sz="4000" dirty="0">
                <a:latin typeface="+mj-lt"/>
              </a:rPr>
              <a:t>Бридкою вони презентацію не зроблять, але й толку з них не сильно багато</a:t>
            </a:r>
            <a:endParaRPr lang="uk-UA" sz="40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3ED88575-2380-51E8-F77D-6228906CA691}"/>
              </a:ext>
            </a:extLst>
          </p:cNvPr>
          <p:cNvSpPr/>
          <p:nvPr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B9B3DFF-5742-8535-A558-EEA244755F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5690" y="1988201"/>
            <a:ext cx="3743837" cy="288159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7678594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4000">
        <p15:prstTrans prst="prestige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'єкт 4" hidden="1">
            <a:extLst>
              <a:ext uri="{FF2B5EF4-FFF2-40B4-BE49-F238E27FC236}">
                <a16:creationId xmlns:a16="http://schemas.microsoft.com/office/drawing/2014/main" id="{5D8ADA94-0022-47FD-B11E-9EE20982B8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Об'єкт 4" hidden="1">
                        <a:extLst>
                          <a:ext uri="{FF2B5EF4-FFF2-40B4-BE49-F238E27FC236}">
                            <a16:creationId xmlns:a16="http://schemas.microsoft.com/office/drawing/2014/main" id="{5D8ADA94-0022-47FD-B11E-9EE20982B8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кутник 6" hidden="1">
            <a:extLst>
              <a:ext uri="{FF2B5EF4-FFF2-40B4-BE49-F238E27FC236}">
                <a16:creationId xmlns:a16="http://schemas.microsoft.com/office/drawing/2014/main" id="{B5FCAB56-6AE7-4B67-B5BC-639A83AFFA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2800" dirty="0">
              <a:latin typeface="Franklin Gothic Demi" panose="020B070302010202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8" name="Прямоугольник 25">
            <a:extLst>
              <a:ext uri="{FF2B5EF4-FFF2-40B4-BE49-F238E27FC236}">
                <a16:creationId xmlns:a16="http://schemas.microsoft.com/office/drawing/2014/main" id="{8E673FB6-E0FE-4DF3-8E96-F1AA425DA93E}"/>
              </a:ext>
            </a:extLst>
          </p:cNvPr>
          <p:cNvSpPr/>
          <p:nvPr/>
        </p:nvSpPr>
        <p:spPr>
          <a:xfrm>
            <a:off x="5300518" y="2362807"/>
            <a:ext cx="4207164" cy="2132387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1200"/>
              </a:spcAft>
            </a:pPr>
            <a:r>
              <a:rPr lang="uk-UA" sz="4000" dirty="0">
                <a:latin typeface="+mj-lt"/>
              </a:rPr>
              <a:t>Але є один красивий перехід</a:t>
            </a:r>
            <a:endParaRPr lang="uk-UA" sz="40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3ED88575-2380-51E8-F77D-6228906CA691}"/>
              </a:ext>
            </a:extLst>
          </p:cNvPr>
          <p:cNvSpPr/>
          <p:nvPr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B9B3DFF-5742-8535-A558-EEA244755F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5690" y="1988201"/>
            <a:ext cx="3743837" cy="288159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73F1F5B8-3403-0494-75AA-DC34FB6C7C57}"/>
              </a:ext>
            </a:extLst>
          </p:cNvPr>
          <p:cNvSpPr/>
          <p:nvPr/>
        </p:nvSpPr>
        <p:spPr>
          <a:xfrm>
            <a:off x="1267690" y="2140527"/>
            <a:ext cx="446810" cy="332509"/>
          </a:xfrm>
          <a:prstGeom prst="roundRect">
            <a:avLst/>
          </a:prstGeom>
          <a:solidFill>
            <a:schemeClr val="accent5">
              <a:alpha val="48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91157129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'єкт 6" hidden="1">
            <a:extLst>
              <a:ext uri="{FF2B5EF4-FFF2-40B4-BE49-F238E27FC236}">
                <a16:creationId xmlns:a16="http://schemas.microsoft.com/office/drawing/2014/main" id="{5E5FF50D-F96D-4904-A92C-F99C8A8081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369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7" name="Об'єкт 6" hidden="1">
                        <a:extLst>
                          <a:ext uri="{FF2B5EF4-FFF2-40B4-BE49-F238E27FC236}">
                            <a16:creationId xmlns:a16="http://schemas.microsoft.com/office/drawing/2014/main" id="{5E5FF50D-F96D-4904-A92C-F99C8A8081E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Пряма сполучна лінія 2">
            <a:extLst>
              <a:ext uri="{FF2B5EF4-FFF2-40B4-BE49-F238E27FC236}">
                <a16:creationId xmlns:a16="http://schemas.microsoft.com/office/drawing/2014/main" id="{424B0517-C8C1-458D-8A83-3BF8CE2DE02D}"/>
              </a:ext>
            </a:extLst>
          </p:cNvPr>
          <p:cNvCxnSpPr>
            <a:cxnSpLocks/>
          </p:cNvCxnSpPr>
          <p:nvPr/>
        </p:nvCxnSpPr>
        <p:spPr>
          <a:xfrm>
            <a:off x="515937" y="4983418"/>
            <a:ext cx="11160125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Групувати 4">
            <a:extLst>
              <a:ext uri="{FF2B5EF4-FFF2-40B4-BE49-F238E27FC236}">
                <a16:creationId xmlns:a16="http://schemas.microsoft.com/office/drawing/2014/main" id="{A45935B3-B55E-4ADC-81EC-3DF8053D1194}"/>
              </a:ext>
            </a:extLst>
          </p:cNvPr>
          <p:cNvGrpSpPr/>
          <p:nvPr/>
        </p:nvGrpSpPr>
        <p:grpSpPr>
          <a:xfrm>
            <a:off x="5703611" y="4682329"/>
            <a:ext cx="615371" cy="615371"/>
            <a:chOff x="5788315" y="4682329"/>
            <a:chExt cx="615371" cy="615371"/>
          </a:xfrm>
        </p:grpSpPr>
        <p:sp>
          <p:nvSpPr>
            <p:cNvPr id="4" name="Овал 3">
              <a:extLst>
                <a:ext uri="{FF2B5EF4-FFF2-40B4-BE49-F238E27FC236}">
                  <a16:creationId xmlns:a16="http://schemas.microsoft.com/office/drawing/2014/main" id="{E12A2878-117C-4E86-AF00-ACAA362C5F73}"/>
                </a:ext>
              </a:extLst>
            </p:cNvPr>
            <p:cNvSpPr/>
            <p:nvPr/>
          </p:nvSpPr>
          <p:spPr>
            <a:xfrm>
              <a:off x="5788315" y="4682329"/>
              <a:ext cx="615371" cy="6153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 dirty="0"/>
            </a:p>
          </p:txBody>
        </p:sp>
        <p:grpSp>
          <p:nvGrpSpPr>
            <p:cNvPr id="67" name="Групувати 2">
              <a:extLst>
                <a:ext uri="{FF2B5EF4-FFF2-40B4-BE49-F238E27FC236}">
                  <a16:creationId xmlns:a16="http://schemas.microsoft.com/office/drawing/2014/main" id="{1D73CD33-FD82-44CF-89C5-2F9922A783DB}"/>
                </a:ext>
              </a:extLst>
            </p:cNvPr>
            <p:cNvGrpSpPr/>
            <p:nvPr/>
          </p:nvGrpSpPr>
          <p:grpSpPr>
            <a:xfrm rot="5400000">
              <a:off x="5979140" y="4847768"/>
              <a:ext cx="224196" cy="287338"/>
              <a:chOff x="3954567" y="2493963"/>
              <a:chExt cx="224196" cy="287338"/>
            </a:xfrm>
          </p:grpSpPr>
          <p:sp>
            <p:nvSpPr>
              <p:cNvPr id="68" name="Стрілка: шеврон 272">
                <a:extLst>
                  <a:ext uri="{FF2B5EF4-FFF2-40B4-BE49-F238E27FC236}">
                    <a16:creationId xmlns:a16="http://schemas.microsoft.com/office/drawing/2014/main" id="{21FC9778-E0ED-4A4F-87FD-714BC6FDB7D3}"/>
                  </a:ext>
                </a:extLst>
              </p:cNvPr>
              <p:cNvSpPr/>
              <p:nvPr/>
            </p:nvSpPr>
            <p:spPr>
              <a:xfrm>
                <a:off x="3954567" y="2493963"/>
                <a:ext cx="144000" cy="287338"/>
              </a:xfrm>
              <a:prstGeom prst="chevron">
                <a:avLst>
                  <a:gd name="adj" fmla="val 80238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tx1"/>
                  </a:solidFill>
                </a:endParaRPr>
              </a:p>
            </p:txBody>
          </p:sp>
          <p:sp>
            <p:nvSpPr>
              <p:cNvPr id="69" name="Стрілка: шеврон 273">
                <a:extLst>
                  <a:ext uri="{FF2B5EF4-FFF2-40B4-BE49-F238E27FC236}">
                    <a16:creationId xmlns:a16="http://schemas.microsoft.com/office/drawing/2014/main" id="{41E0A51E-1E05-437A-A144-FB8629021318}"/>
                  </a:ext>
                </a:extLst>
              </p:cNvPr>
              <p:cNvSpPr/>
              <p:nvPr/>
            </p:nvSpPr>
            <p:spPr>
              <a:xfrm>
                <a:off x="4034763" y="2493963"/>
                <a:ext cx="144000" cy="287338"/>
              </a:xfrm>
              <a:prstGeom prst="chevron">
                <a:avLst>
                  <a:gd name="adj" fmla="val 80238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8" name="Прямокутник 7" hidden="1">
            <a:extLst>
              <a:ext uri="{FF2B5EF4-FFF2-40B4-BE49-F238E27FC236}">
                <a16:creationId xmlns:a16="http://schemas.microsoft.com/office/drawing/2014/main" id="{BA8A7333-567E-4D9F-BE90-59920FB8F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-Ukraine Head LOGO" panose="00000605000000000000" pitchFamily="50" charset="-52"/>
              <a:ea typeface="+mn-ea"/>
              <a:cs typeface="Arial" panose="020B0604020202020204" pitchFamily="34" charset="0"/>
              <a:sym typeface="e-Ukraine Head LOGO" panose="00000605000000000000" pitchFamily="50" charset="-52"/>
            </a:endParaRPr>
          </a:p>
        </p:txBody>
      </p:sp>
      <p:sp>
        <p:nvSpPr>
          <p:cNvPr id="71" name="Місце для тексту 3">
            <a:extLst>
              <a:ext uri="{FF2B5EF4-FFF2-40B4-BE49-F238E27FC236}">
                <a16:creationId xmlns:a16="http://schemas.microsoft.com/office/drawing/2014/main" id="{E57AD8F6-B769-4F9E-82F0-56EFACE37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7" y="189401"/>
            <a:ext cx="11160126" cy="647212"/>
          </a:xfrm>
          <a:ln>
            <a:noFill/>
          </a:ln>
        </p:spPr>
        <p:txBody>
          <a:bodyPr anchor="ctr"/>
          <a:lstStyle/>
          <a:p>
            <a:r>
              <a:rPr lang="uk-UA" dirty="0">
                <a:solidFill>
                  <a:schemeClr val="tx1"/>
                </a:solidFill>
              </a:rPr>
              <a:t>Базуючись на аналізі міжнародного досвіду було вирішено фокусуватися на кластерах, тож було визначено найбільш привабливий </a:t>
            </a:r>
            <a:r>
              <a:rPr lang="uk-UA" dirty="0" err="1">
                <a:solidFill>
                  <a:schemeClr val="tx1"/>
                </a:solidFill>
              </a:rPr>
              <a:t>макрорегіон</a:t>
            </a:r>
            <a:endParaRPr lang="uk-UA" dirty="0">
              <a:solidFill>
                <a:schemeClr val="tx1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3A1E631-4F11-4508-8B33-D5448D3467D7}"/>
              </a:ext>
            </a:extLst>
          </p:cNvPr>
          <p:cNvSpPr txBox="1"/>
          <p:nvPr/>
        </p:nvSpPr>
        <p:spPr>
          <a:xfrm>
            <a:off x="515937" y="5117072"/>
            <a:ext cx="11160125" cy="1306818"/>
          </a:xfrm>
          <a:prstGeom prst="rect">
            <a:avLst/>
          </a:prstGeom>
          <a:noFill/>
        </p:spPr>
        <p:txBody>
          <a:bodyPr wrap="square" lIns="0" tIns="0" rIns="0" bIns="0" numCol="2" spcCol="180000" anchor="t">
            <a:no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uk-UA" sz="1000" dirty="0">
                <a:solidFill>
                  <a:srgbClr val="000000"/>
                </a:solidFill>
              </a:rPr>
              <a:t>Територія України була поділена на 8 </a:t>
            </a:r>
            <a:r>
              <a:rPr lang="uk-UA" sz="1000" dirty="0" err="1">
                <a:solidFill>
                  <a:srgbClr val="000000"/>
                </a:solidFill>
              </a:rPr>
              <a:t>макрорегіонів</a:t>
            </a:r>
            <a:r>
              <a:rPr lang="uk-UA" sz="1000" dirty="0">
                <a:solidFill>
                  <a:srgbClr val="000000"/>
                </a:solidFill>
              </a:rPr>
              <a:t> відповідно до природних особливостей та історико-географічних регіонів:</a:t>
            </a:r>
            <a:br>
              <a:rPr lang="uk-UA" sz="1000" dirty="0">
                <a:solidFill>
                  <a:srgbClr val="000000"/>
                </a:solidFill>
              </a:rPr>
            </a:br>
            <a:r>
              <a:rPr lang="uk-UA" sz="1000" dirty="0">
                <a:solidFill>
                  <a:srgbClr val="000000"/>
                </a:solidFill>
              </a:rPr>
              <a:t>(1) Причорномор’я, (2) Карпатський регіон, (3) Полісся, (4) Приазов’я,</a:t>
            </a:r>
            <a:br>
              <a:rPr lang="uk-UA" sz="1000" dirty="0">
                <a:solidFill>
                  <a:srgbClr val="000000"/>
                </a:solidFill>
              </a:rPr>
            </a:br>
            <a:r>
              <a:rPr lang="uk-UA" sz="1000" dirty="0">
                <a:solidFill>
                  <a:srgbClr val="000000"/>
                </a:solidFill>
              </a:rPr>
              <a:t>(5) Слобожанщина, (6) Поділля та Буковина, (7) Центральна Україна, </a:t>
            </a:r>
            <a:br>
              <a:rPr lang="uk-UA" sz="1000" dirty="0">
                <a:solidFill>
                  <a:srgbClr val="000000"/>
                </a:solidFill>
              </a:rPr>
            </a:br>
            <a:r>
              <a:rPr lang="uk-UA" sz="1000" dirty="0">
                <a:solidFill>
                  <a:srgbClr val="000000"/>
                </a:solidFill>
              </a:rPr>
              <a:t>(8) Волинь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uk-UA" sz="1000" dirty="0">
                <a:solidFill>
                  <a:srgbClr val="000000"/>
                </a:solidFill>
              </a:rPr>
              <a:t>На основі аналізу індексу туристичної привабливості </a:t>
            </a:r>
            <a:r>
              <a:rPr lang="uk-UA" sz="1000" dirty="0" err="1">
                <a:solidFill>
                  <a:srgbClr val="000000"/>
                </a:solidFill>
              </a:rPr>
              <a:t>макрорегіони</a:t>
            </a:r>
            <a:r>
              <a:rPr lang="uk-UA" sz="1000" dirty="0">
                <a:solidFill>
                  <a:srgbClr val="000000"/>
                </a:solidFill>
              </a:rPr>
              <a:t> були порівняні між собою та обраний найперспективніший для стимулювання розвитку туризму:</a:t>
            </a:r>
          </a:p>
          <a:p>
            <a:pPr marL="171450" indent="-17145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uk-UA" sz="1000" dirty="0">
                <a:solidFill>
                  <a:srgbClr val="000000"/>
                </a:solidFill>
              </a:rPr>
              <a:t>Були відкинуті всі регіони, які не мають сильного магніту, який був би драйвером розвитку туризму в регіоні (4, 5, 6, 7, 8 регіони)</a:t>
            </a:r>
          </a:p>
          <a:p>
            <a:pPr marL="171450" indent="-17145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uk-UA" sz="1000" dirty="0">
                <a:solidFill>
                  <a:srgbClr val="000000"/>
                </a:solidFill>
              </a:rPr>
              <a:t>Був відкинутий регіон Полісся (3) через те, що значення Індексу у Житомирській області нижче ніж показник середня – стандартне відхилення, що свідчить про потребу у значному розвитку даного регіону</a:t>
            </a:r>
          </a:p>
          <a:p>
            <a:pPr marL="171450" indent="-17145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uk-UA" sz="1000" dirty="0">
                <a:solidFill>
                  <a:srgbClr val="000000"/>
                </a:solidFill>
              </a:rPr>
              <a:t>Карпатський регіон (2) фактично має два магніти, що означає те, що регіон потребує менше підтримки для розвитку туристичного потенціалу</a:t>
            </a:r>
          </a:p>
          <a:p>
            <a:pPr marL="171450" indent="-17145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uk-UA" sz="1000" dirty="0">
                <a:solidFill>
                  <a:srgbClr val="000000"/>
                </a:solidFill>
              </a:rPr>
              <a:t>Таким чином, </a:t>
            </a:r>
            <a:r>
              <a:rPr lang="uk-UA" sz="1000" b="1" dirty="0">
                <a:solidFill>
                  <a:schemeClr val="accent1"/>
                </a:solidFill>
              </a:rPr>
              <a:t>найперспективнішим для стимулювання розвитку був обраний Причорноморський регіон (1)</a:t>
            </a:r>
            <a:r>
              <a:rPr lang="uk-UA" sz="1000" dirty="0">
                <a:solidFill>
                  <a:srgbClr val="000000"/>
                </a:solidFill>
              </a:rPr>
              <a:t>, який складається з магніту у вигляді Одеської області та Херсонської та Миколаївської областей, які мають середнє значення Індексу</a:t>
            </a:r>
          </a:p>
        </p:txBody>
      </p:sp>
      <p:sp>
        <p:nvSpPr>
          <p:cNvPr id="70" name="Прямокутник 69">
            <a:extLst>
              <a:ext uri="{FF2B5EF4-FFF2-40B4-BE49-F238E27FC236}">
                <a16:creationId xmlns:a16="http://schemas.microsoft.com/office/drawing/2014/main" id="{7930F74B-ACFC-49BB-BE7B-49938F206772}"/>
              </a:ext>
            </a:extLst>
          </p:cNvPr>
          <p:cNvSpPr/>
          <p:nvPr/>
        </p:nvSpPr>
        <p:spPr>
          <a:xfrm>
            <a:off x="6489784" y="3557032"/>
            <a:ext cx="4403725" cy="1046306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uk-UA" sz="1000" dirty="0">
                <a:solidFill>
                  <a:schemeClr val="tx1"/>
                </a:solidFill>
              </a:rPr>
              <a:t>Області з суттєво нижчим</a:t>
            </a:r>
          </a:p>
          <a:p>
            <a:pPr algn="r"/>
            <a:r>
              <a:rPr lang="uk-UA" sz="1000" dirty="0">
                <a:solidFill>
                  <a:schemeClr val="tx1"/>
                </a:solidFill>
              </a:rPr>
              <a:t>рівнем розвитку туризму</a:t>
            </a:r>
          </a:p>
        </p:txBody>
      </p:sp>
      <p:sp>
        <p:nvSpPr>
          <p:cNvPr id="72" name="Прямокутник 71">
            <a:extLst>
              <a:ext uri="{FF2B5EF4-FFF2-40B4-BE49-F238E27FC236}">
                <a16:creationId xmlns:a16="http://schemas.microsoft.com/office/drawing/2014/main" id="{ED2EEE5A-052B-4EDE-9854-6DA74B3E5217}"/>
              </a:ext>
            </a:extLst>
          </p:cNvPr>
          <p:cNvSpPr/>
          <p:nvPr/>
        </p:nvSpPr>
        <p:spPr>
          <a:xfrm>
            <a:off x="6489784" y="1970088"/>
            <a:ext cx="4403725" cy="521929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uk-UA" sz="1000" b="0" i="0" u="none" strike="noStrike" dirty="0">
                <a:solidFill>
                  <a:srgbClr val="000000"/>
                </a:solidFill>
                <a:effectLst/>
              </a:rPr>
              <a:t>Області, в яких є сильний</a:t>
            </a:r>
          </a:p>
          <a:p>
            <a:pPr algn="r"/>
            <a:r>
              <a:rPr lang="uk-UA" sz="1000" b="0" i="0" u="none" strike="noStrike" dirty="0">
                <a:solidFill>
                  <a:srgbClr val="000000"/>
                </a:solidFill>
                <a:effectLst/>
              </a:rPr>
              <a:t>туристичний магніт</a:t>
            </a:r>
            <a:endParaRPr lang="uk-UA" sz="1000" b="1" u="sng" dirty="0"/>
          </a:p>
        </p:txBody>
      </p:sp>
      <p:grpSp>
        <p:nvGrpSpPr>
          <p:cNvPr id="73" name="Групувати 72">
            <a:extLst>
              <a:ext uri="{FF2B5EF4-FFF2-40B4-BE49-F238E27FC236}">
                <a16:creationId xmlns:a16="http://schemas.microsoft.com/office/drawing/2014/main" id="{D6B5BFB8-C91F-4D4B-B796-137558C6A44B}"/>
              </a:ext>
            </a:extLst>
          </p:cNvPr>
          <p:cNvGrpSpPr/>
          <p:nvPr/>
        </p:nvGrpSpPr>
        <p:grpSpPr>
          <a:xfrm>
            <a:off x="515938" y="1668464"/>
            <a:ext cx="4729162" cy="3206163"/>
            <a:chOff x="515938" y="1970314"/>
            <a:chExt cx="5165262" cy="3501820"/>
          </a:xfrm>
        </p:grpSpPr>
        <p:grpSp>
          <p:nvGrpSpPr>
            <p:cNvPr id="74" name="Групувати 73">
              <a:extLst>
                <a:ext uri="{FF2B5EF4-FFF2-40B4-BE49-F238E27FC236}">
                  <a16:creationId xmlns:a16="http://schemas.microsoft.com/office/drawing/2014/main" id="{AA7A02B3-5B7B-4082-9842-4367B5015858}"/>
                </a:ext>
              </a:extLst>
            </p:cNvPr>
            <p:cNvGrpSpPr/>
            <p:nvPr/>
          </p:nvGrpSpPr>
          <p:grpSpPr>
            <a:xfrm>
              <a:off x="515938" y="1970314"/>
              <a:ext cx="5165262" cy="3501820"/>
              <a:chOff x="982889" y="1847740"/>
              <a:chExt cx="6448198" cy="4371595"/>
            </a:xfrm>
          </p:grpSpPr>
          <p:sp>
            <p:nvSpPr>
              <p:cNvPr id="84" name="Freeform 1159">
                <a:extLst>
                  <a:ext uri="{FF2B5EF4-FFF2-40B4-BE49-F238E27FC236}">
                    <a16:creationId xmlns:a16="http://schemas.microsoft.com/office/drawing/2014/main" id="{75822511-D9F0-4028-BD8C-A67DF083A7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0544" y="4121818"/>
                <a:ext cx="1108836" cy="1031103"/>
              </a:xfrm>
              <a:custGeom>
                <a:avLst/>
                <a:gdLst>
                  <a:gd name="T0" fmla="*/ 47625 w 157"/>
                  <a:gd name="T1" fmla="*/ 436563 h 146"/>
                  <a:gd name="T2" fmla="*/ 198437 w 157"/>
                  <a:gd name="T3" fmla="*/ 396875 h 146"/>
                  <a:gd name="T4" fmla="*/ 277812 w 157"/>
                  <a:gd name="T5" fmla="*/ 357188 h 146"/>
                  <a:gd name="T6" fmla="*/ 261937 w 157"/>
                  <a:gd name="T7" fmla="*/ 222250 h 146"/>
                  <a:gd name="T8" fmla="*/ 261937 w 157"/>
                  <a:gd name="T9" fmla="*/ 142875 h 146"/>
                  <a:gd name="T10" fmla="*/ 230187 w 157"/>
                  <a:gd name="T11" fmla="*/ 87313 h 146"/>
                  <a:gd name="T12" fmla="*/ 341312 w 157"/>
                  <a:gd name="T13" fmla="*/ 39688 h 146"/>
                  <a:gd name="T14" fmla="*/ 373062 w 157"/>
                  <a:gd name="T15" fmla="*/ 39688 h 146"/>
                  <a:gd name="T16" fmla="*/ 523875 w 157"/>
                  <a:gd name="T17" fmla="*/ 39688 h 146"/>
                  <a:gd name="T18" fmla="*/ 650875 w 157"/>
                  <a:gd name="T19" fmla="*/ 47625 h 146"/>
                  <a:gd name="T20" fmla="*/ 722312 w 157"/>
                  <a:gd name="T21" fmla="*/ 55563 h 146"/>
                  <a:gd name="T22" fmla="*/ 746125 w 157"/>
                  <a:gd name="T23" fmla="*/ 158750 h 146"/>
                  <a:gd name="T24" fmla="*/ 825500 w 157"/>
                  <a:gd name="T25" fmla="*/ 182563 h 146"/>
                  <a:gd name="T26" fmla="*/ 904875 w 157"/>
                  <a:gd name="T27" fmla="*/ 182563 h 146"/>
                  <a:gd name="T28" fmla="*/ 976312 w 157"/>
                  <a:gd name="T29" fmla="*/ 198438 h 146"/>
                  <a:gd name="T30" fmla="*/ 1031875 w 157"/>
                  <a:gd name="T31" fmla="*/ 301625 h 146"/>
                  <a:gd name="T32" fmla="*/ 1135062 w 157"/>
                  <a:gd name="T33" fmla="*/ 341313 h 146"/>
                  <a:gd name="T34" fmla="*/ 1230312 w 157"/>
                  <a:gd name="T35" fmla="*/ 404813 h 146"/>
                  <a:gd name="T36" fmla="*/ 1190625 w 157"/>
                  <a:gd name="T37" fmla="*/ 452438 h 146"/>
                  <a:gd name="T38" fmla="*/ 1119187 w 157"/>
                  <a:gd name="T39" fmla="*/ 515938 h 146"/>
                  <a:gd name="T40" fmla="*/ 1166812 w 157"/>
                  <a:gd name="T41" fmla="*/ 627063 h 146"/>
                  <a:gd name="T42" fmla="*/ 1206500 w 157"/>
                  <a:gd name="T43" fmla="*/ 690563 h 146"/>
                  <a:gd name="T44" fmla="*/ 1103312 w 157"/>
                  <a:gd name="T45" fmla="*/ 825500 h 146"/>
                  <a:gd name="T46" fmla="*/ 785812 w 157"/>
                  <a:gd name="T47" fmla="*/ 896938 h 146"/>
                  <a:gd name="T48" fmla="*/ 595312 w 157"/>
                  <a:gd name="T49" fmla="*/ 1039813 h 146"/>
                  <a:gd name="T50" fmla="*/ 508000 w 157"/>
                  <a:gd name="T51" fmla="*/ 1119188 h 146"/>
                  <a:gd name="T52" fmla="*/ 484187 w 157"/>
                  <a:gd name="T53" fmla="*/ 1079500 h 146"/>
                  <a:gd name="T54" fmla="*/ 420687 w 157"/>
                  <a:gd name="T55" fmla="*/ 1150938 h 146"/>
                  <a:gd name="T56" fmla="*/ 333375 w 157"/>
                  <a:gd name="T57" fmla="*/ 1047750 h 146"/>
                  <a:gd name="T58" fmla="*/ 238125 w 157"/>
                  <a:gd name="T59" fmla="*/ 968375 h 146"/>
                  <a:gd name="T60" fmla="*/ 214312 w 157"/>
                  <a:gd name="T61" fmla="*/ 889000 h 146"/>
                  <a:gd name="T62" fmla="*/ 230187 w 157"/>
                  <a:gd name="T63" fmla="*/ 801688 h 146"/>
                  <a:gd name="T64" fmla="*/ 166687 w 157"/>
                  <a:gd name="T65" fmla="*/ 738188 h 146"/>
                  <a:gd name="T66" fmla="*/ 119062 w 157"/>
                  <a:gd name="T67" fmla="*/ 595313 h 146"/>
                  <a:gd name="T68" fmla="*/ 23812 w 157"/>
                  <a:gd name="T69" fmla="*/ 531813 h 146"/>
                  <a:gd name="T70" fmla="*/ 0 w 157"/>
                  <a:gd name="T71" fmla="*/ 452438 h 14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57"/>
                  <a:gd name="T109" fmla="*/ 0 h 146"/>
                  <a:gd name="T110" fmla="*/ 157 w 157"/>
                  <a:gd name="T111" fmla="*/ 146 h 14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57" h="146">
                    <a:moveTo>
                      <a:pt x="0" y="57"/>
                    </a:moveTo>
                    <a:cubicBezTo>
                      <a:pt x="0" y="57"/>
                      <a:pt x="2" y="54"/>
                      <a:pt x="6" y="55"/>
                    </a:cubicBezTo>
                    <a:cubicBezTo>
                      <a:pt x="6" y="55"/>
                      <a:pt x="11" y="53"/>
                      <a:pt x="13" y="51"/>
                    </a:cubicBezTo>
                    <a:cubicBezTo>
                      <a:pt x="13" y="51"/>
                      <a:pt x="18" y="47"/>
                      <a:pt x="25" y="50"/>
                    </a:cubicBezTo>
                    <a:cubicBezTo>
                      <a:pt x="25" y="50"/>
                      <a:pt x="26" y="52"/>
                      <a:pt x="32" y="51"/>
                    </a:cubicBezTo>
                    <a:cubicBezTo>
                      <a:pt x="32" y="51"/>
                      <a:pt x="36" y="53"/>
                      <a:pt x="35" y="45"/>
                    </a:cubicBezTo>
                    <a:cubicBezTo>
                      <a:pt x="35" y="45"/>
                      <a:pt x="34" y="41"/>
                      <a:pt x="35" y="39"/>
                    </a:cubicBezTo>
                    <a:cubicBezTo>
                      <a:pt x="39" y="34"/>
                      <a:pt x="31" y="37"/>
                      <a:pt x="33" y="28"/>
                    </a:cubicBezTo>
                    <a:cubicBezTo>
                      <a:pt x="33" y="28"/>
                      <a:pt x="28" y="25"/>
                      <a:pt x="28" y="23"/>
                    </a:cubicBezTo>
                    <a:cubicBezTo>
                      <a:pt x="28" y="19"/>
                      <a:pt x="36" y="20"/>
                      <a:pt x="33" y="18"/>
                    </a:cubicBezTo>
                    <a:cubicBezTo>
                      <a:pt x="33" y="18"/>
                      <a:pt x="30" y="15"/>
                      <a:pt x="27" y="15"/>
                    </a:cubicBezTo>
                    <a:cubicBezTo>
                      <a:pt x="27" y="15"/>
                      <a:pt x="30" y="13"/>
                      <a:pt x="29" y="11"/>
                    </a:cubicBezTo>
                    <a:cubicBezTo>
                      <a:pt x="29" y="11"/>
                      <a:pt x="28" y="7"/>
                      <a:pt x="36" y="8"/>
                    </a:cubicBezTo>
                    <a:cubicBezTo>
                      <a:pt x="36" y="8"/>
                      <a:pt x="37" y="3"/>
                      <a:pt x="43" y="5"/>
                    </a:cubicBezTo>
                    <a:cubicBezTo>
                      <a:pt x="44" y="4"/>
                      <a:pt x="44" y="4"/>
                      <a:pt x="45" y="4"/>
                    </a:cubicBezTo>
                    <a:cubicBezTo>
                      <a:pt x="46" y="5"/>
                      <a:pt x="46" y="5"/>
                      <a:pt x="47" y="5"/>
                    </a:cubicBezTo>
                    <a:cubicBezTo>
                      <a:pt x="47" y="5"/>
                      <a:pt x="50" y="3"/>
                      <a:pt x="58" y="5"/>
                    </a:cubicBezTo>
                    <a:cubicBezTo>
                      <a:pt x="58" y="5"/>
                      <a:pt x="62" y="8"/>
                      <a:pt x="66" y="5"/>
                    </a:cubicBezTo>
                    <a:cubicBezTo>
                      <a:pt x="66" y="5"/>
                      <a:pt x="70" y="0"/>
                      <a:pt x="75" y="4"/>
                    </a:cubicBezTo>
                    <a:cubicBezTo>
                      <a:pt x="75" y="4"/>
                      <a:pt x="77" y="7"/>
                      <a:pt x="82" y="6"/>
                    </a:cubicBezTo>
                    <a:cubicBezTo>
                      <a:pt x="82" y="6"/>
                      <a:pt x="87" y="2"/>
                      <a:pt x="87" y="8"/>
                    </a:cubicBezTo>
                    <a:cubicBezTo>
                      <a:pt x="87" y="8"/>
                      <a:pt x="88" y="10"/>
                      <a:pt x="91" y="7"/>
                    </a:cubicBezTo>
                    <a:cubicBezTo>
                      <a:pt x="91" y="7"/>
                      <a:pt x="89" y="10"/>
                      <a:pt x="93" y="15"/>
                    </a:cubicBezTo>
                    <a:cubicBezTo>
                      <a:pt x="93" y="15"/>
                      <a:pt x="100" y="16"/>
                      <a:pt x="94" y="20"/>
                    </a:cubicBezTo>
                    <a:cubicBezTo>
                      <a:pt x="94" y="20"/>
                      <a:pt x="94" y="24"/>
                      <a:pt x="98" y="22"/>
                    </a:cubicBezTo>
                    <a:cubicBezTo>
                      <a:pt x="98" y="22"/>
                      <a:pt x="99" y="19"/>
                      <a:pt x="104" y="23"/>
                    </a:cubicBezTo>
                    <a:cubicBezTo>
                      <a:pt x="104" y="23"/>
                      <a:pt x="104" y="27"/>
                      <a:pt x="109" y="22"/>
                    </a:cubicBezTo>
                    <a:cubicBezTo>
                      <a:pt x="109" y="22"/>
                      <a:pt x="112" y="25"/>
                      <a:pt x="114" y="23"/>
                    </a:cubicBezTo>
                    <a:cubicBezTo>
                      <a:pt x="114" y="23"/>
                      <a:pt x="115" y="20"/>
                      <a:pt x="120" y="22"/>
                    </a:cubicBezTo>
                    <a:cubicBezTo>
                      <a:pt x="120" y="26"/>
                      <a:pt x="123" y="25"/>
                      <a:pt x="123" y="25"/>
                    </a:cubicBezTo>
                    <a:cubicBezTo>
                      <a:pt x="126" y="25"/>
                      <a:pt x="126" y="30"/>
                      <a:pt x="126" y="30"/>
                    </a:cubicBezTo>
                    <a:cubicBezTo>
                      <a:pt x="128" y="33"/>
                      <a:pt x="130" y="38"/>
                      <a:pt x="130" y="38"/>
                    </a:cubicBezTo>
                    <a:cubicBezTo>
                      <a:pt x="135" y="37"/>
                      <a:pt x="137" y="41"/>
                      <a:pt x="137" y="41"/>
                    </a:cubicBezTo>
                    <a:cubicBezTo>
                      <a:pt x="138" y="43"/>
                      <a:pt x="140" y="38"/>
                      <a:pt x="143" y="43"/>
                    </a:cubicBezTo>
                    <a:cubicBezTo>
                      <a:pt x="146" y="43"/>
                      <a:pt x="150" y="47"/>
                      <a:pt x="150" y="47"/>
                    </a:cubicBezTo>
                    <a:cubicBezTo>
                      <a:pt x="157" y="47"/>
                      <a:pt x="155" y="51"/>
                      <a:pt x="155" y="51"/>
                    </a:cubicBezTo>
                    <a:cubicBezTo>
                      <a:pt x="147" y="53"/>
                      <a:pt x="152" y="55"/>
                      <a:pt x="152" y="55"/>
                    </a:cubicBezTo>
                    <a:cubicBezTo>
                      <a:pt x="152" y="55"/>
                      <a:pt x="156" y="56"/>
                      <a:pt x="150" y="57"/>
                    </a:cubicBezTo>
                    <a:cubicBezTo>
                      <a:pt x="147" y="57"/>
                      <a:pt x="151" y="62"/>
                      <a:pt x="146" y="60"/>
                    </a:cubicBezTo>
                    <a:cubicBezTo>
                      <a:pt x="137" y="61"/>
                      <a:pt x="141" y="65"/>
                      <a:pt x="141" y="65"/>
                    </a:cubicBezTo>
                    <a:cubicBezTo>
                      <a:pt x="143" y="69"/>
                      <a:pt x="139" y="71"/>
                      <a:pt x="139" y="71"/>
                    </a:cubicBezTo>
                    <a:cubicBezTo>
                      <a:pt x="147" y="72"/>
                      <a:pt x="147" y="79"/>
                      <a:pt x="147" y="79"/>
                    </a:cubicBezTo>
                    <a:cubicBezTo>
                      <a:pt x="156" y="79"/>
                      <a:pt x="154" y="83"/>
                      <a:pt x="154" y="83"/>
                    </a:cubicBezTo>
                    <a:cubicBezTo>
                      <a:pt x="155" y="86"/>
                      <a:pt x="152" y="87"/>
                      <a:pt x="152" y="87"/>
                    </a:cubicBezTo>
                    <a:cubicBezTo>
                      <a:pt x="144" y="88"/>
                      <a:pt x="151" y="93"/>
                      <a:pt x="151" y="93"/>
                    </a:cubicBezTo>
                    <a:cubicBezTo>
                      <a:pt x="144" y="98"/>
                      <a:pt x="139" y="104"/>
                      <a:pt x="139" y="104"/>
                    </a:cubicBezTo>
                    <a:cubicBezTo>
                      <a:pt x="125" y="98"/>
                      <a:pt x="113" y="115"/>
                      <a:pt x="113" y="115"/>
                    </a:cubicBezTo>
                    <a:cubicBezTo>
                      <a:pt x="106" y="109"/>
                      <a:pt x="99" y="113"/>
                      <a:pt x="99" y="113"/>
                    </a:cubicBezTo>
                    <a:cubicBezTo>
                      <a:pt x="86" y="115"/>
                      <a:pt x="82" y="124"/>
                      <a:pt x="82" y="124"/>
                    </a:cubicBezTo>
                    <a:cubicBezTo>
                      <a:pt x="81" y="128"/>
                      <a:pt x="75" y="131"/>
                      <a:pt x="75" y="131"/>
                    </a:cubicBezTo>
                    <a:lnTo>
                      <a:pt x="64" y="141"/>
                    </a:lnTo>
                    <a:cubicBezTo>
                      <a:pt x="59" y="143"/>
                      <a:pt x="61" y="136"/>
                      <a:pt x="61" y="136"/>
                    </a:cubicBezTo>
                    <a:cubicBezTo>
                      <a:pt x="60" y="131"/>
                      <a:pt x="57" y="137"/>
                      <a:pt x="57" y="137"/>
                    </a:cubicBezTo>
                    <a:cubicBezTo>
                      <a:pt x="56" y="141"/>
                      <a:pt x="55" y="143"/>
                      <a:pt x="53" y="145"/>
                    </a:cubicBezTo>
                    <a:cubicBezTo>
                      <a:pt x="46" y="146"/>
                      <a:pt x="48" y="142"/>
                      <a:pt x="48" y="142"/>
                    </a:cubicBezTo>
                    <a:cubicBezTo>
                      <a:pt x="48" y="130"/>
                      <a:pt x="42" y="132"/>
                      <a:pt x="42" y="132"/>
                    </a:cubicBezTo>
                    <a:cubicBezTo>
                      <a:pt x="37" y="131"/>
                      <a:pt x="37" y="127"/>
                      <a:pt x="37" y="127"/>
                    </a:cubicBezTo>
                    <a:cubicBezTo>
                      <a:pt x="29" y="126"/>
                      <a:pt x="30" y="122"/>
                      <a:pt x="30" y="122"/>
                    </a:cubicBezTo>
                    <a:cubicBezTo>
                      <a:pt x="31" y="119"/>
                      <a:pt x="27" y="117"/>
                      <a:pt x="27" y="117"/>
                    </a:cubicBezTo>
                    <a:cubicBezTo>
                      <a:pt x="20" y="117"/>
                      <a:pt x="27" y="112"/>
                      <a:pt x="27" y="112"/>
                    </a:cubicBezTo>
                    <a:cubicBezTo>
                      <a:pt x="31" y="111"/>
                      <a:pt x="29" y="107"/>
                      <a:pt x="29" y="107"/>
                    </a:cubicBezTo>
                    <a:cubicBezTo>
                      <a:pt x="36" y="103"/>
                      <a:pt x="29" y="101"/>
                      <a:pt x="29" y="101"/>
                    </a:cubicBezTo>
                    <a:cubicBezTo>
                      <a:pt x="29" y="96"/>
                      <a:pt x="24" y="97"/>
                      <a:pt x="24" y="97"/>
                    </a:cubicBezTo>
                    <a:cubicBezTo>
                      <a:pt x="22" y="97"/>
                      <a:pt x="21" y="93"/>
                      <a:pt x="21" y="93"/>
                    </a:cubicBezTo>
                    <a:cubicBezTo>
                      <a:pt x="16" y="92"/>
                      <a:pt x="18" y="86"/>
                      <a:pt x="18" y="86"/>
                    </a:cubicBezTo>
                    <a:cubicBezTo>
                      <a:pt x="13" y="83"/>
                      <a:pt x="15" y="75"/>
                      <a:pt x="15" y="75"/>
                    </a:cubicBezTo>
                    <a:cubicBezTo>
                      <a:pt x="12" y="64"/>
                      <a:pt x="9" y="72"/>
                      <a:pt x="9" y="72"/>
                    </a:cubicBezTo>
                    <a:cubicBezTo>
                      <a:pt x="3" y="75"/>
                      <a:pt x="3" y="67"/>
                      <a:pt x="3" y="67"/>
                    </a:cubicBezTo>
                    <a:cubicBezTo>
                      <a:pt x="0" y="63"/>
                      <a:pt x="0" y="57"/>
                      <a:pt x="0" y="57"/>
                    </a:cubicBezTo>
                  </a:path>
                </a:pathLst>
              </a:custGeom>
              <a:solidFill>
                <a:schemeClr val="accent6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85" name="Freeform 1155">
                <a:extLst>
                  <a:ext uri="{FF2B5EF4-FFF2-40B4-BE49-F238E27FC236}">
                    <a16:creationId xmlns:a16="http://schemas.microsoft.com/office/drawing/2014/main" id="{549A1E21-0C92-4A0F-BF1B-6F39CA3B9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7843" y="5209419"/>
                <a:ext cx="1624410" cy="1009916"/>
              </a:xfrm>
              <a:custGeom>
                <a:avLst/>
                <a:gdLst>
                  <a:gd name="T0" fmla="*/ 571500 w 230"/>
                  <a:gd name="T1" fmla="*/ 63500 h 143"/>
                  <a:gd name="T2" fmla="*/ 642938 w 230"/>
                  <a:gd name="T3" fmla="*/ 103187 h 143"/>
                  <a:gd name="T4" fmla="*/ 730250 w 230"/>
                  <a:gd name="T5" fmla="*/ 111125 h 143"/>
                  <a:gd name="T6" fmla="*/ 738188 w 230"/>
                  <a:gd name="T7" fmla="*/ 158750 h 143"/>
                  <a:gd name="T8" fmla="*/ 762000 w 230"/>
                  <a:gd name="T9" fmla="*/ 134937 h 143"/>
                  <a:gd name="T10" fmla="*/ 833438 w 230"/>
                  <a:gd name="T11" fmla="*/ 158750 h 143"/>
                  <a:gd name="T12" fmla="*/ 912813 w 230"/>
                  <a:gd name="T13" fmla="*/ 174625 h 143"/>
                  <a:gd name="T14" fmla="*/ 873125 w 230"/>
                  <a:gd name="T15" fmla="*/ 142875 h 143"/>
                  <a:gd name="T16" fmla="*/ 920750 w 230"/>
                  <a:gd name="T17" fmla="*/ 190500 h 143"/>
                  <a:gd name="T18" fmla="*/ 936625 w 230"/>
                  <a:gd name="T19" fmla="*/ 222250 h 143"/>
                  <a:gd name="T20" fmla="*/ 968375 w 230"/>
                  <a:gd name="T21" fmla="*/ 246062 h 143"/>
                  <a:gd name="T22" fmla="*/ 1000125 w 230"/>
                  <a:gd name="T23" fmla="*/ 222250 h 143"/>
                  <a:gd name="T24" fmla="*/ 1008063 w 230"/>
                  <a:gd name="T25" fmla="*/ 285750 h 143"/>
                  <a:gd name="T26" fmla="*/ 1119188 w 230"/>
                  <a:gd name="T27" fmla="*/ 357187 h 143"/>
                  <a:gd name="T28" fmla="*/ 1150938 w 230"/>
                  <a:gd name="T29" fmla="*/ 396875 h 143"/>
                  <a:gd name="T30" fmla="*/ 1150938 w 230"/>
                  <a:gd name="T31" fmla="*/ 444500 h 143"/>
                  <a:gd name="T32" fmla="*/ 1214438 w 230"/>
                  <a:gd name="T33" fmla="*/ 523875 h 143"/>
                  <a:gd name="T34" fmla="*/ 1341438 w 230"/>
                  <a:gd name="T35" fmla="*/ 539750 h 143"/>
                  <a:gd name="T36" fmla="*/ 1150938 w 230"/>
                  <a:gd name="T37" fmla="*/ 349250 h 143"/>
                  <a:gd name="T38" fmla="*/ 1039813 w 230"/>
                  <a:gd name="T39" fmla="*/ 166687 h 143"/>
                  <a:gd name="T40" fmla="*/ 968375 w 230"/>
                  <a:gd name="T41" fmla="*/ 63500 h 143"/>
                  <a:gd name="T42" fmla="*/ 1008063 w 230"/>
                  <a:gd name="T43" fmla="*/ 55562 h 143"/>
                  <a:gd name="T44" fmla="*/ 1023938 w 230"/>
                  <a:gd name="T45" fmla="*/ 39687 h 143"/>
                  <a:gd name="T46" fmla="*/ 1111250 w 230"/>
                  <a:gd name="T47" fmla="*/ 277812 h 143"/>
                  <a:gd name="T48" fmla="*/ 1293813 w 230"/>
                  <a:gd name="T49" fmla="*/ 500062 h 143"/>
                  <a:gd name="T50" fmla="*/ 1484313 w 230"/>
                  <a:gd name="T51" fmla="*/ 412750 h 143"/>
                  <a:gd name="T52" fmla="*/ 1658938 w 230"/>
                  <a:gd name="T53" fmla="*/ 404812 h 143"/>
                  <a:gd name="T54" fmla="*/ 1825625 w 230"/>
                  <a:gd name="T55" fmla="*/ 444500 h 143"/>
                  <a:gd name="T56" fmla="*/ 1746250 w 230"/>
                  <a:gd name="T57" fmla="*/ 595312 h 143"/>
                  <a:gd name="T58" fmla="*/ 1674813 w 230"/>
                  <a:gd name="T59" fmla="*/ 682625 h 143"/>
                  <a:gd name="T60" fmla="*/ 1547813 w 230"/>
                  <a:gd name="T61" fmla="*/ 690562 h 143"/>
                  <a:gd name="T62" fmla="*/ 1444625 w 230"/>
                  <a:gd name="T63" fmla="*/ 650875 h 143"/>
                  <a:gd name="T64" fmla="*/ 1309688 w 230"/>
                  <a:gd name="T65" fmla="*/ 690562 h 143"/>
                  <a:gd name="T66" fmla="*/ 1198563 w 230"/>
                  <a:gd name="T67" fmla="*/ 833437 h 143"/>
                  <a:gd name="T68" fmla="*/ 1055688 w 230"/>
                  <a:gd name="T69" fmla="*/ 833437 h 143"/>
                  <a:gd name="T70" fmla="*/ 896938 w 230"/>
                  <a:gd name="T71" fmla="*/ 944562 h 143"/>
                  <a:gd name="T72" fmla="*/ 730250 w 230"/>
                  <a:gd name="T73" fmla="*/ 1119187 h 143"/>
                  <a:gd name="T74" fmla="*/ 547688 w 230"/>
                  <a:gd name="T75" fmla="*/ 1079500 h 143"/>
                  <a:gd name="T76" fmla="*/ 444500 w 230"/>
                  <a:gd name="T77" fmla="*/ 1000125 h 143"/>
                  <a:gd name="T78" fmla="*/ 539750 w 230"/>
                  <a:gd name="T79" fmla="*/ 833437 h 143"/>
                  <a:gd name="T80" fmla="*/ 428625 w 230"/>
                  <a:gd name="T81" fmla="*/ 627062 h 143"/>
                  <a:gd name="T82" fmla="*/ 277813 w 230"/>
                  <a:gd name="T83" fmla="*/ 579437 h 143"/>
                  <a:gd name="T84" fmla="*/ 79375 w 230"/>
                  <a:gd name="T85" fmla="*/ 563562 h 143"/>
                  <a:gd name="T86" fmla="*/ 158750 w 230"/>
                  <a:gd name="T87" fmla="*/ 412750 h 143"/>
                  <a:gd name="T88" fmla="*/ 325438 w 230"/>
                  <a:gd name="T89" fmla="*/ 277812 h 143"/>
                  <a:gd name="T90" fmla="*/ 428625 w 230"/>
                  <a:gd name="T91" fmla="*/ 238125 h 143"/>
                  <a:gd name="T92" fmla="*/ 492125 w 230"/>
                  <a:gd name="T93" fmla="*/ 214312 h 143"/>
                  <a:gd name="T94" fmla="*/ 555625 w 230"/>
                  <a:gd name="T95" fmla="*/ 198437 h 143"/>
                  <a:gd name="T96" fmla="*/ 571500 w 230"/>
                  <a:gd name="T97" fmla="*/ 158750 h 143"/>
                  <a:gd name="T98" fmla="*/ 531813 w 230"/>
                  <a:gd name="T99" fmla="*/ 103187 h 143"/>
                  <a:gd name="T100" fmla="*/ 515938 w 230"/>
                  <a:gd name="T101" fmla="*/ 71437 h 143"/>
                  <a:gd name="T102" fmla="*/ 508000 w 230"/>
                  <a:gd name="T103" fmla="*/ 7937 h 143"/>
                  <a:gd name="T104" fmla="*/ 563563 w 230"/>
                  <a:gd name="T105" fmla="*/ 23812 h 14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30"/>
                  <a:gd name="T160" fmla="*/ 0 h 143"/>
                  <a:gd name="T161" fmla="*/ 230 w 230"/>
                  <a:gd name="T162" fmla="*/ 143 h 14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30" h="143">
                    <a:moveTo>
                      <a:pt x="71" y="3"/>
                    </a:moveTo>
                    <a:cubicBezTo>
                      <a:pt x="71" y="6"/>
                      <a:pt x="72" y="8"/>
                      <a:pt x="72" y="8"/>
                    </a:cubicBezTo>
                    <a:cubicBezTo>
                      <a:pt x="75" y="5"/>
                      <a:pt x="78" y="10"/>
                      <a:pt x="78" y="10"/>
                    </a:cubicBezTo>
                    <a:cubicBezTo>
                      <a:pt x="78" y="15"/>
                      <a:pt x="81" y="13"/>
                      <a:pt x="81" y="13"/>
                    </a:cubicBezTo>
                    <a:cubicBezTo>
                      <a:pt x="81" y="8"/>
                      <a:pt x="84" y="9"/>
                      <a:pt x="84" y="9"/>
                    </a:cubicBezTo>
                    <a:cubicBezTo>
                      <a:pt x="90" y="7"/>
                      <a:pt x="92" y="14"/>
                      <a:pt x="92" y="14"/>
                    </a:cubicBezTo>
                    <a:lnTo>
                      <a:pt x="93" y="20"/>
                    </a:lnTo>
                    <a:cubicBezTo>
                      <a:pt x="94" y="16"/>
                      <a:pt x="96" y="17"/>
                      <a:pt x="96" y="17"/>
                    </a:cubicBezTo>
                    <a:cubicBezTo>
                      <a:pt x="96" y="14"/>
                      <a:pt x="100" y="15"/>
                      <a:pt x="100" y="15"/>
                    </a:cubicBezTo>
                    <a:cubicBezTo>
                      <a:pt x="104" y="14"/>
                      <a:pt x="105" y="20"/>
                      <a:pt x="105" y="20"/>
                    </a:cubicBezTo>
                    <a:cubicBezTo>
                      <a:pt x="105" y="26"/>
                      <a:pt x="110" y="26"/>
                      <a:pt x="110" y="26"/>
                    </a:cubicBezTo>
                    <a:cubicBezTo>
                      <a:pt x="113" y="26"/>
                      <a:pt x="115" y="22"/>
                      <a:pt x="115" y="22"/>
                    </a:cubicBezTo>
                    <a:cubicBezTo>
                      <a:pt x="115" y="19"/>
                      <a:pt x="112" y="19"/>
                      <a:pt x="112" y="19"/>
                    </a:cubicBezTo>
                    <a:cubicBezTo>
                      <a:pt x="111" y="19"/>
                      <a:pt x="110" y="18"/>
                      <a:pt x="110" y="18"/>
                    </a:cubicBezTo>
                    <a:cubicBezTo>
                      <a:pt x="112" y="13"/>
                      <a:pt x="118" y="18"/>
                      <a:pt x="118" y="18"/>
                    </a:cubicBezTo>
                    <a:cubicBezTo>
                      <a:pt x="118" y="23"/>
                      <a:pt x="116" y="24"/>
                      <a:pt x="116" y="24"/>
                    </a:cubicBezTo>
                    <a:cubicBezTo>
                      <a:pt x="112" y="29"/>
                      <a:pt x="113" y="32"/>
                      <a:pt x="113" y="32"/>
                    </a:cubicBezTo>
                    <a:cubicBezTo>
                      <a:pt x="116" y="33"/>
                      <a:pt x="118" y="28"/>
                      <a:pt x="118" y="28"/>
                    </a:cubicBezTo>
                    <a:cubicBezTo>
                      <a:pt x="121" y="23"/>
                      <a:pt x="124" y="22"/>
                      <a:pt x="124" y="22"/>
                    </a:cubicBezTo>
                    <a:cubicBezTo>
                      <a:pt x="122" y="27"/>
                      <a:pt x="122" y="31"/>
                      <a:pt x="122" y="31"/>
                    </a:cubicBezTo>
                    <a:lnTo>
                      <a:pt x="126" y="28"/>
                    </a:lnTo>
                    <a:cubicBezTo>
                      <a:pt x="128" y="30"/>
                      <a:pt x="127" y="36"/>
                      <a:pt x="127" y="36"/>
                    </a:cubicBezTo>
                    <a:cubicBezTo>
                      <a:pt x="133" y="36"/>
                      <a:pt x="135" y="39"/>
                      <a:pt x="135" y="39"/>
                    </a:cubicBezTo>
                    <a:cubicBezTo>
                      <a:pt x="139" y="40"/>
                      <a:pt x="141" y="45"/>
                      <a:pt x="141" y="45"/>
                    </a:cubicBezTo>
                    <a:cubicBezTo>
                      <a:pt x="145" y="47"/>
                      <a:pt x="145" y="50"/>
                      <a:pt x="145" y="50"/>
                    </a:cubicBezTo>
                    <a:lnTo>
                      <a:pt x="145" y="56"/>
                    </a:lnTo>
                    <a:cubicBezTo>
                      <a:pt x="143" y="60"/>
                      <a:pt x="146" y="63"/>
                      <a:pt x="146" y="63"/>
                    </a:cubicBezTo>
                    <a:cubicBezTo>
                      <a:pt x="150" y="63"/>
                      <a:pt x="153" y="66"/>
                      <a:pt x="153" y="66"/>
                    </a:cubicBezTo>
                    <a:cubicBezTo>
                      <a:pt x="160" y="67"/>
                      <a:pt x="165" y="71"/>
                      <a:pt x="165" y="71"/>
                    </a:cubicBezTo>
                    <a:cubicBezTo>
                      <a:pt x="166" y="69"/>
                      <a:pt x="169" y="68"/>
                      <a:pt x="169" y="68"/>
                    </a:cubicBezTo>
                    <a:cubicBezTo>
                      <a:pt x="163" y="68"/>
                      <a:pt x="158" y="61"/>
                      <a:pt x="158" y="61"/>
                    </a:cubicBezTo>
                    <a:cubicBezTo>
                      <a:pt x="152" y="54"/>
                      <a:pt x="145" y="44"/>
                      <a:pt x="145" y="44"/>
                    </a:cubicBezTo>
                    <a:cubicBezTo>
                      <a:pt x="138" y="36"/>
                      <a:pt x="135" y="28"/>
                      <a:pt x="135" y="28"/>
                    </a:cubicBezTo>
                    <a:cubicBezTo>
                      <a:pt x="129" y="32"/>
                      <a:pt x="131" y="21"/>
                      <a:pt x="131" y="21"/>
                    </a:cubicBezTo>
                    <a:cubicBezTo>
                      <a:pt x="128" y="20"/>
                      <a:pt x="130" y="14"/>
                      <a:pt x="130" y="14"/>
                    </a:cubicBezTo>
                    <a:cubicBezTo>
                      <a:pt x="125" y="14"/>
                      <a:pt x="122" y="8"/>
                      <a:pt x="122" y="8"/>
                    </a:cubicBezTo>
                    <a:cubicBezTo>
                      <a:pt x="121" y="6"/>
                      <a:pt x="127" y="7"/>
                      <a:pt x="127" y="7"/>
                    </a:cubicBezTo>
                    <a:lnTo>
                      <a:pt x="129" y="5"/>
                    </a:lnTo>
                    <a:cubicBezTo>
                      <a:pt x="129" y="11"/>
                      <a:pt x="132" y="15"/>
                      <a:pt x="132" y="15"/>
                    </a:cubicBezTo>
                    <a:cubicBezTo>
                      <a:pt x="132" y="22"/>
                      <a:pt x="140" y="35"/>
                      <a:pt x="140" y="35"/>
                    </a:cubicBezTo>
                    <a:cubicBezTo>
                      <a:pt x="142" y="37"/>
                      <a:pt x="150" y="49"/>
                      <a:pt x="150" y="49"/>
                    </a:cubicBezTo>
                    <a:cubicBezTo>
                      <a:pt x="156" y="57"/>
                      <a:pt x="163" y="63"/>
                      <a:pt x="163" y="63"/>
                    </a:cubicBezTo>
                    <a:cubicBezTo>
                      <a:pt x="166" y="69"/>
                      <a:pt x="179" y="63"/>
                      <a:pt x="179" y="63"/>
                    </a:cubicBezTo>
                    <a:cubicBezTo>
                      <a:pt x="182" y="61"/>
                      <a:pt x="187" y="52"/>
                      <a:pt x="187" y="52"/>
                    </a:cubicBezTo>
                    <a:cubicBezTo>
                      <a:pt x="192" y="62"/>
                      <a:pt x="199" y="56"/>
                      <a:pt x="199" y="56"/>
                    </a:cubicBezTo>
                    <a:cubicBezTo>
                      <a:pt x="201" y="50"/>
                      <a:pt x="209" y="51"/>
                      <a:pt x="209" y="51"/>
                    </a:cubicBezTo>
                    <a:cubicBezTo>
                      <a:pt x="217" y="49"/>
                      <a:pt x="223" y="51"/>
                      <a:pt x="223" y="51"/>
                    </a:cubicBezTo>
                    <a:cubicBezTo>
                      <a:pt x="229" y="52"/>
                      <a:pt x="230" y="56"/>
                      <a:pt x="230" y="56"/>
                    </a:cubicBezTo>
                    <a:cubicBezTo>
                      <a:pt x="229" y="61"/>
                      <a:pt x="221" y="65"/>
                      <a:pt x="221" y="65"/>
                    </a:cubicBezTo>
                    <a:cubicBezTo>
                      <a:pt x="219" y="68"/>
                      <a:pt x="220" y="75"/>
                      <a:pt x="220" y="75"/>
                    </a:cubicBezTo>
                    <a:cubicBezTo>
                      <a:pt x="227" y="81"/>
                      <a:pt x="217" y="82"/>
                      <a:pt x="217" y="82"/>
                    </a:cubicBezTo>
                    <a:cubicBezTo>
                      <a:pt x="212" y="81"/>
                      <a:pt x="211" y="86"/>
                      <a:pt x="211" y="86"/>
                    </a:cubicBezTo>
                    <a:cubicBezTo>
                      <a:pt x="208" y="87"/>
                      <a:pt x="200" y="84"/>
                      <a:pt x="200" y="84"/>
                    </a:cubicBezTo>
                    <a:cubicBezTo>
                      <a:pt x="199" y="88"/>
                      <a:pt x="195" y="87"/>
                      <a:pt x="195" y="87"/>
                    </a:cubicBezTo>
                    <a:cubicBezTo>
                      <a:pt x="191" y="91"/>
                      <a:pt x="187" y="85"/>
                      <a:pt x="187" y="85"/>
                    </a:cubicBezTo>
                    <a:cubicBezTo>
                      <a:pt x="185" y="82"/>
                      <a:pt x="182" y="82"/>
                      <a:pt x="182" y="82"/>
                    </a:cubicBezTo>
                    <a:cubicBezTo>
                      <a:pt x="178" y="76"/>
                      <a:pt x="169" y="80"/>
                      <a:pt x="169" y="80"/>
                    </a:cubicBezTo>
                    <a:cubicBezTo>
                      <a:pt x="165" y="85"/>
                      <a:pt x="165" y="87"/>
                      <a:pt x="165" y="87"/>
                    </a:cubicBezTo>
                    <a:cubicBezTo>
                      <a:pt x="163" y="92"/>
                      <a:pt x="158" y="95"/>
                      <a:pt x="158" y="95"/>
                    </a:cubicBezTo>
                    <a:cubicBezTo>
                      <a:pt x="150" y="96"/>
                      <a:pt x="151" y="105"/>
                      <a:pt x="151" y="105"/>
                    </a:cubicBezTo>
                    <a:cubicBezTo>
                      <a:pt x="148" y="109"/>
                      <a:pt x="143" y="102"/>
                      <a:pt x="143" y="102"/>
                    </a:cubicBezTo>
                    <a:cubicBezTo>
                      <a:pt x="138" y="106"/>
                      <a:pt x="133" y="105"/>
                      <a:pt x="133" y="105"/>
                    </a:cubicBezTo>
                    <a:cubicBezTo>
                      <a:pt x="128" y="105"/>
                      <a:pt x="125" y="110"/>
                      <a:pt x="125" y="110"/>
                    </a:cubicBezTo>
                    <a:cubicBezTo>
                      <a:pt x="121" y="108"/>
                      <a:pt x="113" y="119"/>
                      <a:pt x="113" y="119"/>
                    </a:cubicBezTo>
                    <a:cubicBezTo>
                      <a:pt x="109" y="121"/>
                      <a:pt x="113" y="129"/>
                      <a:pt x="105" y="128"/>
                    </a:cubicBezTo>
                    <a:cubicBezTo>
                      <a:pt x="101" y="134"/>
                      <a:pt x="97" y="139"/>
                      <a:pt x="92" y="141"/>
                    </a:cubicBezTo>
                    <a:cubicBezTo>
                      <a:pt x="82" y="143"/>
                      <a:pt x="74" y="141"/>
                      <a:pt x="74" y="141"/>
                    </a:cubicBezTo>
                    <a:cubicBezTo>
                      <a:pt x="72" y="138"/>
                      <a:pt x="69" y="136"/>
                      <a:pt x="69" y="136"/>
                    </a:cubicBezTo>
                    <a:cubicBezTo>
                      <a:pt x="69" y="132"/>
                      <a:pt x="62" y="134"/>
                      <a:pt x="62" y="134"/>
                    </a:cubicBezTo>
                    <a:cubicBezTo>
                      <a:pt x="58" y="132"/>
                      <a:pt x="56" y="126"/>
                      <a:pt x="56" y="126"/>
                    </a:cubicBezTo>
                    <a:cubicBezTo>
                      <a:pt x="56" y="124"/>
                      <a:pt x="60" y="126"/>
                      <a:pt x="65" y="121"/>
                    </a:cubicBezTo>
                    <a:cubicBezTo>
                      <a:pt x="65" y="116"/>
                      <a:pt x="59" y="114"/>
                      <a:pt x="68" y="105"/>
                    </a:cubicBezTo>
                    <a:cubicBezTo>
                      <a:pt x="70" y="96"/>
                      <a:pt x="64" y="87"/>
                      <a:pt x="64" y="87"/>
                    </a:cubicBezTo>
                    <a:cubicBezTo>
                      <a:pt x="61" y="81"/>
                      <a:pt x="54" y="79"/>
                      <a:pt x="54" y="79"/>
                    </a:cubicBezTo>
                    <a:cubicBezTo>
                      <a:pt x="46" y="86"/>
                      <a:pt x="43" y="81"/>
                      <a:pt x="43" y="81"/>
                    </a:cubicBezTo>
                    <a:cubicBezTo>
                      <a:pt x="42" y="78"/>
                      <a:pt x="35" y="73"/>
                      <a:pt x="35" y="73"/>
                    </a:cubicBezTo>
                    <a:cubicBezTo>
                      <a:pt x="26" y="66"/>
                      <a:pt x="22" y="68"/>
                      <a:pt x="22" y="68"/>
                    </a:cubicBezTo>
                    <a:cubicBezTo>
                      <a:pt x="18" y="67"/>
                      <a:pt x="15" y="74"/>
                      <a:pt x="10" y="71"/>
                    </a:cubicBezTo>
                    <a:cubicBezTo>
                      <a:pt x="0" y="65"/>
                      <a:pt x="10" y="59"/>
                      <a:pt x="10" y="59"/>
                    </a:cubicBezTo>
                    <a:cubicBezTo>
                      <a:pt x="11" y="56"/>
                      <a:pt x="20" y="52"/>
                      <a:pt x="20" y="52"/>
                    </a:cubicBezTo>
                    <a:cubicBezTo>
                      <a:pt x="23" y="47"/>
                      <a:pt x="32" y="43"/>
                      <a:pt x="32" y="43"/>
                    </a:cubicBezTo>
                    <a:cubicBezTo>
                      <a:pt x="35" y="38"/>
                      <a:pt x="41" y="35"/>
                      <a:pt x="41" y="35"/>
                    </a:cubicBezTo>
                    <a:cubicBezTo>
                      <a:pt x="50" y="35"/>
                      <a:pt x="54" y="30"/>
                      <a:pt x="54" y="30"/>
                    </a:cubicBezTo>
                    <a:lnTo>
                      <a:pt x="62" y="27"/>
                    </a:lnTo>
                    <a:cubicBezTo>
                      <a:pt x="71" y="29"/>
                      <a:pt x="70" y="25"/>
                      <a:pt x="70" y="25"/>
                    </a:cubicBezTo>
                    <a:lnTo>
                      <a:pt x="72" y="20"/>
                    </a:lnTo>
                    <a:cubicBezTo>
                      <a:pt x="62" y="26"/>
                      <a:pt x="67" y="13"/>
                      <a:pt x="67" y="13"/>
                    </a:cubicBezTo>
                    <a:lnTo>
                      <a:pt x="65" y="9"/>
                    </a:lnTo>
                    <a:cubicBezTo>
                      <a:pt x="65" y="7"/>
                      <a:pt x="64" y="7"/>
                      <a:pt x="63" y="6"/>
                    </a:cubicBezTo>
                    <a:cubicBezTo>
                      <a:pt x="65" y="4"/>
                      <a:pt x="64" y="1"/>
                      <a:pt x="64" y="1"/>
                    </a:cubicBezTo>
                    <a:cubicBezTo>
                      <a:pt x="68" y="0"/>
                      <a:pt x="71" y="3"/>
                      <a:pt x="71" y="3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86" name="Freeform 1156">
                <a:extLst>
                  <a:ext uri="{FF2B5EF4-FFF2-40B4-BE49-F238E27FC236}">
                    <a16:creationId xmlns:a16="http://schemas.microsoft.com/office/drawing/2014/main" id="{16E1BCFF-3D12-4346-990D-BE0DC7B7F4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4620" y="4143005"/>
                <a:ext cx="1200652" cy="1631403"/>
              </a:xfrm>
              <a:custGeom>
                <a:avLst/>
                <a:gdLst>
                  <a:gd name="T0" fmla="*/ 396875 w 170"/>
                  <a:gd name="T1" fmla="*/ 63500 h 231"/>
                  <a:gd name="T2" fmla="*/ 523875 w 170"/>
                  <a:gd name="T3" fmla="*/ 79375 h 231"/>
                  <a:gd name="T4" fmla="*/ 658813 w 170"/>
                  <a:gd name="T5" fmla="*/ 55562 h 231"/>
                  <a:gd name="T6" fmla="*/ 754063 w 170"/>
                  <a:gd name="T7" fmla="*/ 0 h 231"/>
                  <a:gd name="T8" fmla="*/ 904875 w 170"/>
                  <a:gd name="T9" fmla="*/ 47625 h 231"/>
                  <a:gd name="T10" fmla="*/ 889000 w 170"/>
                  <a:gd name="T11" fmla="*/ 158750 h 231"/>
                  <a:gd name="T12" fmla="*/ 944563 w 170"/>
                  <a:gd name="T13" fmla="*/ 309562 h 231"/>
                  <a:gd name="T14" fmla="*/ 1119188 w 170"/>
                  <a:gd name="T15" fmla="*/ 396875 h 231"/>
                  <a:gd name="T16" fmla="*/ 1135063 w 170"/>
                  <a:gd name="T17" fmla="*/ 555625 h 231"/>
                  <a:gd name="T18" fmla="*/ 1238250 w 170"/>
                  <a:gd name="T19" fmla="*/ 635000 h 231"/>
                  <a:gd name="T20" fmla="*/ 1262063 w 170"/>
                  <a:gd name="T21" fmla="*/ 762000 h 231"/>
                  <a:gd name="T22" fmla="*/ 1238250 w 170"/>
                  <a:gd name="T23" fmla="*/ 825500 h 231"/>
                  <a:gd name="T24" fmla="*/ 1277938 w 170"/>
                  <a:gd name="T25" fmla="*/ 960437 h 231"/>
                  <a:gd name="T26" fmla="*/ 1135063 w 170"/>
                  <a:gd name="T27" fmla="*/ 1000125 h 231"/>
                  <a:gd name="T28" fmla="*/ 1071563 w 170"/>
                  <a:gd name="T29" fmla="*/ 1150937 h 231"/>
                  <a:gd name="T30" fmla="*/ 1000125 w 170"/>
                  <a:gd name="T31" fmla="*/ 1270000 h 231"/>
                  <a:gd name="T32" fmla="*/ 952500 w 170"/>
                  <a:gd name="T33" fmla="*/ 1198562 h 231"/>
                  <a:gd name="T34" fmla="*/ 920750 w 170"/>
                  <a:gd name="T35" fmla="*/ 1158875 h 231"/>
                  <a:gd name="T36" fmla="*/ 849313 w 170"/>
                  <a:gd name="T37" fmla="*/ 1174750 h 231"/>
                  <a:gd name="T38" fmla="*/ 896938 w 170"/>
                  <a:gd name="T39" fmla="*/ 1206500 h 231"/>
                  <a:gd name="T40" fmla="*/ 944563 w 170"/>
                  <a:gd name="T41" fmla="*/ 1270000 h 231"/>
                  <a:gd name="T42" fmla="*/ 936625 w 170"/>
                  <a:gd name="T43" fmla="*/ 1357312 h 231"/>
                  <a:gd name="T44" fmla="*/ 833438 w 170"/>
                  <a:gd name="T45" fmla="*/ 1428750 h 231"/>
                  <a:gd name="T46" fmla="*/ 785813 w 170"/>
                  <a:gd name="T47" fmla="*/ 1452562 h 231"/>
                  <a:gd name="T48" fmla="*/ 698500 w 170"/>
                  <a:gd name="T49" fmla="*/ 1508125 h 231"/>
                  <a:gd name="T50" fmla="*/ 642938 w 170"/>
                  <a:gd name="T51" fmla="*/ 1555750 h 231"/>
                  <a:gd name="T52" fmla="*/ 642938 w 170"/>
                  <a:gd name="T53" fmla="*/ 1508125 h 231"/>
                  <a:gd name="T54" fmla="*/ 635000 w 170"/>
                  <a:gd name="T55" fmla="*/ 1468437 h 231"/>
                  <a:gd name="T56" fmla="*/ 619125 w 170"/>
                  <a:gd name="T57" fmla="*/ 1627187 h 231"/>
                  <a:gd name="T58" fmla="*/ 674688 w 170"/>
                  <a:gd name="T59" fmla="*/ 1746250 h 231"/>
                  <a:gd name="T60" fmla="*/ 611188 w 170"/>
                  <a:gd name="T61" fmla="*/ 1738312 h 231"/>
                  <a:gd name="T62" fmla="*/ 404813 w 170"/>
                  <a:gd name="T63" fmla="*/ 1722437 h 231"/>
                  <a:gd name="T64" fmla="*/ 309563 w 170"/>
                  <a:gd name="T65" fmla="*/ 1785937 h 231"/>
                  <a:gd name="T66" fmla="*/ 269875 w 170"/>
                  <a:gd name="T67" fmla="*/ 1754187 h 231"/>
                  <a:gd name="T68" fmla="*/ 158750 w 170"/>
                  <a:gd name="T69" fmla="*/ 1793875 h 231"/>
                  <a:gd name="T70" fmla="*/ 23813 w 170"/>
                  <a:gd name="T71" fmla="*/ 1666875 h 231"/>
                  <a:gd name="T72" fmla="*/ 63500 w 170"/>
                  <a:gd name="T73" fmla="*/ 1627187 h 231"/>
                  <a:gd name="T74" fmla="*/ 142875 w 170"/>
                  <a:gd name="T75" fmla="*/ 1547812 h 231"/>
                  <a:gd name="T76" fmla="*/ 214313 w 170"/>
                  <a:gd name="T77" fmla="*/ 1444625 h 231"/>
                  <a:gd name="T78" fmla="*/ 301625 w 170"/>
                  <a:gd name="T79" fmla="*/ 1349375 h 231"/>
                  <a:gd name="T80" fmla="*/ 349250 w 170"/>
                  <a:gd name="T81" fmla="*/ 1254125 h 231"/>
                  <a:gd name="T82" fmla="*/ 325438 w 170"/>
                  <a:gd name="T83" fmla="*/ 1166812 h 231"/>
                  <a:gd name="T84" fmla="*/ 365125 w 170"/>
                  <a:gd name="T85" fmla="*/ 1039812 h 231"/>
                  <a:gd name="T86" fmla="*/ 452438 w 170"/>
                  <a:gd name="T87" fmla="*/ 1071562 h 231"/>
                  <a:gd name="T88" fmla="*/ 508000 w 170"/>
                  <a:gd name="T89" fmla="*/ 1071562 h 231"/>
                  <a:gd name="T90" fmla="*/ 603250 w 170"/>
                  <a:gd name="T91" fmla="*/ 1087437 h 231"/>
                  <a:gd name="T92" fmla="*/ 706438 w 170"/>
                  <a:gd name="T93" fmla="*/ 1111250 h 231"/>
                  <a:gd name="T94" fmla="*/ 833438 w 170"/>
                  <a:gd name="T95" fmla="*/ 1103312 h 231"/>
                  <a:gd name="T96" fmla="*/ 738188 w 170"/>
                  <a:gd name="T97" fmla="*/ 1016000 h 231"/>
                  <a:gd name="T98" fmla="*/ 762000 w 170"/>
                  <a:gd name="T99" fmla="*/ 889000 h 231"/>
                  <a:gd name="T100" fmla="*/ 619125 w 170"/>
                  <a:gd name="T101" fmla="*/ 762000 h 231"/>
                  <a:gd name="T102" fmla="*/ 627063 w 170"/>
                  <a:gd name="T103" fmla="*/ 690562 h 231"/>
                  <a:gd name="T104" fmla="*/ 587375 w 170"/>
                  <a:gd name="T105" fmla="*/ 658812 h 231"/>
                  <a:gd name="T106" fmla="*/ 579438 w 170"/>
                  <a:gd name="T107" fmla="*/ 531812 h 231"/>
                  <a:gd name="T108" fmla="*/ 444500 w 170"/>
                  <a:gd name="T109" fmla="*/ 460375 h 231"/>
                  <a:gd name="T110" fmla="*/ 460375 w 170"/>
                  <a:gd name="T111" fmla="*/ 317500 h 231"/>
                  <a:gd name="T112" fmla="*/ 468313 w 170"/>
                  <a:gd name="T113" fmla="*/ 238125 h 231"/>
                  <a:gd name="T114" fmla="*/ 404813 w 170"/>
                  <a:gd name="T115" fmla="*/ 134937 h 231"/>
                  <a:gd name="T116" fmla="*/ 341313 w 170"/>
                  <a:gd name="T117" fmla="*/ 119062 h 23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70"/>
                  <a:gd name="T178" fmla="*/ 0 h 231"/>
                  <a:gd name="T179" fmla="*/ 170 w 170"/>
                  <a:gd name="T180" fmla="*/ 231 h 23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70" h="231">
                    <a:moveTo>
                      <a:pt x="43" y="15"/>
                    </a:moveTo>
                    <a:cubicBezTo>
                      <a:pt x="48" y="13"/>
                      <a:pt x="50" y="8"/>
                      <a:pt x="50" y="8"/>
                    </a:cubicBezTo>
                    <a:cubicBezTo>
                      <a:pt x="51" y="0"/>
                      <a:pt x="54" y="7"/>
                      <a:pt x="54" y="7"/>
                    </a:cubicBezTo>
                    <a:cubicBezTo>
                      <a:pt x="59" y="11"/>
                      <a:pt x="66" y="10"/>
                      <a:pt x="66" y="10"/>
                    </a:cubicBezTo>
                    <a:cubicBezTo>
                      <a:pt x="71" y="5"/>
                      <a:pt x="74" y="10"/>
                      <a:pt x="74" y="10"/>
                    </a:cubicBezTo>
                    <a:cubicBezTo>
                      <a:pt x="83" y="11"/>
                      <a:pt x="83" y="7"/>
                      <a:pt x="83" y="7"/>
                    </a:cubicBezTo>
                    <a:cubicBezTo>
                      <a:pt x="82" y="2"/>
                      <a:pt x="89" y="2"/>
                      <a:pt x="89" y="2"/>
                    </a:cubicBezTo>
                    <a:cubicBezTo>
                      <a:pt x="94" y="3"/>
                      <a:pt x="95" y="0"/>
                      <a:pt x="95" y="0"/>
                    </a:cubicBezTo>
                    <a:cubicBezTo>
                      <a:pt x="100" y="0"/>
                      <a:pt x="102" y="8"/>
                      <a:pt x="107" y="6"/>
                    </a:cubicBezTo>
                    <a:cubicBezTo>
                      <a:pt x="111" y="7"/>
                      <a:pt x="114" y="6"/>
                      <a:pt x="114" y="6"/>
                    </a:cubicBezTo>
                    <a:cubicBezTo>
                      <a:pt x="116" y="10"/>
                      <a:pt x="113" y="10"/>
                      <a:pt x="113" y="10"/>
                    </a:cubicBezTo>
                    <a:cubicBezTo>
                      <a:pt x="107" y="13"/>
                      <a:pt x="112" y="20"/>
                      <a:pt x="112" y="20"/>
                    </a:cubicBezTo>
                    <a:cubicBezTo>
                      <a:pt x="117" y="22"/>
                      <a:pt x="116" y="32"/>
                      <a:pt x="116" y="32"/>
                    </a:cubicBezTo>
                    <a:cubicBezTo>
                      <a:pt x="120" y="32"/>
                      <a:pt x="119" y="39"/>
                      <a:pt x="119" y="39"/>
                    </a:cubicBezTo>
                    <a:cubicBezTo>
                      <a:pt x="118" y="50"/>
                      <a:pt x="129" y="46"/>
                      <a:pt x="129" y="46"/>
                    </a:cubicBezTo>
                    <a:cubicBezTo>
                      <a:pt x="136" y="47"/>
                      <a:pt x="141" y="44"/>
                      <a:pt x="141" y="50"/>
                    </a:cubicBezTo>
                    <a:cubicBezTo>
                      <a:pt x="146" y="56"/>
                      <a:pt x="142" y="60"/>
                      <a:pt x="142" y="60"/>
                    </a:cubicBezTo>
                    <a:cubicBezTo>
                      <a:pt x="141" y="64"/>
                      <a:pt x="143" y="70"/>
                      <a:pt x="143" y="70"/>
                    </a:cubicBezTo>
                    <a:cubicBezTo>
                      <a:pt x="144" y="75"/>
                      <a:pt x="152" y="74"/>
                      <a:pt x="152" y="74"/>
                    </a:cubicBezTo>
                    <a:cubicBezTo>
                      <a:pt x="163" y="73"/>
                      <a:pt x="156" y="79"/>
                      <a:pt x="156" y="80"/>
                    </a:cubicBezTo>
                    <a:cubicBezTo>
                      <a:pt x="157" y="83"/>
                      <a:pt x="164" y="83"/>
                      <a:pt x="165" y="86"/>
                    </a:cubicBezTo>
                    <a:cubicBezTo>
                      <a:pt x="170" y="95"/>
                      <a:pt x="159" y="96"/>
                      <a:pt x="159" y="96"/>
                    </a:cubicBezTo>
                    <a:cubicBezTo>
                      <a:pt x="150" y="97"/>
                      <a:pt x="152" y="100"/>
                      <a:pt x="152" y="100"/>
                    </a:cubicBezTo>
                    <a:cubicBezTo>
                      <a:pt x="151" y="103"/>
                      <a:pt x="156" y="104"/>
                      <a:pt x="156" y="104"/>
                    </a:cubicBezTo>
                    <a:cubicBezTo>
                      <a:pt x="160" y="108"/>
                      <a:pt x="159" y="113"/>
                      <a:pt x="159" y="113"/>
                    </a:cubicBezTo>
                    <a:cubicBezTo>
                      <a:pt x="157" y="121"/>
                      <a:pt x="161" y="121"/>
                      <a:pt x="161" y="121"/>
                    </a:cubicBezTo>
                    <a:cubicBezTo>
                      <a:pt x="158" y="124"/>
                      <a:pt x="153" y="124"/>
                      <a:pt x="153" y="124"/>
                    </a:cubicBezTo>
                    <a:cubicBezTo>
                      <a:pt x="151" y="126"/>
                      <a:pt x="143" y="126"/>
                      <a:pt x="143" y="126"/>
                    </a:cubicBezTo>
                    <a:cubicBezTo>
                      <a:pt x="138" y="125"/>
                      <a:pt x="141" y="135"/>
                      <a:pt x="141" y="135"/>
                    </a:cubicBezTo>
                    <a:cubicBezTo>
                      <a:pt x="141" y="142"/>
                      <a:pt x="135" y="145"/>
                      <a:pt x="135" y="145"/>
                    </a:cubicBezTo>
                    <a:cubicBezTo>
                      <a:pt x="136" y="149"/>
                      <a:pt x="131" y="153"/>
                      <a:pt x="131" y="153"/>
                    </a:cubicBezTo>
                    <a:cubicBezTo>
                      <a:pt x="129" y="160"/>
                      <a:pt x="126" y="160"/>
                      <a:pt x="126" y="160"/>
                    </a:cubicBezTo>
                    <a:cubicBezTo>
                      <a:pt x="121" y="157"/>
                      <a:pt x="120" y="151"/>
                      <a:pt x="120" y="151"/>
                    </a:cubicBezTo>
                    <a:lnTo>
                      <a:pt x="116" y="146"/>
                    </a:lnTo>
                    <a:cubicBezTo>
                      <a:pt x="115" y="142"/>
                      <a:pt x="111" y="139"/>
                      <a:pt x="106" y="142"/>
                    </a:cubicBezTo>
                    <a:cubicBezTo>
                      <a:pt x="101" y="146"/>
                      <a:pt x="107" y="148"/>
                      <a:pt x="107" y="148"/>
                    </a:cubicBezTo>
                    <a:lnTo>
                      <a:pt x="113" y="152"/>
                    </a:lnTo>
                    <a:cubicBezTo>
                      <a:pt x="118" y="155"/>
                      <a:pt x="119" y="160"/>
                      <a:pt x="119" y="160"/>
                    </a:cubicBezTo>
                    <a:cubicBezTo>
                      <a:pt x="124" y="168"/>
                      <a:pt x="118" y="171"/>
                      <a:pt x="118" y="171"/>
                    </a:cubicBezTo>
                    <a:lnTo>
                      <a:pt x="105" y="185"/>
                    </a:lnTo>
                    <a:lnTo>
                      <a:pt x="105" y="180"/>
                    </a:lnTo>
                    <a:lnTo>
                      <a:pt x="99" y="183"/>
                    </a:lnTo>
                    <a:cubicBezTo>
                      <a:pt x="93" y="184"/>
                      <a:pt x="94" y="189"/>
                      <a:pt x="94" y="189"/>
                    </a:cubicBezTo>
                    <a:cubicBezTo>
                      <a:pt x="92" y="192"/>
                      <a:pt x="88" y="190"/>
                      <a:pt x="88" y="190"/>
                    </a:cubicBezTo>
                    <a:cubicBezTo>
                      <a:pt x="86" y="193"/>
                      <a:pt x="91" y="193"/>
                      <a:pt x="89" y="197"/>
                    </a:cubicBezTo>
                    <a:cubicBezTo>
                      <a:pt x="85" y="201"/>
                      <a:pt x="81" y="196"/>
                      <a:pt x="81" y="196"/>
                    </a:cubicBezTo>
                    <a:lnTo>
                      <a:pt x="81" y="190"/>
                    </a:lnTo>
                    <a:lnTo>
                      <a:pt x="80" y="185"/>
                    </a:lnTo>
                    <a:cubicBezTo>
                      <a:pt x="76" y="187"/>
                      <a:pt x="78" y="194"/>
                      <a:pt x="78" y="194"/>
                    </a:cubicBezTo>
                    <a:cubicBezTo>
                      <a:pt x="74" y="201"/>
                      <a:pt x="78" y="205"/>
                      <a:pt x="78" y="205"/>
                    </a:cubicBezTo>
                    <a:cubicBezTo>
                      <a:pt x="76" y="214"/>
                      <a:pt x="80" y="211"/>
                      <a:pt x="80" y="211"/>
                    </a:cubicBezTo>
                    <a:cubicBezTo>
                      <a:pt x="86" y="211"/>
                      <a:pt x="85" y="220"/>
                      <a:pt x="85" y="220"/>
                    </a:cubicBezTo>
                    <a:cubicBezTo>
                      <a:pt x="84" y="230"/>
                      <a:pt x="79" y="230"/>
                      <a:pt x="79" y="230"/>
                    </a:cubicBezTo>
                    <a:cubicBezTo>
                      <a:pt x="79" y="230"/>
                      <a:pt x="81" y="222"/>
                      <a:pt x="77" y="219"/>
                    </a:cubicBezTo>
                    <a:cubicBezTo>
                      <a:pt x="77" y="219"/>
                      <a:pt x="76" y="214"/>
                      <a:pt x="67" y="213"/>
                    </a:cubicBezTo>
                    <a:cubicBezTo>
                      <a:pt x="67" y="213"/>
                      <a:pt x="56" y="211"/>
                      <a:pt x="51" y="217"/>
                    </a:cubicBezTo>
                    <a:cubicBezTo>
                      <a:pt x="51" y="217"/>
                      <a:pt x="42" y="217"/>
                      <a:pt x="39" y="225"/>
                    </a:cubicBezTo>
                    <a:lnTo>
                      <a:pt x="34" y="221"/>
                    </a:lnTo>
                    <a:cubicBezTo>
                      <a:pt x="34" y="221"/>
                      <a:pt x="30" y="222"/>
                      <a:pt x="31" y="225"/>
                    </a:cubicBezTo>
                    <a:cubicBezTo>
                      <a:pt x="31" y="225"/>
                      <a:pt x="31" y="231"/>
                      <a:pt x="20" y="226"/>
                    </a:cubicBezTo>
                    <a:cubicBezTo>
                      <a:pt x="15" y="221"/>
                      <a:pt x="11" y="224"/>
                      <a:pt x="8" y="220"/>
                    </a:cubicBezTo>
                    <a:cubicBezTo>
                      <a:pt x="8" y="220"/>
                      <a:pt x="3" y="218"/>
                      <a:pt x="3" y="210"/>
                    </a:cubicBezTo>
                    <a:cubicBezTo>
                      <a:pt x="3" y="210"/>
                      <a:pt x="1" y="211"/>
                      <a:pt x="0" y="208"/>
                    </a:cubicBezTo>
                    <a:cubicBezTo>
                      <a:pt x="0" y="208"/>
                      <a:pt x="4" y="202"/>
                      <a:pt x="8" y="205"/>
                    </a:cubicBezTo>
                    <a:cubicBezTo>
                      <a:pt x="8" y="205"/>
                      <a:pt x="11" y="204"/>
                      <a:pt x="14" y="205"/>
                    </a:cubicBezTo>
                    <a:cubicBezTo>
                      <a:pt x="14" y="205"/>
                      <a:pt x="20" y="207"/>
                      <a:pt x="18" y="195"/>
                    </a:cubicBezTo>
                    <a:cubicBezTo>
                      <a:pt x="18" y="195"/>
                      <a:pt x="12" y="194"/>
                      <a:pt x="22" y="188"/>
                    </a:cubicBezTo>
                    <a:cubicBezTo>
                      <a:pt x="22" y="188"/>
                      <a:pt x="27" y="186"/>
                      <a:pt x="27" y="182"/>
                    </a:cubicBezTo>
                    <a:cubicBezTo>
                      <a:pt x="27" y="182"/>
                      <a:pt x="32" y="183"/>
                      <a:pt x="31" y="176"/>
                    </a:cubicBezTo>
                    <a:cubicBezTo>
                      <a:pt x="31" y="176"/>
                      <a:pt x="28" y="171"/>
                      <a:pt x="38" y="170"/>
                    </a:cubicBezTo>
                    <a:cubicBezTo>
                      <a:pt x="38" y="170"/>
                      <a:pt x="44" y="170"/>
                      <a:pt x="43" y="165"/>
                    </a:cubicBezTo>
                    <a:cubicBezTo>
                      <a:pt x="43" y="165"/>
                      <a:pt x="40" y="161"/>
                      <a:pt x="44" y="158"/>
                    </a:cubicBezTo>
                    <a:cubicBezTo>
                      <a:pt x="44" y="158"/>
                      <a:pt x="50" y="155"/>
                      <a:pt x="44" y="151"/>
                    </a:cubicBezTo>
                    <a:cubicBezTo>
                      <a:pt x="44" y="151"/>
                      <a:pt x="41" y="151"/>
                      <a:pt x="41" y="147"/>
                    </a:cubicBezTo>
                    <a:cubicBezTo>
                      <a:pt x="41" y="147"/>
                      <a:pt x="45" y="145"/>
                      <a:pt x="41" y="139"/>
                    </a:cubicBezTo>
                    <a:cubicBezTo>
                      <a:pt x="41" y="139"/>
                      <a:pt x="40" y="135"/>
                      <a:pt x="46" y="131"/>
                    </a:cubicBezTo>
                    <a:cubicBezTo>
                      <a:pt x="46" y="131"/>
                      <a:pt x="50" y="131"/>
                      <a:pt x="53" y="128"/>
                    </a:cubicBezTo>
                    <a:cubicBezTo>
                      <a:pt x="53" y="128"/>
                      <a:pt x="58" y="124"/>
                      <a:pt x="57" y="135"/>
                    </a:cubicBezTo>
                    <a:cubicBezTo>
                      <a:pt x="55" y="142"/>
                      <a:pt x="62" y="140"/>
                      <a:pt x="61" y="137"/>
                    </a:cubicBezTo>
                    <a:cubicBezTo>
                      <a:pt x="61" y="137"/>
                      <a:pt x="62" y="131"/>
                      <a:pt x="64" y="135"/>
                    </a:cubicBezTo>
                    <a:cubicBezTo>
                      <a:pt x="64" y="135"/>
                      <a:pt x="65" y="137"/>
                      <a:pt x="68" y="134"/>
                    </a:cubicBezTo>
                    <a:cubicBezTo>
                      <a:pt x="72" y="129"/>
                      <a:pt x="71" y="137"/>
                      <a:pt x="76" y="137"/>
                    </a:cubicBezTo>
                    <a:cubicBezTo>
                      <a:pt x="76" y="142"/>
                      <a:pt x="81" y="142"/>
                      <a:pt x="81" y="138"/>
                    </a:cubicBezTo>
                    <a:cubicBezTo>
                      <a:pt x="81" y="138"/>
                      <a:pt x="86" y="131"/>
                      <a:pt x="89" y="140"/>
                    </a:cubicBezTo>
                    <a:cubicBezTo>
                      <a:pt x="89" y="140"/>
                      <a:pt x="89" y="147"/>
                      <a:pt x="94" y="140"/>
                    </a:cubicBezTo>
                    <a:cubicBezTo>
                      <a:pt x="94" y="140"/>
                      <a:pt x="104" y="142"/>
                      <a:pt x="105" y="139"/>
                    </a:cubicBezTo>
                    <a:cubicBezTo>
                      <a:pt x="105" y="139"/>
                      <a:pt x="102" y="134"/>
                      <a:pt x="99" y="135"/>
                    </a:cubicBezTo>
                    <a:cubicBezTo>
                      <a:pt x="99" y="132"/>
                      <a:pt x="92" y="130"/>
                      <a:pt x="93" y="128"/>
                    </a:cubicBezTo>
                    <a:cubicBezTo>
                      <a:pt x="93" y="128"/>
                      <a:pt x="97" y="128"/>
                      <a:pt x="96" y="121"/>
                    </a:cubicBezTo>
                    <a:cubicBezTo>
                      <a:pt x="96" y="121"/>
                      <a:pt x="98" y="114"/>
                      <a:pt x="96" y="112"/>
                    </a:cubicBezTo>
                    <a:cubicBezTo>
                      <a:pt x="96" y="112"/>
                      <a:pt x="98" y="105"/>
                      <a:pt x="86" y="103"/>
                    </a:cubicBezTo>
                    <a:cubicBezTo>
                      <a:pt x="82" y="98"/>
                      <a:pt x="79" y="100"/>
                      <a:pt x="78" y="96"/>
                    </a:cubicBezTo>
                    <a:lnTo>
                      <a:pt x="79" y="87"/>
                    </a:lnTo>
                    <a:cubicBezTo>
                      <a:pt x="79" y="87"/>
                      <a:pt x="70" y="85"/>
                      <a:pt x="74" y="83"/>
                    </a:cubicBezTo>
                    <a:cubicBezTo>
                      <a:pt x="78" y="84"/>
                      <a:pt x="75" y="76"/>
                      <a:pt x="77" y="74"/>
                    </a:cubicBezTo>
                    <a:cubicBezTo>
                      <a:pt x="77" y="74"/>
                      <a:pt x="80" y="65"/>
                      <a:pt x="73" y="67"/>
                    </a:cubicBezTo>
                    <a:cubicBezTo>
                      <a:pt x="73" y="70"/>
                      <a:pt x="66" y="74"/>
                      <a:pt x="66" y="66"/>
                    </a:cubicBezTo>
                    <a:cubicBezTo>
                      <a:pt x="66" y="66"/>
                      <a:pt x="64" y="58"/>
                      <a:pt x="56" y="58"/>
                    </a:cubicBezTo>
                    <a:cubicBezTo>
                      <a:pt x="56" y="58"/>
                      <a:pt x="53" y="56"/>
                      <a:pt x="55" y="48"/>
                    </a:cubicBezTo>
                    <a:cubicBezTo>
                      <a:pt x="55" y="48"/>
                      <a:pt x="59" y="46"/>
                      <a:pt x="58" y="40"/>
                    </a:cubicBezTo>
                    <a:cubicBezTo>
                      <a:pt x="58" y="40"/>
                      <a:pt x="57" y="36"/>
                      <a:pt x="59" y="35"/>
                    </a:cubicBezTo>
                    <a:cubicBezTo>
                      <a:pt x="59" y="35"/>
                      <a:pt x="63" y="34"/>
                      <a:pt x="59" y="30"/>
                    </a:cubicBezTo>
                    <a:cubicBezTo>
                      <a:pt x="57" y="27"/>
                      <a:pt x="64" y="29"/>
                      <a:pt x="58" y="21"/>
                    </a:cubicBezTo>
                    <a:cubicBezTo>
                      <a:pt x="58" y="21"/>
                      <a:pt x="57" y="14"/>
                      <a:pt x="51" y="17"/>
                    </a:cubicBezTo>
                    <a:cubicBezTo>
                      <a:pt x="51" y="17"/>
                      <a:pt x="50" y="25"/>
                      <a:pt x="43" y="15"/>
                    </a:cubicBezTo>
                  </a:path>
                </a:pathLst>
              </a:custGeom>
              <a:solidFill>
                <a:schemeClr val="accent1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87" name="Freeform 1157">
                <a:extLst>
                  <a:ext uri="{FF2B5EF4-FFF2-40B4-BE49-F238E27FC236}">
                    <a16:creationId xmlns:a16="http://schemas.microsoft.com/office/drawing/2014/main" id="{F53BF631-6911-4645-ADD9-D4D6D5869D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9443" y="3005964"/>
                <a:ext cx="861644" cy="1165288"/>
              </a:xfrm>
              <a:custGeom>
                <a:avLst/>
                <a:gdLst>
                  <a:gd name="T0" fmla="*/ 15875 w 122"/>
                  <a:gd name="T1" fmla="*/ 539750 h 165"/>
                  <a:gd name="T2" fmla="*/ 15875 w 122"/>
                  <a:gd name="T3" fmla="*/ 476250 h 165"/>
                  <a:gd name="T4" fmla="*/ 15875 w 122"/>
                  <a:gd name="T5" fmla="*/ 373062 h 165"/>
                  <a:gd name="T6" fmla="*/ 31750 w 122"/>
                  <a:gd name="T7" fmla="*/ 317500 h 165"/>
                  <a:gd name="T8" fmla="*/ 39688 w 122"/>
                  <a:gd name="T9" fmla="*/ 261937 h 165"/>
                  <a:gd name="T10" fmla="*/ 31750 w 122"/>
                  <a:gd name="T11" fmla="*/ 214312 h 165"/>
                  <a:gd name="T12" fmla="*/ 55563 w 122"/>
                  <a:gd name="T13" fmla="*/ 150812 h 165"/>
                  <a:gd name="T14" fmla="*/ 47625 w 122"/>
                  <a:gd name="T15" fmla="*/ 103187 h 165"/>
                  <a:gd name="T16" fmla="*/ 71438 w 122"/>
                  <a:gd name="T17" fmla="*/ 95250 h 165"/>
                  <a:gd name="T18" fmla="*/ 103188 w 122"/>
                  <a:gd name="T19" fmla="*/ 47625 h 165"/>
                  <a:gd name="T20" fmla="*/ 127000 w 122"/>
                  <a:gd name="T21" fmla="*/ 7937 h 165"/>
                  <a:gd name="T22" fmla="*/ 190500 w 122"/>
                  <a:gd name="T23" fmla="*/ 47625 h 165"/>
                  <a:gd name="T24" fmla="*/ 246063 w 122"/>
                  <a:gd name="T25" fmla="*/ 55562 h 165"/>
                  <a:gd name="T26" fmla="*/ 325438 w 122"/>
                  <a:gd name="T27" fmla="*/ 87312 h 165"/>
                  <a:gd name="T28" fmla="*/ 388938 w 122"/>
                  <a:gd name="T29" fmla="*/ 111125 h 165"/>
                  <a:gd name="T30" fmla="*/ 460375 w 122"/>
                  <a:gd name="T31" fmla="*/ 111125 h 165"/>
                  <a:gd name="T32" fmla="*/ 515938 w 122"/>
                  <a:gd name="T33" fmla="*/ 119062 h 165"/>
                  <a:gd name="T34" fmla="*/ 587375 w 122"/>
                  <a:gd name="T35" fmla="*/ 150812 h 165"/>
                  <a:gd name="T36" fmla="*/ 642938 w 122"/>
                  <a:gd name="T37" fmla="*/ 150812 h 165"/>
                  <a:gd name="T38" fmla="*/ 674688 w 122"/>
                  <a:gd name="T39" fmla="*/ 190500 h 165"/>
                  <a:gd name="T40" fmla="*/ 738188 w 122"/>
                  <a:gd name="T41" fmla="*/ 222250 h 165"/>
                  <a:gd name="T42" fmla="*/ 809625 w 122"/>
                  <a:gd name="T43" fmla="*/ 230187 h 165"/>
                  <a:gd name="T44" fmla="*/ 873125 w 122"/>
                  <a:gd name="T45" fmla="*/ 190500 h 165"/>
                  <a:gd name="T46" fmla="*/ 873125 w 122"/>
                  <a:gd name="T47" fmla="*/ 238125 h 165"/>
                  <a:gd name="T48" fmla="*/ 889000 w 122"/>
                  <a:gd name="T49" fmla="*/ 325437 h 165"/>
                  <a:gd name="T50" fmla="*/ 865188 w 122"/>
                  <a:gd name="T51" fmla="*/ 484187 h 165"/>
                  <a:gd name="T52" fmla="*/ 785813 w 122"/>
                  <a:gd name="T53" fmla="*/ 555625 h 165"/>
                  <a:gd name="T54" fmla="*/ 777875 w 122"/>
                  <a:gd name="T55" fmla="*/ 611187 h 165"/>
                  <a:gd name="T56" fmla="*/ 841375 w 122"/>
                  <a:gd name="T57" fmla="*/ 635000 h 165"/>
                  <a:gd name="T58" fmla="*/ 881063 w 122"/>
                  <a:gd name="T59" fmla="*/ 650875 h 165"/>
                  <a:gd name="T60" fmla="*/ 904875 w 122"/>
                  <a:gd name="T61" fmla="*/ 674687 h 165"/>
                  <a:gd name="T62" fmla="*/ 849313 w 122"/>
                  <a:gd name="T63" fmla="*/ 682625 h 165"/>
                  <a:gd name="T64" fmla="*/ 793750 w 122"/>
                  <a:gd name="T65" fmla="*/ 714375 h 165"/>
                  <a:gd name="T66" fmla="*/ 777875 w 122"/>
                  <a:gd name="T67" fmla="*/ 793750 h 165"/>
                  <a:gd name="T68" fmla="*/ 817563 w 122"/>
                  <a:gd name="T69" fmla="*/ 833437 h 165"/>
                  <a:gd name="T70" fmla="*/ 873125 w 122"/>
                  <a:gd name="T71" fmla="*/ 896937 h 165"/>
                  <a:gd name="T72" fmla="*/ 889000 w 122"/>
                  <a:gd name="T73" fmla="*/ 976312 h 165"/>
                  <a:gd name="T74" fmla="*/ 904875 w 122"/>
                  <a:gd name="T75" fmla="*/ 992187 h 165"/>
                  <a:gd name="T76" fmla="*/ 904875 w 122"/>
                  <a:gd name="T77" fmla="*/ 1071562 h 165"/>
                  <a:gd name="T78" fmla="*/ 881063 w 122"/>
                  <a:gd name="T79" fmla="*/ 1222375 h 165"/>
                  <a:gd name="T80" fmla="*/ 833438 w 122"/>
                  <a:gd name="T81" fmla="*/ 1293812 h 165"/>
                  <a:gd name="T82" fmla="*/ 650875 w 122"/>
                  <a:gd name="T83" fmla="*/ 1301750 h 165"/>
                  <a:gd name="T84" fmla="*/ 571500 w 122"/>
                  <a:gd name="T85" fmla="*/ 1309687 h 165"/>
                  <a:gd name="T86" fmla="*/ 571500 w 122"/>
                  <a:gd name="T87" fmla="*/ 1309687 h 165"/>
                  <a:gd name="T88" fmla="*/ 571500 w 122"/>
                  <a:gd name="T89" fmla="*/ 1270000 h 165"/>
                  <a:gd name="T90" fmla="*/ 571500 w 122"/>
                  <a:gd name="T91" fmla="*/ 1270000 h 165"/>
                  <a:gd name="T92" fmla="*/ 515938 w 122"/>
                  <a:gd name="T93" fmla="*/ 1214437 h 165"/>
                  <a:gd name="T94" fmla="*/ 460375 w 122"/>
                  <a:gd name="T95" fmla="*/ 1190625 h 165"/>
                  <a:gd name="T96" fmla="*/ 373063 w 122"/>
                  <a:gd name="T97" fmla="*/ 1150937 h 165"/>
                  <a:gd name="T98" fmla="*/ 301625 w 122"/>
                  <a:gd name="T99" fmla="*/ 1016000 h 165"/>
                  <a:gd name="T100" fmla="*/ 246063 w 122"/>
                  <a:gd name="T101" fmla="*/ 992187 h 165"/>
                  <a:gd name="T102" fmla="*/ 214313 w 122"/>
                  <a:gd name="T103" fmla="*/ 912812 h 165"/>
                  <a:gd name="T104" fmla="*/ 206375 w 122"/>
                  <a:gd name="T105" fmla="*/ 841375 h 165"/>
                  <a:gd name="T106" fmla="*/ 198438 w 122"/>
                  <a:gd name="T107" fmla="*/ 793750 h 165"/>
                  <a:gd name="T108" fmla="*/ 182563 w 122"/>
                  <a:gd name="T109" fmla="*/ 746125 h 165"/>
                  <a:gd name="T110" fmla="*/ 134938 w 122"/>
                  <a:gd name="T111" fmla="*/ 698500 h 165"/>
                  <a:gd name="T112" fmla="*/ 103188 w 122"/>
                  <a:gd name="T113" fmla="*/ 674687 h 165"/>
                  <a:gd name="T114" fmla="*/ 103188 w 122"/>
                  <a:gd name="T115" fmla="*/ 619125 h 165"/>
                  <a:gd name="T116" fmla="*/ 63500 w 122"/>
                  <a:gd name="T117" fmla="*/ 579437 h 165"/>
                  <a:gd name="T118" fmla="*/ 31750 w 122"/>
                  <a:gd name="T119" fmla="*/ 563562 h 165"/>
                  <a:gd name="T120" fmla="*/ 15875 w 122"/>
                  <a:gd name="T121" fmla="*/ 539750 h 165"/>
                  <a:gd name="T122" fmla="*/ 15875 w 122"/>
                  <a:gd name="T123" fmla="*/ 539750 h 165"/>
                  <a:gd name="T124" fmla="*/ 15875 w 122"/>
                  <a:gd name="T125" fmla="*/ 539750 h 16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22"/>
                  <a:gd name="T190" fmla="*/ 0 h 165"/>
                  <a:gd name="T191" fmla="*/ 122 w 122"/>
                  <a:gd name="T192" fmla="*/ 165 h 165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22" h="165">
                    <a:moveTo>
                      <a:pt x="2" y="68"/>
                    </a:moveTo>
                    <a:cubicBezTo>
                      <a:pt x="2" y="68"/>
                      <a:pt x="6" y="61"/>
                      <a:pt x="2" y="60"/>
                    </a:cubicBezTo>
                    <a:cubicBezTo>
                      <a:pt x="2" y="60"/>
                      <a:pt x="0" y="57"/>
                      <a:pt x="2" y="47"/>
                    </a:cubicBezTo>
                    <a:cubicBezTo>
                      <a:pt x="2" y="47"/>
                      <a:pt x="6" y="45"/>
                      <a:pt x="4" y="40"/>
                    </a:cubicBezTo>
                    <a:cubicBezTo>
                      <a:pt x="1" y="36"/>
                      <a:pt x="7" y="35"/>
                      <a:pt x="5" y="33"/>
                    </a:cubicBezTo>
                    <a:cubicBezTo>
                      <a:pt x="5" y="33"/>
                      <a:pt x="2" y="30"/>
                      <a:pt x="4" y="27"/>
                    </a:cubicBezTo>
                    <a:cubicBezTo>
                      <a:pt x="6" y="26"/>
                      <a:pt x="3" y="22"/>
                      <a:pt x="7" y="19"/>
                    </a:cubicBezTo>
                    <a:cubicBezTo>
                      <a:pt x="7" y="19"/>
                      <a:pt x="3" y="16"/>
                      <a:pt x="6" y="13"/>
                    </a:cubicBezTo>
                    <a:cubicBezTo>
                      <a:pt x="7" y="13"/>
                      <a:pt x="8" y="13"/>
                      <a:pt x="9" y="12"/>
                    </a:cubicBezTo>
                    <a:cubicBezTo>
                      <a:pt x="9" y="12"/>
                      <a:pt x="13" y="13"/>
                      <a:pt x="13" y="6"/>
                    </a:cubicBezTo>
                    <a:cubicBezTo>
                      <a:pt x="13" y="6"/>
                      <a:pt x="11" y="0"/>
                      <a:pt x="16" y="1"/>
                    </a:cubicBezTo>
                    <a:cubicBezTo>
                      <a:pt x="21" y="0"/>
                      <a:pt x="19" y="4"/>
                      <a:pt x="24" y="6"/>
                    </a:cubicBezTo>
                    <a:cubicBezTo>
                      <a:pt x="24" y="6"/>
                      <a:pt x="29" y="9"/>
                      <a:pt x="31" y="7"/>
                    </a:cubicBezTo>
                    <a:cubicBezTo>
                      <a:pt x="31" y="7"/>
                      <a:pt x="37" y="4"/>
                      <a:pt x="41" y="11"/>
                    </a:cubicBezTo>
                    <a:cubicBezTo>
                      <a:pt x="41" y="11"/>
                      <a:pt x="49" y="12"/>
                      <a:pt x="49" y="14"/>
                    </a:cubicBezTo>
                    <a:cubicBezTo>
                      <a:pt x="49" y="14"/>
                      <a:pt x="53" y="20"/>
                      <a:pt x="58" y="14"/>
                    </a:cubicBezTo>
                    <a:cubicBezTo>
                      <a:pt x="58" y="14"/>
                      <a:pt x="61" y="3"/>
                      <a:pt x="65" y="15"/>
                    </a:cubicBezTo>
                    <a:cubicBezTo>
                      <a:pt x="65" y="15"/>
                      <a:pt x="68" y="22"/>
                      <a:pt x="74" y="19"/>
                    </a:cubicBezTo>
                    <a:cubicBezTo>
                      <a:pt x="74" y="19"/>
                      <a:pt x="76" y="16"/>
                      <a:pt x="81" y="19"/>
                    </a:cubicBezTo>
                    <a:cubicBezTo>
                      <a:pt x="81" y="19"/>
                      <a:pt x="86" y="18"/>
                      <a:pt x="85" y="24"/>
                    </a:cubicBezTo>
                    <a:cubicBezTo>
                      <a:pt x="85" y="24"/>
                      <a:pt x="86" y="29"/>
                      <a:pt x="93" y="28"/>
                    </a:cubicBezTo>
                    <a:cubicBezTo>
                      <a:pt x="93" y="28"/>
                      <a:pt x="96" y="34"/>
                      <a:pt x="102" y="29"/>
                    </a:cubicBezTo>
                    <a:cubicBezTo>
                      <a:pt x="102" y="29"/>
                      <a:pt x="104" y="24"/>
                      <a:pt x="110" y="24"/>
                    </a:cubicBezTo>
                    <a:cubicBezTo>
                      <a:pt x="110" y="24"/>
                      <a:pt x="117" y="26"/>
                      <a:pt x="110" y="30"/>
                    </a:cubicBezTo>
                    <a:cubicBezTo>
                      <a:pt x="110" y="30"/>
                      <a:pt x="104" y="32"/>
                      <a:pt x="112" y="41"/>
                    </a:cubicBezTo>
                    <a:cubicBezTo>
                      <a:pt x="112" y="41"/>
                      <a:pt x="122" y="49"/>
                      <a:pt x="109" y="61"/>
                    </a:cubicBezTo>
                    <a:cubicBezTo>
                      <a:pt x="108" y="72"/>
                      <a:pt x="102" y="67"/>
                      <a:pt x="99" y="70"/>
                    </a:cubicBezTo>
                    <a:cubicBezTo>
                      <a:pt x="99" y="70"/>
                      <a:pt x="93" y="71"/>
                      <a:pt x="98" y="77"/>
                    </a:cubicBezTo>
                    <a:cubicBezTo>
                      <a:pt x="98" y="77"/>
                      <a:pt x="98" y="82"/>
                      <a:pt x="106" y="80"/>
                    </a:cubicBezTo>
                    <a:cubicBezTo>
                      <a:pt x="106" y="80"/>
                      <a:pt x="109" y="80"/>
                      <a:pt x="111" y="82"/>
                    </a:cubicBezTo>
                    <a:cubicBezTo>
                      <a:pt x="116" y="76"/>
                      <a:pt x="119" y="82"/>
                      <a:pt x="114" y="85"/>
                    </a:cubicBezTo>
                    <a:cubicBezTo>
                      <a:pt x="114" y="85"/>
                      <a:pt x="115" y="88"/>
                      <a:pt x="107" y="86"/>
                    </a:cubicBezTo>
                    <a:cubicBezTo>
                      <a:pt x="107" y="86"/>
                      <a:pt x="104" y="83"/>
                      <a:pt x="100" y="90"/>
                    </a:cubicBezTo>
                    <a:cubicBezTo>
                      <a:pt x="100" y="90"/>
                      <a:pt x="98" y="94"/>
                      <a:pt x="98" y="100"/>
                    </a:cubicBezTo>
                    <a:cubicBezTo>
                      <a:pt x="98" y="100"/>
                      <a:pt x="96" y="106"/>
                      <a:pt x="103" y="105"/>
                    </a:cubicBezTo>
                    <a:cubicBezTo>
                      <a:pt x="103" y="105"/>
                      <a:pt x="110" y="103"/>
                      <a:pt x="110" y="113"/>
                    </a:cubicBezTo>
                    <a:cubicBezTo>
                      <a:pt x="110" y="113"/>
                      <a:pt x="115" y="120"/>
                      <a:pt x="112" y="123"/>
                    </a:cubicBezTo>
                    <a:cubicBezTo>
                      <a:pt x="112" y="123"/>
                      <a:pt x="107" y="124"/>
                      <a:pt x="114" y="125"/>
                    </a:cubicBezTo>
                    <a:cubicBezTo>
                      <a:pt x="114" y="125"/>
                      <a:pt x="122" y="122"/>
                      <a:pt x="114" y="135"/>
                    </a:cubicBezTo>
                    <a:cubicBezTo>
                      <a:pt x="114" y="135"/>
                      <a:pt x="111" y="141"/>
                      <a:pt x="111" y="154"/>
                    </a:cubicBezTo>
                    <a:cubicBezTo>
                      <a:pt x="111" y="164"/>
                      <a:pt x="112" y="163"/>
                      <a:pt x="105" y="163"/>
                    </a:cubicBezTo>
                    <a:cubicBezTo>
                      <a:pt x="105" y="163"/>
                      <a:pt x="94" y="162"/>
                      <a:pt x="82" y="164"/>
                    </a:cubicBezTo>
                    <a:cubicBezTo>
                      <a:pt x="82" y="164"/>
                      <a:pt x="78" y="165"/>
                      <a:pt x="72" y="165"/>
                    </a:cubicBezTo>
                    <a:lnTo>
                      <a:pt x="72" y="160"/>
                    </a:lnTo>
                    <a:cubicBezTo>
                      <a:pt x="72" y="160"/>
                      <a:pt x="74" y="153"/>
                      <a:pt x="65" y="153"/>
                    </a:cubicBezTo>
                    <a:cubicBezTo>
                      <a:pt x="65" y="153"/>
                      <a:pt x="60" y="155"/>
                      <a:pt x="58" y="150"/>
                    </a:cubicBezTo>
                    <a:cubicBezTo>
                      <a:pt x="58" y="150"/>
                      <a:pt x="62" y="147"/>
                      <a:pt x="47" y="145"/>
                    </a:cubicBezTo>
                    <a:cubicBezTo>
                      <a:pt x="47" y="145"/>
                      <a:pt x="49" y="138"/>
                      <a:pt x="38" y="128"/>
                    </a:cubicBezTo>
                    <a:cubicBezTo>
                      <a:pt x="38" y="128"/>
                      <a:pt x="39" y="125"/>
                      <a:pt x="31" y="125"/>
                    </a:cubicBezTo>
                    <a:cubicBezTo>
                      <a:pt x="31" y="118"/>
                      <a:pt x="27" y="120"/>
                      <a:pt x="27" y="115"/>
                    </a:cubicBezTo>
                    <a:cubicBezTo>
                      <a:pt x="27" y="115"/>
                      <a:pt x="24" y="113"/>
                      <a:pt x="26" y="106"/>
                    </a:cubicBezTo>
                    <a:cubicBezTo>
                      <a:pt x="29" y="104"/>
                      <a:pt x="24" y="103"/>
                      <a:pt x="25" y="100"/>
                    </a:cubicBezTo>
                    <a:cubicBezTo>
                      <a:pt x="25" y="100"/>
                      <a:pt x="31" y="100"/>
                      <a:pt x="23" y="94"/>
                    </a:cubicBezTo>
                    <a:cubicBezTo>
                      <a:pt x="23" y="94"/>
                      <a:pt x="24" y="88"/>
                      <a:pt x="17" y="88"/>
                    </a:cubicBezTo>
                    <a:cubicBezTo>
                      <a:pt x="17" y="88"/>
                      <a:pt x="7" y="89"/>
                      <a:pt x="13" y="85"/>
                    </a:cubicBezTo>
                    <a:cubicBezTo>
                      <a:pt x="17" y="83"/>
                      <a:pt x="12" y="82"/>
                      <a:pt x="13" y="78"/>
                    </a:cubicBezTo>
                    <a:cubicBezTo>
                      <a:pt x="13" y="78"/>
                      <a:pt x="14" y="70"/>
                      <a:pt x="8" y="73"/>
                    </a:cubicBezTo>
                    <a:cubicBezTo>
                      <a:pt x="8" y="73"/>
                      <a:pt x="4" y="74"/>
                      <a:pt x="4" y="71"/>
                    </a:cubicBezTo>
                    <a:cubicBezTo>
                      <a:pt x="4" y="71"/>
                      <a:pt x="6" y="68"/>
                      <a:pt x="2" y="68"/>
                    </a:cubicBezTo>
                  </a:path>
                </a:pathLst>
              </a:custGeom>
              <a:solidFill>
                <a:schemeClr val="accent5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88" name="Freeform 1158">
                <a:extLst>
                  <a:ext uri="{FF2B5EF4-FFF2-40B4-BE49-F238E27FC236}">
                    <a16:creationId xmlns:a16="http://schemas.microsoft.com/office/drawing/2014/main" id="{68DF1728-CD53-4A68-ABC0-D84CE29524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5685" y="3465018"/>
                <a:ext cx="946396" cy="1313596"/>
              </a:xfrm>
              <a:custGeom>
                <a:avLst/>
                <a:gdLst>
                  <a:gd name="T0" fmla="*/ 87313 w 134"/>
                  <a:gd name="T1" fmla="*/ 452438 h 186"/>
                  <a:gd name="T2" fmla="*/ 142875 w 134"/>
                  <a:gd name="T3" fmla="*/ 452438 h 186"/>
                  <a:gd name="T4" fmla="*/ 134938 w 134"/>
                  <a:gd name="T5" fmla="*/ 611188 h 186"/>
                  <a:gd name="T6" fmla="*/ 158750 w 134"/>
                  <a:gd name="T7" fmla="*/ 690563 h 186"/>
                  <a:gd name="T8" fmla="*/ 111125 w 134"/>
                  <a:gd name="T9" fmla="*/ 777875 h 186"/>
                  <a:gd name="T10" fmla="*/ 47625 w 134"/>
                  <a:gd name="T11" fmla="*/ 825500 h 186"/>
                  <a:gd name="T12" fmla="*/ 47625 w 134"/>
                  <a:gd name="T13" fmla="*/ 912813 h 186"/>
                  <a:gd name="T14" fmla="*/ 95250 w 134"/>
                  <a:gd name="T15" fmla="*/ 976313 h 186"/>
                  <a:gd name="T16" fmla="*/ 182563 w 134"/>
                  <a:gd name="T17" fmla="*/ 1063625 h 186"/>
                  <a:gd name="T18" fmla="*/ 285750 w 134"/>
                  <a:gd name="T19" fmla="*/ 1111250 h 186"/>
                  <a:gd name="T20" fmla="*/ 301625 w 134"/>
                  <a:gd name="T21" fmla="*/ 1174750 h 186"/>
                  <a:gd name="T22" fmla="*/ 254000 w 134"/>
                  <a:gd name="T23" fmla="*/ 1214438 h 186"/>
                  <a:gd name="T24" fmla="*/ 198438 w 134"/>
                  <a:gd name="T25" fmla="*/ 1301750 h 186"/>
                  <a:gd name="T26" fmla="*/ 317500 w 134"/>
                  <a:gd name="T27" fmla="*/ 1397000 h 186"/>
                  <a:gd name="T28" fmla="*/ 293688 w 134"/>
                  <a:gd name="T29" fmla="*/ 1476375 h 186"/>
                  <a:gd name="T30" fmla="*/ 412750 w 134"/>
                  <a:gd name="T31" fmla="*/ 1460500 h 186"/>
                  <a:gd name="T32" fmla="*/ 738188 w 134"/>
                  <a:gd name="T33" fmla="*/ 1309688 h 186"/>
                  <a:gd name="T34" fmla="*/ 769938 w 134"/>
                  <a:gd name="T35" fmla="*/ 1206500 h 186"/>
                  <a:gd name="T36" fmla="*/ 769938 w 134"/>
                  <a:gd name="T37" fmla="*/ 1119188 h 186"/>
                  <a:gd name="T38" fmla="*/ 889000 w 134"/>
                  <a:gd name="T39" fmla="*/ 944563 h 186"/>
                  <a:gd name="T40" fmla="*/ 952500 w 134"/>
                  <a:gd name="T41" fmla="*/ 857250 h 186"/>
                  <a:gd name="T42" fmla="*/ 1047750 w 134"/>
                  <a:gd name="T43" fmla="*/ 793750 h 186"/>
                  <a:gd name="T44" fmla="*/ 1047750 w 134"/>
                  <a:gd name="T45" fmla="*/ 754063 h 186"/>
                  <a:gd name="T46" fmla="*/ 992188 w 134"/>
                  <a:gd name="T47" fmla="*/ 698500 h 186"/>
                  <a:gd name="T48" fmla="*/ 849313 w 134"/>
                  <a:gd name="T49" fmla="*/ 635000 h 186"/>
                  <a:gd name="T50" fmla="*/ 722313 w 134"/>
                  <a:gd name="T51" fmla="*/ 476250 h 186"/>
                  <a:gd name="T52" fmla="*/ 682625 w 134"/>
                  <a:gd name="T53" fmla="*/ 325438 h 186"/>
                  <a:gd name="T54" fmla="*/ 658813 w 134"/>
                  <a:gd name="T55" fmla="*/ 230188 h 186"/>
                  <a:gd name="T56" fmla="*/ 579438 w 134"/>
                  <a:gd name="T57" fmla="*/ 158750 h 186"/>
                  <a:gd name="T58" fmla="*/ 539750 w 134"/>
                  <a:gd name="T59" fmla="*/ 63500 h 186"/>
                  <a:gd name="T60" fmla="*/ 484188 w 134"/>
                  <a:gd name="T61" fmla="*/ 23813 h 186"/>
                  <a:gd name="T62" fmla="*/ 357188 w 134"/>
                  <a:gd name="T63" fmla="*/ 47625 h 186"/>
                  <a:gd name="T64" fmla="*/ 341313 w 134"/>
                  <a:gd name="T65" fmla="*/ 111125 h 186"/>
                  <a:gd name="T66" fmla="*/ 261938 w 134"/>
                  <a:gd name="T67" fmla="*/ 238125 h 186"/>
                  <a:gd name="T68" fmla="*/ 190500 w 134"/>
                  <a:gd name="T69" fmla="*/ 293688 h 186"/>
                  <a:gd name="T70" fmla="*/ 127000 w 134"/>
                  <a:gd name="T71" fmla="*/ 309563 h 186"/>
                  <a:gd name="T72" fmla="*/ 47625 w 134"/>
                  <a:gd name="T73" fmla="*/ 349250 h 186"/>
                  <a:gd name="T74" fmla="*/ 63500 w 134"/>
                  <a:gd name="T75" fmla="*/ 428625 h 1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34"/>
                  <a:gd name="T115" fmla="*/ 0 h 186"/>
                  <a:gd name="T116" fmla="*/ 134 w 134"/>
                  <a:gd name="T117" fmla="*/ 186 h 18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34" h="186">
                    <a:moveTo>
                      <a:pt x="8" y="54"/>
                    </a:moveTo>
                    <a:cubicBezTo>
                      <a:pt x="14" y="56"/>
                      <a:pt x="11" y="57"/>
                      <a:pt x="11" y="57"/>
                    </a:cubicBezTo>
                    <a:cubicBezTo>
                      <a:pt x="8" y="60"/>
                      <a:pt x="13" y="62"/>
                      <a:pt x="13" y="58"/>
                    </a:cubicBezTo>
                    <a:cubicBezTo>
                      <a:pt x="15" y="56"/>
                      <a:pt x="18" y="57"/>
                      <a:pt x="18" y="57"/>
                    </a:cubicBezTo>
                    <a:cubicBezTo>
                      <a:pt x="19" y="59"/>
                      <a:pt x="14" y="61"/>
                      <a:pt x="15" y="66"/>
                    </a:cubicBezTo>
                    <a:cubicBezTo>
                      <a:pt x="13" y="77"/>
                      <a:pt x="17" y="77"/>
                      <a:pt x="17" y="77"/>
                    </a:cubicBezTo>
                    <a:cubicBezTo>
                      <a:pt x="21" y="78"/>
                      <a:pt x="22" y="82"/>
                      <a:pt x="22" y="82"/>
                    </a:cubicBezTo>
                    <a:cubicBezTo>
                      <a:pt x="23" y="86"/>
                      <a:pt x="20" y="87"/>
                      <a:pt x="20" y="87"/>
                    </a:cubicBezTo>
                    <a:cubicBezTo>
                      <a:pt x="17" y="88"/>
                      <a:pt x="20" y="94"/>
                      <a:pt x="20" y="94"/>
                    </a:cubicBezTo>
                    <a:cubicBezTo>
                      <a:pt x="23" y="101"/>
                      <a:pt x="14" y="98"/>
                      <a:pt x="14" y="98"/>
                    </a:cubicBezTo>
                    <a:cubicBezTo>
                      <a:pt x="9" y="91"/>
                      <a:pt x="6" y="96"/>
                      <a:pt x="6" y="96"/>
                    </a:cubicBezTo>
                    <a:cubicBezTo>
                      <a:pt x="2" y="101"/>
                      <a:pt x="6" y="104"/>
                      <a:pt x="6" y="104"/>
                    </a:cubicBezTo>
                    <a:cubicBezTo>
                      <a:pt x="10" y="107"/>
                      <a:pt x="6" y="108"/>
                      <a:pt x="6" y="108"/>
                    </a:cubicBezTo>
                    <a:cubicBezTo>
                      <a:pt x="0" y="109"/>
                      <a:pt x="6" y="115"/>
                      <a:pt x="6" y="115"/>
                    </a:cubicBezTo>
                    <a:cubicBezTo>
                      <a:pt x="7" y="119"/>
                      <a:pt x="9" y="118"/>
                      <a:pt x="9" y="118"/>
                    </a:cubicBezTo>
                    <a:cubicBezTo>
                      <a:pt x="12" y="118"/>
                      <a:pt x="12" y="123"/>
                      <a:pt x="12" y="123"/>
                    </a:cubicBezTo>
                    <a:cubicBezTo>
                      <a:pt x="14" y="126"/>
                      <a:pt x="16" y="131"/>
                      <a:pt x="16" y="131"/>
                    </a:cubicBezTo>
                    <a:cubicBezTo>
                      <a:pt x="21" y="130"/>
                      <a:pt x="23" y="134"/>
                      <a:pt x="23" y="134"/>
                    </a:cubicBezTo>
                    <a:cubicBezTo>
                      <a:pt x="24" y="136"/>
                      <a:pt x="26" y="131"/>
                      <a:pt x="29" y="136"/>
                    </a:cubicBezTo>
                    <a:cubicBezTo>
                      <a:pt x="32" y="136"/>
                      <a:pt x="36" y="140"/>
                      <a:pt x="36" y="140"/>
                    </a:cubicBezTo>
                    <a:cubicBezTo>
                      <a:pt x="43" y="140"/>
                      <a:pt x="41" y="144"/>
                      <a:pt x="41" y="144"/>
                    </a:cubicBezTo>
                    <a:cubicBezTo>
                      <a:pt x="33" y="146"/>
                      <a:pt x="38" y="148"/>
                      <a:pt x="38" y="148"/>
                    </a:cubicBezTo>
                    <a:cubicBezTo>
                      <a:pt x="38" y="148"/>
                      <a:pt x="42" y="149"/>
                      <a:pt x="36" y="150"/>
                    </a:cubicBezTo>
                    <a:cubicBezTo>
                      <a:pt x="33" y="150"/>
                      <a:pt x="37" y="155"/>
                      <a:pt x="32" y="153"/>
                    </a:cubicBezTo>
                    <a:cubicBezTo>
                      <a:pt x="23" y="154"/>
                      <a:pt x="27" y="158"/>
                      <a:pt x="27" y="158"/>
                    </a:cubicBezTo>
                    <a:cubicBezTo>
                      <a:pt x="29" y="162"/>
                      <a:pt x="25" y="164"/>
                      <a:pt x="25" y="164"/>
                    </a:cubicBezTo>
                    <a:cubicBezTo>
                      <a:pt x="33" y="165"/>
                      <a:pt x="33" y="172"/>
                      <a:pt x="33" y="172"/>
                    </a:cubicBezTo>
                    <a:cubicBezTo>
                      <a:pt x="42" y="172"/>
                      <a:pt x="40" y="176"/>
                      <a:pt x="40" y="176"/>
                    </a:cubicBezTo>
                    <a:cubicBezTo>
                      <a:pt x="41" y="179"/>
                      <a:pt x="38" y="180"/>
                      <a:pt x="38" y="180"/>
                    </a:cubicBezTo>
                    <a:cubicBezTo>
                      <a:pt x="30" y="181"/>
                      <a:pt x="37" y="186"/>
                      <a:pt x="37" y="186"/>
                    </a:cubicBezTo>
                    <a:cubicBezTo>
                      <a:pt x="38" y="186"/>
                      <a:pt x="39" y="185"/>
                      <a:pt x="40" y="184"/>
                    </a:cubicBezTo>
                    <a:cubicBezTo>
                      <a:pt x="40" y="184"/>
                      <a:pt x="47" y="178"/>
                      <a:pt x="52" y="184"/>
                    </a:cubicBezTo>
                    <a:cubicBezTo>
                      <a:pt x="52" y="184"/>
                      <a:pt x="55" y="176"/>
                      <a:pt x="64" y="168"/>
                    </a:cubicBezTo>
                    <a:cubicBezTo>
                      <a:pt x="76" y="169"/>
                      <a:pt x="81" y="163"/>
                      <a:pt x="93" y="165"/>
                    </a:cubicBezTo>
                    <a:cubicBezTo>
                      <a:pt x="93" y="165"/>
                      <a:pt x="95" y="164"/>
                      <a:pt x="97" y="163"/>
                    </a:cubicBezTo>
                    <a:cubicBezTo>
                      <a:pt x="97" y="158"/>
                      <a:pt x="94" y="156"/>
                      <a:pt x="97" y="152"/>
                    </a:cubicBezTo>
                    <a:cubicBezTo>
                      <a:pt x="100" y="151"/>
                      <a:pt x="102" y="147"/>
                      <a:pt x="97" y="147"/>
                    </a:cubicBezTo>
                    <a:cubicBezTo>
                      <a:pt x="93" y="147"/>
                      <a:pt x="97" y="141"/>
                      <a:pt x="97" y="141"/>
                    </a:cubicBezTo>
                    <a:cubicBezTo>
                      <a:pt x="99" y="138"/>
                      <a:pt x="95" y="127"/>
                      <a:pt x="101" y="122"/>
                    </a:cubicBezTo>
                    <a:cubicBezTo>
                      <a:pt x="105" y="119"/>
                      <a:pt x="108" y="121"/>
                      <a:pt x="112" y="119"/>
                    </a:cubicBezTo>
                    <a:cubicBezTo>
                      <a:pt x="117" y="117"/>
                      <a:pt x="113" y="114"/>
                      <a:pt x="117" y="114"/>
                    </a:cubicBezTo>
                    <a:cubicBezTo>
                      <a:pt x="122" y="115"/>
                      <a:pt x="120" y="108"/>
                      <a:pt x="120" y="108"/>
                    </a:cubicBezTo>
                    <a:cubicBezTo>
                      <a:pt x="120" y="98"/>
                      <a:pt x="128" y="100"/>
                      <a:pt x="128" y="100"/>
                    </a:cubicBezTo>
                    <a:cubicBezTo>
                      <a:pt x="129" y="100"/>
                      <a:pt x="131" y="100"/>
                      <a:pt x="132" y="100"/>
                    </a:cubicBezTo>
                    <a:lnTo>
                      <a:pt x="132" y="95"/>
                    </a:lnTo>
                    <a:cubicBezTo>
                      <a:pt x="132" y="95"/>
                      <a:pt x="134" y="88"/>
                      <a:pt x="125" y="88"/>
                    </a:cubicBezTo>
                    <a:cubicBezTo>
                      <a:pt x="125" y="88"/>
                      <a:pt x="120" y="90"/>
                      <a:pt x="118" y="85"/>
                    </a:cubicBezTo>
                    <a:cubicBezTo>
                      <a:pt x="118" y="85"/>
                      <a:pt x="122" y="82"/>
                      <a:pt x="107" y="80"/>
                    </a:cubicBezTo>
                    <a:cubicBezTo>
                      <a:pt x="107" y="80"/>
                      <a:pt x="109" y="73"/>
                      <a:pt x="98" y="63"/>
                    </a:cubicBezTo>
                    <a:cubicBezTo>
                      <a:pt x="98" y="63"/>
                      <a:pt x="99" y="60"/>
                      <a:pt x="91" y="60"/>
                    </a:cubicBezTo>
                    <a:cubicBezTo>
                      <a:pt x="91" y="53"/>
                      <a:pt x="87" y="55"/>
                      <a:pt x="87" y="50"/>
                    </a:cubicBezTo>
                    <a:cubicBezTo>
                      <a:pt x="87" y="50"/>
                      <a:pt x="84" y="48"/>
                      <a:pt x="86" y="41"/>
                    </a:cubicBezTo>
                    <a:cubicBezTo>
                      <a:pt x="89" y="39"/>
                      <a:pt x="84" y="38"/>
                      <a:pt x="85" y="35"/>
                    </a:cubicBezTo>
                    <a:cubicBezTo>
                      <a:pt x="85" y="35"/>
                      <a:pt x="91" y="35"/>
                      <a:pt x="83" y="29"/>
                    </a:cubicBezTo>
                    <a:cubicBezTo>
                      <a:pt x="83" y="29"/>
                      <a:pt x="84" y="23"/>
                      <a:pt x="77" y="23"/>
                    </a:cubicBezTo>
                    <a:cubicBezTo>
                      <a:pt x="77" y="23"/>
                      <a:pt x="67" y="24"/>
                      <a:pt x="73" y="20"/>
                    </a:cubicBezTo>
                    <a:cubicBezTo>
                      <a:pt x="77" y="18"/>
                      <a:pt x="72" y="17"/>
                      <a:pt x="73" y="13"/>
                    </a:cubicBezTo>
                    <a:cubicBezTo>
                      <a:pt x="73" y="13"/>
                      <a:pt x="74" y="5"/>
                      <a:pt x="68" y="8"/>
                    </a:cubicBezTo>
                    <a:cubicBezTo>
                      <a:pt x="68" y="8"/>
                      <a:pt x="64" y="9"/>
                      <a:pt x="65" y="6"/>
                    </a:cubicBezTo>
                    <a:cubicBezTo>
                      <a:pt x="65" y="6"/>
                      <a:pt x="66" y="3"/>
                      <a:pt x="61" y="3"/>
                    </a:cubicBezTo>
                    <a:cubicBezTo>
                      <a:pt x="58" y="5"/>
                      <a:pt x="52" y="4"/>
                      <a:pt x="52" y="4"/>
                    </a:cubicBezTo>
                    <a:cubicBezTo>
                      <a:pt x="47" y="0"/>
                      <a:pt x="45" y="6"/>
                      <a:pt x="45" y="6"/>
                    </a:cubicBezTo>
                    <a:cubicBezTo>
                      <a:pt x="44" y="9"/>
                      <a:pt x="49" y="5"/>
                      <a:pt x="49" y="8"/>
                    </a:cubicBezTo>
                    <a:cubicBezTo>
                      <a:pt x="49" y="12"/>
                      <a:pt x="43" y="14"/>
                      <a:pt x="43" y="14"/>
                    </a:cubicBezTo>
                    <a:cubicBezTo>
                      <a:pt x="35" y="20"/>
                      <a:pt x="35" y="24"/>
                      <a:pt x="35" y="24"/>
                    </a:cubicBezTo>
                    <a:cubicBezTo>
                      <a:pt x="38" y="28"/>
                      <a:pt x="33" y="30"/>
                      <a:pt x="33" y="30"/>
                    </a:cubicBezTo>
                    <a:cubicBezTo>
                      <a:pt x="27" y="33"/>
                      <a:pt x="29" y="37"/>
                      <a:pt x="29" y="37"/>
                    </a:cubicBezTo>
                    <a:cubicBezTo>
                      <a:pt x="27" y="34"/>
                      <a:pt x="24" y="37"/>
                      <a:pt x="24" y="37"/>
                    </a:cubicBezTo>
                    <a:cubicBezTo>
                      <a:pt x="20" y="39"/>
                      <a:pt x="22" y="41"/>
                      <a:pt x="22" y="41"/>
                    </a:cubicBezTo>
                    <a:cubicBezTo>
                      <a:pt x="18" y="41"/>
                      <a:pt x="16" y="39"/>
                      <a:pt x="16" y="39"/>
                    </a:cubicBezTo>
                    <a:cubicBezTo>
                      <a:pt x="14" y="39"/>
                      <a:pt x="14" y="43"/>
                      <a:pt x="12" y="42"/>
                    </a:cubicBezTo>
                    <a:cubicBezTo>
                      <a:pt x="5" y="39"/>
                      <a:pt x="6" y="44"/>
                      <a:pt x="6" y="44"/>
                    </a:cubicBezTo>
                    <a:cubicBezTo>
                      <a:pt x="6" y="48"/>
                      <a:pt x="9" y="47"/>
                      <a:pt x="8" y="54"/>
                    </a:cubicBezTo>
                  </a:path>
                </a:pathLst>
              </a:custGeom>
              <a:solidFill>
                <a:schemeClr val="accent6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89" name="Freeform 1160">
                <a:extLst>
                  <a:ext uri="{FF2B5EF4-FFF2-40B4-BE49-F238E27FC236}">
                    <a16:creationId xmlns:a16="http://schemas.microsoft.com/office/drawing/2014/main" id="{0FB10809-B1F0-43DC-8FF9-9866EDA3B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0324" y="4114754"/>
                <a:ext cx="1101773" cy="911042"/>
              </a:xfrm>
              <a:custGeom>
                <a:avLst/>
                <a:gdLst>
                  <a:gd name="T0" fmla="*/ 412750 w 156"/>
                  <a:gd name="T1" fmla="*/ 928687 h 129"/>
                  <a:gd name="T2" fmla="*/ 357188 w 156"/>
                  <a:gd name="T3" fmla="*/ 825500 h 129"/>
                  <a:gd name="T4" fmla="*/ 460375 w 156"/>
                  <a:gd name="T5" fmla="*/ 714375 h 129"/>
                  <a:gd name="T6" fmla="*/ 357188 w 156"/>
                  <a:gd name="T7" fmla="*/ 619125 h 129"/>
                  <a:gd name="T8" fmla="*/ 277813 w 156"/>
                  <a:gd name="T9" fmla="*/ 508000 h 129"/>
                  <a:gd name="T10" fmla="*/ 174625 w 156"/>
                  <a:gd name="T11" fmla="*/ 396875 h 129"/>
                  <a:gd name="T12" fmla="*/ 71438 w 156"/>
                  <a:gd name="T13" fmla="*/ 285750 h 129"/>
                  <a:gd name="T14" fmla="*/ 47625 w 156"/>
                  <a:gd name="T15" fmla="*/ 111125 h 129"/>
                  <a:gd name="T16" fmla="*/ 166688 w 156"/>
                  <a:gd name="T17" fmla="*/ 71437 h 129"/>
                  <a:gd name="T18" fmla="*/ 325438 w 156"/>
                  <a:gd name="T19" fmla="*/ 55562 h 129"/>
                  <a:gd name="T20" fmla="*/ 492125 w 156"/>
                  <a:gd name="T21" fmla="*/ 95250 h 129"/>
                  <a:gd name="T22" fmla="*/ 611188 w 156"/>
                  <a:gd name="T23" fmla="*/ 111125 h 129"/>
                  <a:gd name="T24" fmla="*/ 666750 w 156"/>
                  <a:gd name="T25" fmla="*/ 198437 h 129"/>
                  <a:gd name="T26" fmla="*/ 730250 w 156"/>
                  <a:gd name="T27" fmla="*/ 293687 h 129"/>
                  <a:gd name="T28" fmla="*/ 841375 w 156"/>
                  <a:gd name="T29" fmla="*/ 293687 h 129"/>
                  <a:gd name="T30" fmla="*/ 1023938 w 156"/>
                  <a:gd name="T31" fmla="*/ 230187 h 129"/>
                  <a:gd name="T32" fmla="*/ 1174750 w 156"/>
                  <a:gd name="T33" fmla="*/ 158750 h 129"/>
                  <a:gd name="T34" fmla="*/ 1182688 w 156"/>
                  <a:gd name="T35" fmla="*/ 254000 h 129"/>
                  <a:gd name="T36" fmla="*/ 1166813 w 156"/>
                  <a:gd name="T37" fmla="*/ 373062 h 129"/>
                  <a:gd name="T38" fmla="*/ 1214438 w 156"/>
                  <a:gd name="T39" fmla="*/ 476250 h 129"/>
                  <a:gd name="T40" fmla="*/ 1174750 w 156"/>
                  <a:gd name="T41" fmla="*/ 531812 h 129"/>
                  <a:gd name="T42" fmla="*/ 1214438 w 156"/>
                  <a:gd name="T43" fmla="*/ 611187 h 129"/>
                  <a:gd name="T44" fmla="*/ 1143000 w 156"/>
                  <a:gd name="T45" fmla="*/ 730250 h 129"/>
                  <a:gd name="T46" fmla="*/ 1150938 w 156"/>
                  <a:gd name="T47" fmla="*/ 785812 h 129"/>
                  <a:gd name="T48" fmla="*/ 1103313 w 156"/>
                  <a:gd name="T49" fmla="*/ 841375 h 129"/>
                  <a:gd name="T50" fmla="*/ 1047750 w 156"/>
                  <a:gd name="T51" fmla="*/ 873125 h 129"/>
                  <a:gd name="T52" fmla="*/ 904875 w 156"/>
                  <a:gd name="T53" fmla="*/ 896937 h 129"/>
                  <a:gd name="T54" fmla="*/ 754063 w 156"/>
                  <a:gd name="T55" fmla="*/ 944562 h 129"/>
                  <a:gd name="T56" fmla="*/ 722313 w 156"/>
                  <a:gd name="T57" fmla="*/ 920750 h 129"/>
                  <a:gd name="T58" fmla="*/ 642938 w 156"/>
                  <a:gd name="T59" fmla="*/ 992187 h 129"/>
                  <a:gd name="T60" fmla="*/ 563563 w 156"/>
                  <a:gd name="T61" fmla="*/ 1008062 h 129"/>
                  <a:gd name="T62" fmla="*/ 587375 w 156"/>
                  <a:gd name="T63" fmla="*/ 920750 h 129"/>
                  <a:gd name="T64" fmla="*/ 428625 w 156"/>
                  <a:gd name="T65" fmla="*/ 992187 h 129"/>
                  <a:gd name="T66" fmla="*/ 428625 w 156"/>
                  <a:gd name="T67" fmla="*/ 992187 h 12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56"/>
                  <a:gd name="T103" fmla="*/ 0 h 129"/>
                  <a:gd name="T104" fmla="*/ 156 w 156"/>
                  <a:gd name="T105" fmla="*/ 129 h 129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56" h="129">
                    <a:moveTo>
                      <a:pt x="54" y="125"/>
                    </a:moveTo>
                    <a:cubicBezTo>
                      <a:pt x="54" y="125"/>
                      <a:pt x="50" y="125"/>
                      <a:pt x="52" y="117"/>
                    </a:cubicBezTo>
                    <a:cubicBezTo>
                      <a:pt x="52" y="117"/>
                      <a:pt x="53" y="112"/>
                      <a:pt x="49" y="108"/>
                    </a:cubicBezTo>
                    <a:cubicBezTo>
                      <a:pt x="49" y="108"/>
                      <a:pt x="44" y="107"/>
                      <a:pt x="45" y="104"/>
                    </a:cubicBezTo>
                    <a:cubicBezTo>
                      <a:pt x="45" y="104"/>
                      <a:pt x="43" y="101"/>
                      <a:pt x="52" y="100"/>
                    </a:cubicBezTo>
                    <a:cubicBezTo>
                      <a:pt x="52" y="100"/>
                      <a:pt x="63" y="99"/>
                      <a:pt x="58" y="90"/>
                    </a:cubicBezTo>
                    <a:cubicBezTo>
                      <a:pt x="57" y="87"/>
                      <a:pt x="50" y="87"/>
                      <a:pt x="49" y="84"/>
                    </a:cubicBezTo>
                    <a:cubicBezTo>
                      <a:pt x="49" y="83"/>
                      <a:pt x="56" y="77"/>
                      <a:pt x="45" y="78"/>
                    </a:cubicBezTo>
                    <a:cubicBezTo>
                      <a:pt x="45" y="78"/>
                      <a:pt x="37" y="79"/>
                      <a:pt x="36" y="74"/>
                    </a:cubicBezTo>
                    <a:cubicBezTo>
                      <a:pt x="36" y="74"/>
                      <a:pt x="34" y="68"/>
                      <a:pt x="35" y="64"/>
                    </a:cubicBezTo>
                    <a:cubicBezTo>
                      <a:pt x="35" y="64"/>
                      <a:pt x="39" y="60"/>
                      <a:pt x="34" y="54"/>
                    </a:cubicBezTo>
                    <a:cubicBezTo>
                      <a:pt x="34" y="48"/>
                      <a:pt x="29" y="51"/>
                      <a:pt x="22" y="50"/>
                    </a:cubicBezTo>
                    <a:cubicBezTo>
                      <a:pt x="22" y="50"/>
                      <a:pt x="11" y="54"/>
                      <a:pt x="12" y="43"/>
                    </a:cubicBezTo>
                    <a:cubicBezTo>
                      <a:pt x="12" y="43"/>
                      <a:pt x="13" y="36"/>
                      <a:pt x="9" y="36"/>
                    </a:cubicBezTo>
                    <a:cubicBezTo>
                      <a:pt x="9" y="36"/>
                      <a:pt x="10" y="26"/>
                      <a:pt x="5" y="24"/>
                    </a:cubicBezTo>
                    <a:cubicBezTo>
                      <a:pt x="5" y="24"/>
                      <a:pt x="0" y="17"/>
                      <a:pt x="6" y="14"/>
                    </a:cubicBezTo>
                    <a:cubicBezTo>
                      <a:pt x="6" y="14"/>
                      <a:pt x="10" y="14"/>
                      <a:pt x="8" y="11"/>
                    </a:cubicBezTo>
                    <a:cubicBezTo>
                      <a:pt x="12" y="5"/>
                      <a:pt x="21" y="9"/>
                      <a:pt x="21" y="9"/>
                    </a:cubicBezTo>
                    <a:cubicBezTo>
                      <a:pt x="23" y="12"/>
                      <a:pt x="24" y="8"/>
                      <a:pt x="27" y="8"/>
                    </a:cubicBezTo>
                    <a:cubicBezTo>
                      <a:pt x="38" y="5"/>
                      <a:pt x="37" y="13"/>
                      <a:pt x="41" y="7"/>
                    </a:cubicBezTo>
                    <a:cubicBezTo>
                      <a:pt x="50" y="0"/>
                      <a:pt x="54" y="9"/>
                      <a:pt x="54" y="9"/>
                    </a:cubicBezTo>
                    <a:cubicBezTo>
                      <a:pt x="55" y="14"/>
                      <a:pt x="62" y="12"/>
                      <a:pt x="62" y="12"/>
                    </a:cubicBezTo>
                    <a:cubicBezTo>
                      <a:pt x="71" y="11"/>
                      <a:pt x="69" y="16"/>
                      <a:pt x="69" y="16"/>
                    </a:cubicBezTo>
                    <a:cubicBezTo>
                      <a:pt x="75" y="10"/>
                      <a:pt x="77" y="14"/>
                      <a:pt x="77" y="14"/>
                    </a:cubicBezTo>
                    <a:cubicBezTo>
                      <a:pt x="87" y="14"/>
                      <a:pt x="81" y="19"/>
                      <a:pt x="81" y="19"/>
                    </a:cubicBezTo>
                    <a:cubicBezTo>
                      <a:pt x="76" y="20"/>
                      <a:pt x="84" y="25"/>
                      <a:pt x="84" y="25"/>
                    </a:cubicBezTo>
                    <a:cubicBezTo>
                      <a:pt x="88" y="27"/>
                      <a:pt x="88" y="32"/>
                      <a:pt x="88" y="32"/>
                    </a:cubicBezTo>
                    <a:cubicBezTo>
                      <a:pt x="85" y="39"/>
                      <a:pt x="92" y="37"/>
                      <a:pt x="92" y="37"/>
                    </a:cubicBezTo>
                    <a:cubicBezTo>
                      <a:pt x="96" y="33"/>
                      <a:pt x="99" y="38"/>
                      <a:pt x="99" y="38"/>
                    </a:cubicBezTo>
                    <a:cubicBezTo>
                      <a:pt x="101" y="44"/>
                      <a:pt x="106" y="37"/>
                      <a:pt x="106" y="37"/>
                    </a:cubicBezTo>
                    <a:cubicBezTo>
                      <a:pt x="108" y="31"/>
                      <a:pt x="116" y="37"/>
                      <a:pt x="116" y="37"/>
                    </a:cubicBezTo>
                    <a:cubicBezTo>
                      <a:pt x="131" y="39"/>
                      <a:pt x="129" y="29"/>
                      <a:pt x="129" y="29"/>
                    </a:cubicBezTo>
                    <a:cubicBezTo>
                      <a:pt x="129" y="18"/>
                      <a:pt x="136" y="22"/>
                      <a:pt x="136" y="22"/>
                    </a:cubicBezTo>
                    <a:cubicBezTo>
                      <a:pt x="141" y="24"/>
                      <a:pt x="140" y="12"/>
                      <a:pt x="148" y="20"/>
                    </a:cubicBezTo>
                    <a:cubicBezTo>
                      <a:pt x="148" y="20"/>
                      <a:pt x="146" y="23"/>
                      <a:pt x="148" y="26"/>
                    </a:cubicBezTo>
                    <a:cubicBezTo>
                      <a:pt x="148" y="26"/>
                      <a:pt x="151" y="27"/>
                      <a:pt x="149" y="32"/>
                    </a:cubicBezTo>
                    <a:cubicBezTo>
                      <a:pt x="149" y="32"/>
                      <a:pt x="152" y="39"/>
                      <a:pt x="149" y="41"/>
                    </a:cubicBezTo>
                    <a:cubicBezTo>
                      <a:pt x="149" y="41"/>
                      <a:pt x="143" y="40"/>
                      <a:pt x="147" y="47"/>
                    </a:cubicBezTo>
                    <a:cubicBezTo>
                      <a:pt x="147" y="47"/>
                      <a:pt x="145" y="51"/>
                      <a:pt x="151" y="52"/>
                    </a:cubicBezTo>
                    <a:cubicBezTo>
                      <a:pt x="151" y="56"/>
                      <a:pt x="155" y="57"/>
                      <a:pt x="153" y="60"/>
                    </a:cubicBezTo>
                    <a:cubicBezTo>
                      <a:pt x="153" y="60"/>
                      <a:pt x="155" y="66"/>
                      <a:pt x="150" y="63"/>
                    </a:cubicBezTo>
                    <a:cubicBezTo>
                      <a:pt x="150" y="63"/>
                      <a:pt x="147" y="64"/>
                      <a:pt x="148" y="67"/>
                    </a:cubicBezTo>
                    <a:cubicBezTo>
                      <a:pt x="148" y="67"/>
                      <a:pt x="153" y="67"/>
                      <a:pt x="153" y="69"/>
                    </a:cubicBezTo>
                    <a:cubicBezTo>
                      <a:pt x="153" y="69"/>
                      <a:pt x="154" y="73"/>
                      <a:pt x="153" y="77"/>
                    </a:cubicBezTo>
                    <a:cubicBezTo>
                      <a:pt x="153" y="77"/>
                      <a:pt x="156" y="83"/>
                      <a:pt x="147" y="83"/>
                    </a:cubicBezTo>
                    <a:cubicBezTo>
                      <a:pt x="147" y="83"/>
                      <a:pt x="142" y="86"/>
                      <a:pt x="144" y="92"/>
                    </a:cubicBezTo>
                    <a:cubicBezTo>
                      <a:pt x="143" y="93"/>
                      <a:pt x="151" y="93"/>
                      <a:pt x="151" y="96"/>
                    </a:cubicBezTo>
                    <a:cubicBezTo>
                      <a:pt x="151" y="101"/>
                      <a:pt x="143" y="96"/>
                      <a:pt x="145" y="99"/>
                    </a:cubicBezTo>
                    <a:cubicBezTo>
                      <a:pt x="145" y="99"/>
                      <a:pt x="149" y="100"/>
                      <a:pt x="147" y="102"/>
                    </a:cubicBezTo>
                    <a:cubicBezTo>
                      <a:pt x="147" y="102"/>
                      <a:pt x="144" y="105"/>
                      <a:pt x="139" y="106"/>
                    </a:cubicBezTo>
                    <a:cubicBezTo>
                      <a:pt x="139" y="106"/>
                      <a:pt x="147" y="107"/>
                      <a:pt x="140" y="109"/>
                    </a:cubicBezTo>
                    <a:cubicBezTo>
                      <a:pt x="140" y="109"/>
                      <a:pt x="134" y="112"/>
                      <a:pt x="132" y="110"/>
                    </a:cubicBezTo>
                    <a:cubicBezTo>
                      <a:pt x="132" y="110"/>
                      <a:pt x="125" y="106"/>
                      <a:pt x="123" y="111"/>
                    </a:cubicBezTo>
                    <a:cubicBezTo>
                      <a:pt x="119" y="113"/>
                      <a:pt x="116" y="107"/>
                      <a:pt x="114" y="113"/>
                    </a:cubicBezTo>
                    <a:cubicBezTo>
                      <a:pt x="114" y="113"/>
                      <a:pt x="109" y="110"/>
                      <a:pt x="104" y="117"/>
                    </a:cubicBezTo>
                    <a:cubicBezTo>
                      <a:pt x="104" y="117"/>
                      <a:pt x="96" y="117"/>
                      <a:pt x="95" y="119"/>
                    </a:cubicBezTo>
                    <a:cubicBezTo>
                      <a:pt x="93" y="109"/>
                      <a:pt x="97" y="102"/>
                      <a:pt x="97" y="102"/>
                    </a:cubicBezTo>
                    <a:cubicBezTo>
                      <a:pt x="89" y="112"/>
                      <a:pt x="91" y="116"/>
                      <a:pt x="91" y="116"/>
                    </a:cubicBezTo>
                    <a:cubicBezTo>
                      <a:pt x="94" y="129"/>
                      <a:pt x="89" y="127"/>
                      <a:pt x="89" y="127"/>
                    </a:cubicBezTo>
                    <a:cubicBezTo>
                      <a:pt x="87" y="128"/>
                      <a:pt x="81" y="125"/>
                      <a:pt x="81" y="125"/>
                    </a:cubicBezTo>
                    <a:cubicBezTo>
                      <a:pt x="76" y="126"/>
                      <a:pt x="71" y="127"/>
                      <a:pt x="71" y="127"/>
                    </a:cubicBezTo>
                    <a:lnTo>
                      <a:pt x="74" y="116"/>
                    </a:lnTo>
                    <a:cubicBezTo>
                      <a:pt x="70" y="124"/>
                      <a:pt x="65" y="128"/>
                      <a:pt x="65" y="128"/>
                    </a:cubicBezTo>
                    <a:cubicBezTo>
                      <a:pt x="60" y="129"/>
                      <a:pt x="54" y="125"/>
                      <a:pt x="54" y="125"/>
                    </a:cubicBezTo>
                  </a:path>
                </a:pathLst>
              </a:custGeom>
              <a:solidFill>
                <a:schemeClr val="accent1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90" name="Freeform 1161">
                <a:extLst>
                  <a:ext uri="{FF2B5EF4-FFF2-40B4-BE49-F238E27FC236}">
                    <a16:creationId xmlns:a16="http://schemas.microsoft.com/office/drawing/2014/main" id="{010B8793-BF04-4FB4-8F3F-437E6D7D5E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1381" y="3048341"/>
                <a:ext cx="1186524" cy="981666"/>
              </a:xfrm>
              <a:custGeom>
                <a:avLst/>
                <a:gdLst>
                  <a:gd name="T0" fmla="*/ 1309688 w 168"/>
                  <a:gd name="T1" fmla="*/ 690562 h 139"/>
                  <a:gd name="T2" fmla="*/ 1254125 w 168"/>
                  <a:gd name="T3" fmla="*/ 769937 h 139"/>
                  <a:gd name="T4" fmla="*/ 1150938 w 168"/>
                  <a:gd name="T5" fmla="*/ 722312 h 139"/>
                  <a:gd name="T6" fmla="*/ 1079500 w 168"/>
                  <a:gd name="T7" fmla="*/ 738187 h 139"/>
                  <a:gd name="T8" fmla="*/ 1016000 w 168"/>
                  <a:gd name="T9" fmla="*/ 809625 h 139"/>
                  <a:gd name="T10" fmla="*/ 928688 w 168"/>
                  <a:gd name="T11" fmla="*/ 809625 h 139"/>
                  <a:gd name="T12" fmla="*/ 801688 w 168"/>
                  <a:gd name="T13" fmla="*/ 841375 h 139"/>
                  <a:gd name="T14" fmla="*/ 706438 w 168"/>
                  <a:gd name="T15" fmla="*/ 920750 h 139"/>
                  <a:gd name="T16" fmla="*/ 603250 w 168"/>
                  <a:gd name="T17" fmla="*/ 912812 h 139"/>
                  <a:gd name="T18" fmla="*/ 428625 w 168"/>
                  <a:gd name="T19" fmla="*/ 960437 h 139"/>
                  <a:gd name="T20" fmla="*/ 388938 w 168"/>
                  <a:gd name="T21" fmla="*/ 1023937 h 139"/>
                  <a:gd name="T22" fmla="*/ 198438 w 168"/>
                  <a:gd name="T23" fmla="*/ 1103312 h 139"/>
                  <a:gd name="T24" fmla="*/ 174625 w 168"/>
                  <a:gd name="T25" fmla="*/ 1008062 h 139"/>
                  <a:gd name="T26" fmla="*/ 111125 w 168"/>
                  <a:gd name="T27" fmla="*/ 889000 h 139"/>
                  <a:gd name="T28" fmla="*/ 71438 w 168"/>
                  <a:gd name="T29" fmla="*/ 809625 h 139"/>
                  <a:gd name="T30" fmla="*/ 55563 w 168"/>
                  <a:gd name="T31" fmla="*/ 714375 h 139"/>
                  <a:gd name="T32" fmla="*/ 103188 w 168"/>
                  <a:gd name="T33" fmla="*/ 642937 h 139"/>
                  <a:gd name="T34" fmla="*/ 230188 w 168"/>
                  <a:gd name="T35" fmla="*/ 587375 h 139"/>
                  <a:gd name="T36" fmla="*/ 333375 w 168"/>
                  <a:gd name="T37" fmla="*/ 611187 h 139"/>
                  <a:gd name="T38" fmla="*/ 388938 w 168"/>
                  <a:gd name="T39" fmla="*/ 555625 h 139"/>
                  <a:gd name="T40" fmla="*/ 571500 w 168"/>
                  <a:gd name="T41" fmla="*/ 508000 h 139"/>
                  <a:gd name="T42" fmla="*/ 635000 w 168"/>
                  <a:gd name="T43" fmla="*/ 396875 h 139"/>
                  <a:gd name="T44" fmla="*/ 706438 w 168"/>
                  <a:gd name="T45" fmla="*/ 230187 h 139"/>
                  <a:gd name="T46" fmla="*/ 849313 w 168"/>
                  <a:gd name="T47" fmla="*/ 238125 h 139"/>
                  <a:gd name="T48" fmla="*/ 920750 w 168"/>
                  <a:gd name="T49" fmla="*/ 95250 h 139"/>
                  <a:gd name="T50" fmla="*/ 1016000 w 168"/>
                  <a:gd name="T51" fmla="*/ 0 h 139"/>
                  <a:gd name="T52" fmla="*/ 1095375 w 168"/>
                  <a:gd name="T53" fmla="*/ 119062 h 139"/>
                  <a:gd name="T54" fmla="*/ 1135063 w 168"/>
                  <a:gd name="T55" fmla="*/ 214312 h 139"/>
                  <a:gd name="T56" fmla="*/ 1206500 w 168"/>
                  <a:gd name="T57" fmla="*/ 325437 h 139"/>
                  <a:gd name="T58" fmla="*/ 1262063 w 168"/>
                  <a:gd name="T59" fmla="*/ 420687 h 139"/>
                  <a:gd name="T60" fmla="*/ 1293813 w 168"/>
                  <a:gd name="T61" fmla="*/ 587375 h 139"/>
                  <a:gd name="T62" fmla="*/ 1293813 w 168"/>
                  <a:gd name="T63" fmla="*/ 587375 h 13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68"/>
                  <a:gd name="T97" fmla="*/ 0 h 139"/>
                  <a:gd name="T98" fmla="*/ 168 w 168"/>
                  <a:gd name="T99" fmla="*/ 139 h 139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68" h="139">
                    <a:moveTo>
                      <a:pt x="163" y="74"/>
                    </a:moveTo>
                    <a:cubicBezTo>
                      <a:pt x="159" y="82"/>
                      <a:pt x="163" y="81"/>
                      <a:pt x="165" y="87"/>
                    </a:cubicBezTo>
                    <a:cubicBezTo>
                      <a:pt x="165" y="87"/>
                      <a:pt x="168" y="93"/>
                      <a:pt x="165" y="96"/>
                    </a:cubicBezTo>
                    <a:cubicBezTo>
                      <a:pt x="161" y="100"/>
                      <a:pt x="161" y="95"/>
                      <a:pt x="158" y="97"/>
                    </a:cubicBezTo>
                    <a:cubicBezTo>
                      <a:pt x="158" y="97"/>
                      <a:pt x="155" y="101"/>
                      <a:pt x="151" y="99"/>
                    </a:cubicBezTo>
                    <a:cubicBezTo>
                      <a:pt x="151" y="99"/>
                      <a:pt x="150" y="94"/>
                      <a:pt x="145" y="91"/>
                    </a:cubicBezTo>
                    <a:cubicBezTo>
                      <a:pt x="145" y="91"/>
                      <a:pt x="142" y="91"/>
                      <a:pt x="141" y="88"/>
                    </a:cubicBezTo>
                    <a:cubicBezTo>
                      <a:pt x="141" y="88"/>
                      <a:pt x="138" y="92"/>
                      <a:pt x="136" y="93"/>
                    </a:cubicBezTo>
                    <a:cubicBezTo>
                      <a:pt x="136" y="93"/>
                      <a:pt x="132" y="94"/>
                      <a:pt x="132" y="98"/>
                    </a:cubicBezTo>
                    <a:cubicBezTo>
                      <a:pt x="132" y="98"/>
                      <a:pt x="133" y="105"/>
                      <a:pt x="128" y="102"/>
                    </a:cubicBezTo>
                    <a:cubicBezTo>
                      <a:pt x="128" y="102"/>
                      <a:pt x="126" y="98"/>
                      <a:pt x="122" y="103"/>
                    </a:cubicBezTo>
                    <a:cubicBezTo>
                      <a:pt x="122" y="103"/>
                      <a:pt x="119" y="109"/>
                      <a:pt x="117" y="102"/>
                    </a:cubicBezTo>
                    <a:cubicBezTo>
                      <a:pt x="117" y="102"/>
                      <a:pt x="110" y="99"/>
                      <a:pt x="106" y="101"/>
                    </a:cubicBezTo>
                    <a:cubicBezTo>
                      <a:pt x="106" y="101"/>
                      <a:pt x="99" y="99"/>
                      <a:pt x="101" y="106"/>
                    </a:cubicBezTo>
                    <a:cubicBezTo>
                      <a:pt x="101" y="106"/>
                      <a:pt x="97" y="110"/>
                      <a:pt x="98" y="114"/>
                    </a:cubicBezTo>
                    <a:cubicBezTo>
                      <a:pt x="98" y="114"/>
                      <a:pt x="90" y="119"/>
                      <a:pt x="89" y="116"/>
                    </a:cubicBezTo>
                    <a:cubicBezTo>
                      <a:pt x="89" y="116"/>
                      <a:pt x="87" y="112"/>
                      <a:pt x="82" y="115"/>
                    </a:cubicBezTo>
                    <a:cubicBezTo>
                      <a:pt x="82" y="115"/>
                      <a:pt x="77" y="119"/>
                      <a:pt x="76" y="115"/>
                    </a:cubicBezTo>
                    <a:cubicBezTo>
                      <a:pt x="76" y="115"/>
                      <a:pt x="68" y="113"/>
                      <a:pt x="59" y="115"/>
                    </a:cubicBezTo>
                    <a:cubicBezTo>
                      <a:pt x="59" y="115"/>
                      <a:pt x="55" y="113"/>
                      <a:pt x="54" y="121"/>
                    </a:cubicBezTo>
                    <a:cubicBezTo>
                      <a:pt x="54" y="121"/>
                      <a:pt x="50" y="125"/>
                      <a:pt x="52" y="127"/>
                    </a:cubicBezTo>
                    <a:cubicBezTo>
                      <a:pt x="52" y="127"/>
                      <a:pt x="54" y="131"/>
                      <a:pt x="49" y="129"/>
                    </a:cubicBezTo>
                    <a:cubicBezTo>
                      <a:pt x="49" y="129"/>
                      <a:pt x="43" y="128"/>
                      <a:pt x="37" y="135"/>
                    </a:cubicBezTo>
                    <a:cubicBezTo>
                      <a:pt x="35" y="137"/>
                      <a:pt x="32" y="131"/>
                      <a:pt x="25" y="139"/>
                    </a:cubicBezTo>
                    <a:cubicBezTo>
                      <a:pt x="19" y="137"/>
                      <a:pt x="24" y="134"/>
                      <a:pt x="24" y="134"/>
                    </a:cubicBezTo>
                    <a:cubicBezTo>
                      <a:pt x="26" y="128"/>
                      <a:pt x="22" y="127"/>
                      <a:pt x="22" y="127"/>
                    </a:cubicBezTo>
                    <a:cubicBezTo>
                      <a:pt x="20" y="127"/>
                      <a:pt x="25" y="120"/>
                      <a:pt x="19" y="121"/>
                    </a:cubicBezTo>
                    <a:cubicBezTo>
                      <a:pt x="15" y="119"/>
                      <a:pt x="19" y="116"/>
                      <a:pt x="14" y="112"/>
                    </a:cubicBezTo>
                    <a:cubicBezTo>
                      <a:pt x="9" y="111"/>
                      <a:pt x="13" y="106"/>
                      <a:pt x="10" y="107"/>
                    </a:cubicBezTo>
                    <a:cubicBezTo>
                      <a:pt x="7" y="106"/>
                      <a:pt x="9" y="102"/>
                      <a:pt x="9" y="102"/>
                    </a:cubicBezTo>
                    <a:cubicBezTo>
                      <a:pt x="4" y="101"/>
                      <a:pt x="7" y="94"/>
                      <a:pt x="7" y="94"/>
                    </a:cubicBezTo>
                    <a:cubicBezTo>
                      <a:pt x="0" y="94"/>
                      <a:pt x="5" y="89"/>
                      <a:pt x="7" y="90"/>
                    </a:cubicBezTo>
                    <a:cubicBezTo>
                      <a:pt x="11" y="84"/>
                      <a:pt x="9" y="79"/>
                      <a:pt x="9" y="79"/>
                    </a:cubicBezTo>
                    <a:cubicBezTo>
                      <a:pt x="13" y="77"/>
                      <a:pt x="10" y="82"/>
                      <a:pt x="13" y="81"/>
                    </a:cubicBezTo>
                    <a:cubicBezTo>
                      <a:pt x="17" y="82"/>
                      <a:pt x="20" y="78"/>
                      <a:pt x="20" y="78"/>
                    </a:cubicBezTo>
                    <a:cubicBezTo>
                      <a:pt x="22" y="74"/>
                      <a:pt x="29" y="74"/>
                      <a:pt x="29" y="74"/>
                    </a:cubicBezTo>
                    <a:cubicBezTo>
                      <a:pt x="31" y="68"/>
                      <a:pt x="35" y="74"/>
                      <a:pt x="35" y="74"/>
                    </a:cubicBezTo>
                    <a:cubicBezTo>
                      <a:pt x="40" y="74"/>
                      <a:pt x="42" y="77"/>
                      <a:pt x="42" y="77"/>
                    </a:cubicBezTo>
                    <a:cubicBezTo>
                      <a:pt x="45" y="79"/>
                      <a:pt x="44" y="73"/>
                      <a:pt x="44" y="73"/>
                    </a:cubicBezTo>
                    <a:cubicBezTo>
                      <a:pt x="44" y="65"/>
                      <a:pt x="49" y="70"/>
                      <a:pt x="49" y="70"/>
                    </a:cubicBezTo>
                    <a:cubicBezTo>
                      <a:pt x="58" y="67"/>
                      <a:pt x="61" y="70"/>
                      <a:pt x="61" y="70"/>
                    </a:cubicBezTo>
                    <a:cubicBezTo>
                      <a:pt x="71" y="70"/>
                      <a:pt x="72" y="64"/>
                      <a:pt x="72" y="64"/>
                    </a:cubicBezTo>
                    <a:cubicBezTo>
                      <a:pt x="72" y="60"/>
                      <a:pt x="80" y="57"/>
                      <a:pt x="80" y="57"/>
                    </a:cubicBezTo>
                    <a:cubicBezTo>
                      <a:pt x="80" y="53"/>
                      <a:pt x="80" y="50"/>
                      <a:pt x="80" y="50"/>
                    </a:cubicBezTo>
                    <a:cubicBezTo>
                      <a:pt x="83" y="45"/>
                      <a:pt x="83" y="38"/>
                      <a:pt x="83" y="38"/>
                    </a:cubicBezTo>
                    <a:cubicBezTo>
                      <a:pt x="82" y="27"/>
                      <a:pt x="89" y="29"/>
                      <a:pt x="89" y="29"/>
                    </a:cubicBezTo>
                    <a:cubicBezTo>
                      <a:pt x="92" y="24"/>
                      <a:pt x="96" y="29"/>
                      <a:pt x="96" y="29"/>
                    </a:cubicBezTo>
                    <a:cubicBezTo>
                      <a:pt x="99" y="32"/>
                      <a:pt x="107" y="30"/>
                      <a:pt x="107" y="30"/>
                    </a:cubicBezTo>
                    <a:cubicBezTo>
                      <a:pt x="113" y="31"/>
                      <a:pt x="114" y="19"/>
                      <a:pt x="114" y="19"/>
                    </a:cubicBezTo>
                    <a:cubicBezTo>
                      <a:pt x="118" y="18"/>
                      <a:pt x="116" y="12"/>
                      <a:pt x="116" y="12"/>
                    </a:cubicBezTo>
                    <a:cubicBezTo>
                      <a:pt x="116" y="9"/>
                      <a:pt x="122" y="9"/>
                      <a:pt x="121" y="7"/>
                    </a:cubicBezTo>
                    <a:cubicBezTo>
                      <a:pt x="120" y="2"/>
                      <a:pt x="128" y="0"/>
                      <a:pt x="128" y="0"/>
                    </a:cubicBezTo>
                    <a:cubicBezTo>
                      <a:pt x="128" y="6"/>
                      <a:pt x="134" y="7"/>
                      <a:pt x="134" y="7"/>
                    </a:cubicBezTo>
                    <a:cubicBezTo>
                      <a:pt x="134" y="16"/>
                      <a:pt x="138" y="15"/>
                      <a:pt x="138" y="15"/>
                    </a:cubicBezTo>
                    <a:cubicBezTo>
                      <a:pt x="142" y="15"/>
                      <a:pt x="142" y="20"/>
                      <a:pt x="142" y="20"/>
                    </a:cubicBezTo>
                    <a:cubicBezTo>
                      <a:pt x="145" y="22"/>
                      <a:pt x="143" y="27"/>
                      <a:pt x="143" y="27"/>
                    </a:cubicBezTo>
                    <a:cubicBezTo>
                      <a:pt x="138" y="28"/>
                      <a:pt x="146" y="34"/>
                      <a:pt x="146" y="34"/>
                    </a:cubicBezTo>
                    <a:cubicBezTo>
                      <a:pt x="152" y="36"/>
                      <a:pt x="152" y="41"/>
                      <a:pt x="152" y="41"/>
                    </a:cubicBezTo>
                    <a:cubicBezTo>
                      <a:pt x="160" y="42"/>
                      <a:pt x="159" y="47"/>
                      <a:pt x="159" y="47"/>
                    </a:cubicBezTo>
                    <a:cubicBezTo>
                      <a:pt x="165" y="52"/>
                      <a:pt x="159" y="53"/>
                      <a:pt x="159" y="53"/>
                    </a:cubicBezTo>
                    <a:cubicBezTo>
                      <a:pt x="155" y="57"/>
                      <a:pt x="160" y="62"/>
                      <a:pt x="160" y="62"/>
                    </a:cubicBezTo>
                    <a:cubicBezTo>
                      <a:pt x="164" y="67"/>
                      <a:pt x="163" y="74"/>
                      <a:pt x="163" y="74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91" name="Freeform 1170">
                <a:extLst>
                  <a:ext uri="{FF2B5EF4-FFF2-40B4-BE49-F238E27FC236}">
                    <a16:creationId xmlns:a16="http://schemas.microsoft.com/office/drawing/2014/main" id="{B7FF48FA-C58E-4375-81A8-30B93C9CB1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0650" y="4460812"/>
                <a:ext cx="1264215" cy="875731"/>
              </a:xfrm>
              <a:custGeom>
                <a:avLst/>
                <a:gdLst>
                  <a:gd name="T0" fmla="*/ 150812 w 179"/>
                  <a:gd name="T1" fmla="*/ 539750 h 124"/>
                  <a:gd name="T2" fmla="*/ 301625 w 179"/>
                  <a:gd name="T3" fmla="*/ 492125 h 124"/>
                  <a:gd name="T4" fmla="*/ 436562 w 179"/>
                  <a:gd name="T5" fmla="*/ 476250 h 124"/>
                  <a:gd name="T6" fmla="*/ 492125 w 179"/>
                  <a:gd name="T7" fmla="*/ 420688 h 124"/>
                  <a:gd name="T8" fmla="*/ 523875 w 179"/>
                  <a:gd name="T9" fmla="*/ 373063 h 124"/>
                  <a:gd name="T10" fmla="*/ 492125 w 179"/>
                  <a:gd name="T11" fmla="*/ 269875 h 124"/>
                  <a:gd name="T12" fmla="*/ 539750 w 179"/>
                  <a:gd name="T13" fmla="*/ 158750 h 124"/>
                  <a:gd name="T14" fmla="*/ 515937 w 179"/>
                  <a:gd name="T15" fmla="*/ 111125 h 124"/>
                  <a:gd name="T16" fmla="*/ 523875 w 179"/>
                  <a:gd name="T17" fmla="*/ 23813 h 124"/>
                  <a:gd name="T18" fmla="*/ 611187 w 179"/>
                  <a:gd name="T19" fmla="*/ 47625 h 124"/>
                  <a:gd name="T20" fmla="*/ 682625 w 179"/>
                  <a:gd name="T21" fmla="*/ 47625 h 124"/>
                  <a:gd name="T22" fmla="*/ 833437 w 179"/>
                  <a:gd name="T23" fmla="*/ 63500 h 124"/>
                  <a:gd name="T24" fmla="*/ 912812 w 179"/>
                  <a:gd name="T25" fmla="*/ 71438 h 124"/>
                  <a:gd name="T26" fmla="*/ 1023937 w 179"/>
                  <a:gd name="T27" fmla="*/ 150813 h 124"/>
                  <a:gd name="T28" fmla="*/ 1119187 w 179"/>
                  <a:gd name="T29" fmla="*/ 214313 h 124"/>
                  <a:gd name="T30" fmla="*/ 1166812 w 179"/>
                  <a:gd name="T31" fmla="*/ 357188 h 124"/>
                  <a:gd name="T32" fmla="*/ 1230312 w 179"/>
                  <a:gd name="T33" fmla="*/ 420688 h 124"/>
                  <a:gd name="T34" fmla="*/ 1214437 w 179"/>
                  <a:gd name="T35" fmla="*/ 508000 h 124"/>
                  <a:gd name="T36" fmla="*/ 1238250 w 179"/>
                  <a:gd name="T37" fmla="*/ 587375 h 124"/>
                  <a:gd name="T38" fmla="*/ 1333500 w 179"/>
                  <a:gd name="T39" fmla="*/ 666750 h 124"/>
                  <a:gd name="T40" fmla="*/ 1420812 w 179"/>
                  <a:gd name="T41" fmla="*/ 769938 h 124"/>
                  <a:gd name="T42" fmla="*/ 1301750 w 179"/>
                  <a:gd name="T43" fmla="*/ 881063 h 124"/>
                  <a:gd name="T44" fmla="*/ 1214437 w 179"/>
                  <a:gd name="T45" fmla="*/ 865188 h 124"/>
                  <a:gd name="T46" fmla="*/ 1063625 w 179"/>
                  <a:gd name="T47" fmla="*/ 833438 h 124"/>
                  <a:gd name="T48" fmla="*/ 984250 w 179"/>
                  <a:gd name="T49" fmla="*/ 849313 h 124"/>
                  <a:gd name="T50" fmla="*/ 936625 w 179"/>
                  <a:gd name="T51" fmla="*/ 833438 h 124"/>
                  <a:gd name="T52" fmla="*/ 841375 w 179"/>
                  <a:gd name="T53" fmla="*/ 849313 h 124"/>
                  <a:gd name="T54" fmla="*/ 785812 w 179"/>
                  <a:gd name="T55" fmla="*/ 849313 h 124"/>
                  <a:gd name="T56" fmla="*/ 762000 w 179"/>
                  <a:gd name="T57" fmla="*/ 920750 h 124"/>
                  <a:gd name="T58" fmla="*/ 619125 w 179"/>
                  <a:gd name="T59" fmla="*/ 849313 h 124"/>
                  <a:gd name="T60" fmla="*/ 428625 w 179"/>
                  <a:gd name="T61" fmla="*/ 912813 h 124"/>
                  <a:gd name="T62" fmla="*/ 214312 w 179"/>
                  <a:gd name="T63" fmla="*/ 873125 h 124"/>
                  <a:gd name="T64" fmla="*/ 55562 w 179"/>
                  <a:gd name="T65" fmla="*/ 817563 h 124"/>
                  <a:gd name="T66" fmla="*/ 0 w 179"/>
                  <a:gd name="T67" fmla="*/ 793750 h 124"/>
                  <a:gd name="T68" fmla="*/ 71437 w 179"/>
                  <a:gd name="T69" fmla="*/ 785813 h 124"/>
                  <a:gd name="T70" fmla="*/ 55562 w 179"/>
                  <a:gd name="T71" fmla="*/ 706438 h 124"/>
                  <a:gd name="T72" fmla="*/ 31750 w 179"/>
                  <a:gd name="T73" fmla="*/ 666750 h 124"/>
                  <a:gd name="T74" fmla="*/ 158750 w 179"/>
                  <a:gd name="T75" fmla="*/ 682625 h 124"/>
                  <a:gd name="T76" fmla="*/ 246062 w 179"/>
                  <a:gd name="T77" fmla="*/ 666750 h 124"/>
                  <a:gd name="T78" fmla="*/ 277812 w 179"/>
                  <a:gd name="T79" fmla="*/ 658813 h 124"/>
                  <a:gd name="T80" fmla="*/ 214312 w 179"/>
                  <a:gd name="T81" fmla="*/ 627063 h 124"/>
                  <a:gd name="T82" fmla="*/ 142875 w 179"/>
                  <a:gd name="T83" fmla="*/ 627063 h 124"/>
                  <a:gd name="T84" fmla="*/ 79375 w 179"/>
                  <a:gd name="T85" fmla="*/ 555625 h 12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79"/>
                  <a:gd name="T130" fmla="*/ 0 h 124"/>
                  <a:gd name="T131" fmla="*/ 179 w 179"/>
                  <a:gd name="T132" fmla="*/ 124 h 124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79" h="124">
                    <a:moveTo>
                      <a:pt x="10" y="70"/>
                    </a:moveTo>
                    <a:cubicBezTo>
                      <a:pt x="11" y="68"/>
                      <a:pt x="19" y="68"/>
                      <a:pt x="19" y="68"/>
                    </a:cubicBezTo>
                    <a:cubicBezTo>
                      <a:pt x="24" y="61"/>
                      <a:pt x="29" y="64"/>
                      <a:pt x="29" y="64"/>
                    </a:cubicBezTo>
                    <a:cubicBezTo>
                      <a:pt x="31" y="58"/>
                      <a:pt x="34" y="64"/>
                      <a:pt x="38" y="62"/>
                    </a:cubicBezTo>
                    <a:cubicBezTo>
                      <a:pt x="40" y="57"/>
                      <a:pt x="47" y="61"/>
                      <a:pt x="47" y="61"/>
                    </a:cubicBezTo>
                    <a:cubicBezTo>
                      <a:pt x="49" y="63"/>
                      <a:pt x="55" y="60"/>
                      <a:pt x="55" y="60"/>
                    </a:cubicBezTo>
                    <a:cubicBezTo>
                      <a:pt x="62" y="58"/>
                      <a:pt x="54" y="57"/>
                      <a:pt x="54" y="57"/>
                    </a:cubicBezTo>
                    <a:cubicBezTo>
                      <a:pt x="59" y="56"/>
                      <a:pt x="62" y="53"/>
                      <a:pt x="62" y="53"/>
                    </a:cubicBezTo>
                    <a:cubicBezTo>
                      <a:pt x="64" y="51"/>
                      <a:pt x="60" y="50"/>
                      <a:pt x="60" y="50"/>
                    </a:cubicBezTo>
                    <a:cubicBezTo>
                      <a:pt x="58" y="47"/>
                      <a:pt x="66" y="52"/>
                      <a:pt x="66" y="47"/>
                    </a:cubicBezTo>
                    <a:cubicBezTo>
                      <a:pt x="66" y="44"/>
                      <a:pt x="58" y="44"/>
                      <a:pt x="59" y="43"/>
                    </a:cubicBezTo>
                    <a:cubicBezTo>
                      <a:pt x="57" y="37"/>
                      <a:pt x="62" y="34"/>
                      <a:pt x="62" y="34"/>
                    </a:cubicBezTo>
                    <a:cubicBezTo>
                      <a:pt x="71" y="34"/>
                      <a:pt x="68" y="28"/>
                      <a:pt x="68" y="28"/>
                    </a:cubicBezTo>
                    <a:cubicBezTo>
                      <a:pt x="69" y="24"/>
                      <a:pt x="68" y="20"/>
                      <a:pt x="68" y="20"/>
                    </a:cubicBezTo>
                    <a:cubicBezTo>
                      <a:pt x="68" y="18"/>
                      <a:pt x="63" y="18"/>
                      <a:pt x="63" y="18"/>
                    </a:cubicBezTo>
                    <a:cubicBezTo>
                      <a:pt x="62" y="15"/>
                      <a:pt x="65" y="14"/>
                      <a:pt x="65" y="14"/>
                    </a:cubicBezTo>
                    <a:cubicBezTo>
                      <a:pt x="70" y="17"/>
                      <a:pt x="68" y="11"/>
                      <a:pt x="68" y="11"/>
                    </a:cubicBezTo>
                    <a:cubicBezTo>
                      <a:pt x="70" y="8"/>
                      <a:pt x="66" y="7"/>
                      <a:pt x="66" y="3"/>
                    </a:cubicBezTo>
                    <a:cubicBezTo>
                      <a:pt x="66" y="3"/>
                      <a:pt x="70" y="2"/>
                      <a:pt x="72" y="5"/>
                    </a:cubicBezTo>
                    <a:cubicBezTo>
                      <a:pt x="72" y="5"/>
                      <a:pt x="76" y="5"/>
                      <a:pt x="77" y="6"/>
                    </a:cubicBezTo>
                    <a:cubicBezTo>
                      <a:pt x="77" y="6"/>
                      <a:pt x="80" y="11"/>
                      <a:pt x="81" y="8"/>
                    </a:cubicBezTo>
                    <a:cubicBezTo>
                      <a:pt x="81" y="5"/>
                      <a:pt x="85" y="8"/>
                      <a:pt x="86" y="6"/>
                    </a:cubicBezTo>
                    <a:cubicBezTo>
                      <a:pt x="86" y="6"/>
                      <a:pt x="90" y="0"/>
                      <a:pt x="94" y="6"/>
                    </a:cubicBezTo>
                    <a:cubicBezTo>
                      <a:pt x="94" y="6"/>
                      <a:pt x="93" y="11"/>
                      <a:pt x="105" y="8"/>
                    </a:cubicBezTo>
                    <a:cubicBezTo>
                      <a:pt x="105" y="8"/>
                      <a:pt x="107" y="5"/>
                      <a:pt x="111" y="8"/>
                    </a:cubicBezTo>
                    <a:cubicBezTo>
                      <a:pt x="111" y="8"/>
                      <a:pt x="112" y="10"/>
                      <a:pt x="115" y="9"/>
                    </a:cubicBezTo>
                    <a:cubicBezTo>
                      <a:pt x="115" y="9"/>
                      <a:pt x="122" y="9"/>
                      <a:pt x="126" y="9"/>
                    </a:cubicBezTo>
                    <a:cubicBezTo>
                      <a:pt x="126" y="9"/>
                      <a:pt x="126" y="15"/>
                      <a:pt x="129" y="19"/>
                    </a:cubicBezTo>
                    <a:cubicBezTo>
                      <a:pt x="129" y="19"/>
                      <a:pt x="129" y="27"/>
                      <a:pt x="135" y="24"/>
                    </a:cubicBezTo>
                    <a:cubicBezTo>
                      <a:pt x="135" y="24"/>
                      <a:pt x="138" y="16"/>
                      <a:pt x="141" y="27"/>
                    </a:cubicBezTo>
                    <a:cubicBezTo>
                      <a:pt x="141" y="27"/>
                      <a:pt x="139" y="35"/>
                      <a:pt x="144" y="38"/>
                    </a:cubicBezTo>
                    <a:cubicBezTo>
                      <a:pt x="144" y="38"/>
                      <a:pt x="142" y="44"/>
                      <a:pt x="147" y="45"/>
                    </a:cubicBezTo>
                    <a:cubicBezTo>
                      <a:pt x="147" y="45"/>
                      <a:pt x="148" y="49"/>
                      <a:pt x="150" y="49"/>
                    </a:cubicBezTo>
                    <a:cubicBezTo>
                      <a:pt x="150" y="49"/>
                      <a:pt x="155" y="48"/>
                      <a:pt x="155" y="53"/>
                    </a:cubicBezTo>
                    <a:cubicBezTo>
                      <a:pt x="155" y="53"/>
                      <a:pt x="162" y="55"/>
                      <a:pt x="155" y="59"/>
                    </a:cubicBezTo>
                    <a:cubicBezTo>
                      <a:pt x="155" y="59"/>
                      <a:pt x="157" y="63"/>
                      <a:pt x="153" y="64"/>
                    </a:cubicBezTo>
                    <a:cubicBezTo>
                      <a:pt x="153" y="64"/>
                      <a:pt x="146" y="69"/>
                      <a:pt x="153" y="69"/>
                    </a:cubicBezTo>
                    <a:cubicBezTo>
                      <a:pt x="153" y="69"/>
                      <a:pt x="157" y="71"/>
                      <a:pt x="156" y="74"/>
                    </a:cubicBezTo>
                    <a:cubicBezTo>
                      <a:pt x="156" y="74"/>
                      <a:pt x="155" y="78"/>
                      <a:pt x="163" y="79"/>
                    </a:cubicBezTo>
                    <a:cubicBezTo>
                      <a:pt x="163" y="79"/>
                      <a:pt x="163" y="83"/>
                      <a:pt x="168" y="84"/>
                    </a:cubicBezTo>
                    <a:cubicBezTo>
                      <a:pt x="168" y="84"/>
                      <a:pt x="174" y="82"/>
                      <a:pt x="174" y="94"/>
                    </a:cubicBezTo>
                    <a:cubicBezTo>
                      <a:pt x="174" y="94"/>
                      <a:pt x="172" y="98"/>
                      <a:pt x="179" y="97"/>
                    </a:cubicBezTo>
                    <a:cubicBezTo>
                      <a:pt x="174" y="102"/>
                      <a:pt x="168" y="102"/>
                      <a:pt x="168" y="102"/>
                    </a:cubicBezTo>
                    <a:cubicBezTo>
                      <a:pt x="163" y="106"/>
                      <a:pt x="164" y="111"/>
                      <a:pt x="164" y="111"/>
                    </a:cubicBezTo>
                    <a:cubicBezTo>
                      <a:pt x="160" y="107"/>
                      <a:pt x="157" y="107"/>
                      <a:pt x="157" y="107"/>
                    </a:cubicBezTo>
                    <a:cubicBezTo>
                      <a:pt x="154" y="107"/>
                      <a:pt x="153" y="109"/>
                      <a:pt x="153" y="109"/>
                    </a:cubicBezTo>
                    <a:cubicBezTo>
                      <a:pt x="150" y="111"/>
                      <a:pt x="144" y="109"/>
                      <a:pt x="144" y="109"/>
                    </a:cubicBezTo>
                    <a:cubicBezTo>
                      <a:pt x="141" y="109"/>
                      <a:pt x="140" y="105"/>
                      <a:pt x="134" y="105"/>
                    </a:cubicBezTo>
                    <a:cubicBezTo>
                      <a:pt x="131" y="105"/>
                      <a:pt x="131" y="100"/>
                      <a:pt x="128" y="100"/>
                    </a:cubicBezTo>
                    <a:cubicBezTo>
                      <a:pt x="129" y="106"/>
                      <a:pt x="124" y="107"/>
                      <a:pt x="124" y="107"/>
                    </a:cubicBezTo>
                    <a:lnTo>
                      <a:pt x="118" y="105"/>
                    </a:lnTo>
                    <a:lnTo>
                      <a:pt x="106" y="107"/>
                    </a:lnTo>
                    <a:cubicBezTo>
                      <a:pt x="106" y="107"/>
                      <a:pt x="105" y="108"/>
                      <a:pt x="105" y="109"/>
                    </a:cubicBezTo>
                    <a:cubicBezTo>
                      <a:pt x="105" y="109"/>
                      <a:pt x="103" y="106"/>
                      <a:pt x="99" y="107"/>
                    </a:cubicBezTo>
                    <a:cubicBezTo>
                      <a:pt x="99" y="107"/>
                      <a:pt x="100" y="110"/>
                      <a:pt x="98" y="112"/>
                    </a:cubicBezTo>
                    <a:cubicBezTo>
                      <a:pt x="97" y="112"/>
                      <a:pt x="96" y="116"/>
                      <a:pt x="96" y="116"/>
                    </a:cubicBezTo>
                    <a:cubicBezTo>
                      <a:pt x="90" y="124"/>
                      <a:pt x="86" y="114"/>
                      <a:pt x="86" y="114"/>
                    </a:cubicBezTo>
                    <a:cubicBezTo>
                      <a:pt x="80" y="115"/>
                      <a:pt x="78" y="107"/>
                      <a:pt x="78" y="107"/>
                    </a:cubicBezTo>
                    <a:cubicBezTo>
                      <a:pt x="76" y="116"/>
                      <a:pt x="69" y="112"/>
                      <a:pt x="69" y="112"/>
                    </a:cubicBezTo>
                    <a:cubicBezTo>
                      <a:pt x="68" y="117"/>
                      <a:pt x="54" y="115"/>
                      <a:pt x="54" y="115"/>
                    </a:cubicBezTo>
                    <a:cubicBezTo>
                      <a:pt x="38" y="121"/>
                      <a:pt x="34" y="117"/>
                      <a:pt x="34" y="117"/>
                    </a:cubicBezTo>
                    <a:cubicBezTo>
                      <a:pt x="28" y="115"/>
                      <a:pt x="27" y="110"/>
                      <a:pt x="27" y="110"/>
                    </a:cubicBezTo>
                    <a:cubicBezTo>
                      <a:pt x="20" y="110"/>
                      <a:pt x="18" y="107"/>
                      <a:pt x="18" y="107"/>
                    </a:cubicBezTo>
                    <a:cubicBezTo>
                      <a:pt x="16" y="104"/>
                      <a:pt x="7" y="103"/>
                      <a:pt x="7" y="103"/>
                    </a:cubicBezTo>
                    <a:cubicBezTo>
                      <a:pt x="1" y="105"/>
                      <a:pt x="0" y="100"/>
                      <a:pt x="0" y="100"/>
                    </a:cubicBezTo>
                    <a:lnTo>
                      <a:pt x="9" y="99"/>
                    </a:lnTo>
                    <a:cubicBezTo>
                      <a:pt x="13" y="100"/>
                      <a:pt x="15" y="95"/>
                      <a:pt x="15" y="95"/>
                    </a:cubicBezTo>
                    <a:cubicBezTo>
                      <a:pt x="13" y="90"/>
                      <a:pt x="7" y="89"/>
                      <a:pt x="7" y="89"/>
                    </a:cubicBezTo>
                    <a:cubicBezTo>
                      <a:pt x="6" y="89"/>
                      <a:pt x="4" y="89"/>
                      <a:pt x="3" y="89"/>
                    </a:cubicBezTo>
                    <a:cubicBezTo>
                      <a:pt x="1" y="87"/>
                      <a:pt x="5" y="86"/>
                      <a:pt x="4" y="84"/>
                    </a:cubicBezTo>
                    <a:cubicBezTo>
                      <a:pt x="8" y="84"/>
                      <a:pt x="11" y="83"/>
                      <a:pt x="11" y="83"/>
                    </a:cubicBezTo>
                    <a:cubicBezTo>
                      <a:pt x="17" y="83"/>
                      <a:pt x="20" y="86"/>
                      <a:pt x="20" y="86"/>
                    </a:cubicBezTo>
                    <a:cubicBezTo>
                      <a:pt x="25" y="89"/>
                      <a:pt x="31" y="84"/>
                      <a:pt x="31" y="84"/>
                    </a:cubicBezTo>
                    <a:lnTo>
                      <a:pt x="35" y="83"/>
                    </a:lnTo>
                    <a:cubicBezTo>
                      <a:pt x="34" y="81"/>
                      <a:pt x="27" y="79"/>
                      <a:pt x="27" y="79"/>
                    </a:cubicBezTo>
                    <a:lnTo>
                      <a:pt x="18" y="79"/>
                    </a:lnTo>
                    <a:cubicBezTo>
                      <a:pt x="12" y="77"/>
                      <a:pt x="10" y="70"/>
                      <a:pt x="10" y="70"/>
                    </a:cubicBezTo>
                  </a:path>
                </a:pathLst>
              </a:custGeom>
              <a:solidFill>
                <a:schemeClr val="accent1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92" name="Freeform 1171">
                <a:extLst>
                  <a:ext uri="{FF2B5EF4-FFF2-40B4-BE49-F238E27FC236}">
                    <a16:creationId xmlns:a16="http://schemas.microsoft.com/office/drawing/2014/main" id="{CE3E1734-EE66-461F-A1C4-96CC893302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7883" y="3570953"/>
                <a:ext cx="1504345" cy="854545"/>
              </a:xfrm>
              <a:custGeom>
                <a:avLst/>
                <a:gdLst>
                  <a:gd name="T0" fmla="*/ 1262062 w 213"/>
                  <a:gd name="T1" fmla="*/ 785812 h 121"/>
                  <a:gd name="T2" fmla="*/ 1103312 w 213"/>
                  <a:gd name="T3" fmla="*/ 904875 h 121"/>
                  <a:gd name="T4" fmla="*/ 968375 w 213"/>
                  <a:gd name="T5" fmla="*/ 912812 h 121"/>
                  <a:gd name="T6" fmla="*/ 881062 w 213"/>
                  <a:gd name="T7" fmla="*/ 865187 h 121"/>
                  <a:gd name="T8" fmla="*/ 825500 w 213"/>
                  <a:gd name="T9" fmla="*/ 762000 h 121"/>
                  <a:gd name="T10" fmla="*/ 730250 w 213"/>
                  <a:gd name="T11" fmla="*/ 738187 h 121"/>
                  <a:gd name="T12" fmla="*/ 611187 w 213"/>
                  <a:gd name="T13" fmla="*/ 682625 h 121"/>
                  <a:gd name="T14" fmla="*/ 396875 w 213"/>
                  <a:gd name="T15" fmla="*/ 674687 h 121"/>
                  <a:gd name="T16" fmla="*/ 246062 w 213"/>
                  <a:gd name="T17" fmla="*/ 690562 h 121"/>
                  <a:gd name="T18" fmla="*/ 87312 w 213"/>
                  <a:gd name="T19" fmla="*/ 642937 h 121"/>
                  <a:gd name="T20" fmla="*/ 31750 w 213"/>
                  <a:gd name="T21" fmla="*/ 563562 h 121"/>
                  <a:gd name="T22" fmla="*/ 134937 w 213"/>
                  <a:gd name="T23" fmla="*/ 523875 h 121"/>
                  <a:gd name="T24" fmla="*/ 325437 w 213"/>
                  <a:gd name="T25" fmla="*/ 436562 h 121"/>
                  <a:gd name="T26" fmla="*/ 365125 w 213"/>
                  <a:gd name="T27" fmla="*/ 373062 h 121"/>
                  <a:gd name="T28" fmla="*/ 539750 w 213"/>
                  <a:gd name="T29" fmla="*/ 325437 h 121"/>
                  <a:gd name="T30" fmla="*/ 642937 w 213"/>
                  <a:gd name="T31" fmla="*/ 333375 h 121"/>
                  <a:gd name="T32" fmla="*/ 738187 w 213"/>
                  <a:gd name="T33" fmla="*/ 254000 h 121"/>
                  <a:gd name="T34" fmla="*/ 865187 w 213"/>
                  <a:gd name="T35" fmla="*/ 222250 h 121"/>
                  <a:gd name="T36" fmla="*/ 952500 w 213"/>
                  <a:gd name="T37" fmla="*/ 222250 h 121"/>
                  <a:gd name="T38" fmla="*/ 1016000 w 213"/>
                  <a:gd name="T39" fmla="*/ 150812 h 121"/>
                  <a:gd name="T40" fmla="*/ 1087437 w 213"/>
                  <a:gd name="T41" fmla="*/ 134937 h 121"/>
                  <a:gd name="T42" fmla="*/ 1190625 w 213"/>
                  <a:gd name="T43" fmla="*/ 182562 h 121"/>
                  <a:gd name="T44" fmla="*/ 1246187 w 213"/>
                  <a:gd name="T45" fmla="*/ 103187 h 121"/>
                  <a:gd name="T46" fmla="*/ 1270000 w 213"/>
                  <a:gd name="T47" fmla="*/ 31750 h 121"/>
                  <a:gd name="T48" fmla="*/ 1404937 w 213"/>
                  <a:gd name="T49" fmla="*/ 119062 h 121"/>
                  <a:gd name="T50" fmla="*/ 1516062 w 213"/>
                  <a:gd name="T51" fmla="*/ 198437 h 121"/>
                  <a:gd name="T52" fmla="*/ 1690687 w 213"/>
                  <a:gd name="T53" fmla="*/ 230187 h 121"/>
                  <a:gd name="T54" fmla="*/ 1651000 w 213"/>
                  <a:gd name="T55" fmla="*/ 285750 h 121"/>
                  <a:gd name="T56" fmla="*/ 1587500 w 213"/>
                  <a:gd name="T57" fmla="*/ 277812 h 121"/>
                  <a:gd name="T58" fmla="*/ 1651000 w 213"/>
                  <a:gd name="T59" fmla="*/ 349250 h 121"/>
                  <a:gd name="T60" fmla="*/ 1603375 w 213"/>
                  <a:gd name="T61" fmla="*/ 396875 h 121"/>
                  <a:gd name="T62" fmla="*/ 1547812 w 213"/>
                  <a:gd name="T63" fmla="*/ 420687 h 121"/>
                  <a:gd name="T64" fmla="*/ 1539875 w 213"/>
                  <a:gd name="T65" fmla="*/ 555625 h 121"/>
                  <a:gd name="T66" fmla="*/ 1436687 w 213"/>
                  <a:gd name="T67" fmla="*/ 706437 h 121"/>
                  <a:gd name="T68" fmla="*/ 1357312 w 213"/>
                  <a:gd name="T69" fmla="*/ 769937 h 12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13"/>
                  <a:gd name="T106" fmla="*/ 0 h 121"/>
                  <a:gd name="T107" fmla="*/ 213 w 213"/>
                  <a:gd name="T108" fmla="*/ 121 h 121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13" h="121">
                    <a:moveTo>
                      <a:pt x="171" y="97"/>
                    </a:moveTo>
                    <a:cubicBezTo>
                      <a:pt x="163" y="89"/>
                      <a:pt x="164" y="101"/>
                      <a:pt x="159" y="99"/>
                    </a:cubicBezTo>
                    <a:cubicBezTo>
                      <a:pt x="159" y="99"/>
                      <a:pt x="152" y="95"/>
                      <a:pt x="152" y="106"/>
                    </a:cubicBezTo>
                    <a:cubicBezTo>
                      <a:pt x="152" y="106"/>
                      <a:pt x="154" y="116"/>
                      <a:pt x="139" y="114"/>
                    </a:cubicBezTo>
                    <a:cubicBezTo>
                      <a:pt x="139" y="114"/>
                      <a:pt x="131" y="108"/>
                      <a:pt x="129" y="114"/>
                    </a:cubicBezTo>
                    <a:cubicBezTo>
                      <a:pt x="129" y="114"/>
                      <a:pt x="124" y="121"/>
                      <a:pt x="122" y="115"/>
                    </a:cubicBezTo>
                    <a:cubicBezTo>
                      <a:pt x="122" y="115"/>
                      <a:pt x="119" y="110"/>
                      <a:pt x="115" y="114"/>
                    </a:cubicBezTo>
                    <a:cubicBezTo>
                      <a:pt x="115" y="114"/>
                      <a:pt x="108" y="116"/>
                      <a:pt x="111" y="109"/>
                    </a:cubicBezTo>
                    <a:cubicBezTo>
                      <a:pt x="111" y="109"/>
                      <a:pt x="111" y="104"/>
                      <a:pt x="107" y="102"/>
                    </a:cubicBezTo>
                    <a:cubicBezTo>
                      <a:pt x="107" y="102"/>
                      <a:pt x="99" y="97"/>
                      <a:pt x="104" y="96"/>
                    </a:cubicBezTo>
                    <a:cubicBezTo>
                      <a:pt x="104" y="96"/>
                      <a:pt x="110" y="91"/>
                      <a:pt x="100" y="91"/>
                    </a:cubicBezTo>
                    <a:cubicBezTo>
                      <a:pt x="100" y="91"/>
                      <a:pt x="98" y="87"/>
                      <a:pt x="92" y="93"/>
                    </a:cubicBezTo>
                    <a:cubicBezTo>
                      <a:pt x="92" y="93"/>
                      <a:pt x="94" y="88"/>
                      <a:pt x="85" y="89"/>
                    </a:cubicBezTo>
                    <a:cubicBezTo>
                      <a:pt x="85" y="89"/>
                      <a:pt x="78" y="91"/>
                      <a:pt x="77" y="86"/>
                    </a:cubicBezTo>
                    <a:cubicBezTo>
                      <a:pt x="77" y="86"/>
                      <a:pt x="73" y="77"/>
                      <a:pt x="64" y="84"/>
                    </a:cubicBezTo>
                    <a:cubicBezTo>
                      <a:pt x="60" y="90"/>
                      <a:pt x="61" y="82"/>
                      <a:pt x="50" y="85"/>
                    </a:cubicBezTo>
                    <a:cubicBezTo>
                      <a:pt x="47" y="85"/>
                      <a:pt x="46" y="89"/>
                      <a:pt x="44" y="86"/>
                    </a:cubicBezTo>
                    <a:cubicBezTo>
                      <a:pt x="44" y="86"/>
                      <a:pt x="35" y="82"/>
                      <a:pt x="31" y="87"/>
                    </a:cubicBezTo>
                    <a:cubicBezTo>
                      <a:pt x="31" y="87"/>
                      <a:pt x="27" y="88"/>
                      <a:pt x="23" y="87"/>
                    </a:cubicBezTo>
                    <a:cubicBezTo>
                      <a:pt x="18" y="89"/>
                      <a:pt x="16" y="81"/>
                      <a:pt x="11" y="81"/>
                    </a:cubicBezTo>
                    <a:cubicBezTo>
                      <a:pt x="11" y="81"/>
                      <a:pt x="10" y="84"/>
                      <a:pt x="5" y="83"/>
                    </a:cubicBezTo>
                    <a:cubicBezTo>
                      <a:pt x="0" y="77"/>
                      <a:pt x="4" y="71"/>
                      <a:pt x="4" y="71"/>
                    </a:cubicBezTo>
                    <a:cubicBezTo>
                      <a:pt x="7" y="64"/>
                      <a:pt x="10" y="67"/>
                      <a:pt x="10" y="67"/>
                    </a:cubicBezTo>
                    <a:cubicBezTo>
                      <a:pt x="13" y="72"/>
                      <a:pt x="17" y="66"/>
                      <a:pt x="17" y="66"/>
                    </a:cubicBezTo>
                    <a:cubicBezTo>
                      <a:pt x="24" y="58"/>
                      <a:pt x="27" y="63"/>
                      <a:pt x="29" y="61"/>
                    </a:cubicBezTo>
                    <a:cubicBezTo>
                      <a:pt x="35" y="54"/>
                      <a:pt x="41" y="55"/>
                      <a:pt x="41" y="55"/>
                    </a:cubicBezTo>
                    <a:cubicBezTo>
                      <a:pt x="46" y="57"/>
                      <a:pt x="44" y="53"/>
                      <a:pt x="44" y="53"/>
                    </a:cubicBezTo>
                    <a:cubicBezTo>
                      <a:pt x="42" y="51"/>
                      <a:pt x="46" y="47"/>
                      <a:pt x="46" y="47"/>
                    </a:cubicBezTo>
                    <a:cubicBezTo>
                      <a:pt x="47" y="39"/>
                      <a:pt x="51" y="41"/>
                      <a:pt x="51" y="41"/>
                    </a:cubicBezTo>
                    <a:cubicBezTo>
                      <a:pt x="60" y="39"/>
                      <a:pt x="68" y="41"/>
                      <a:pt x="68" y="41"/>
                    </a:cubicBezTo>
                    <a:cubicBezTo>
                      <a:pt x="69" y="45"/>
                      <a:pt x="74" y="41"/>
                      <a:pt x="74" y="41"/>
                    </a:cubicBezTo>
                    <a:cubicBezTo>
                      <a:pt x="79" y="38"/>
                      <a:pt x="81" y="42"/>
                      <a:pt x="81" y="42"/>
                    </a:cubicBezTo>
                    <a:cubicBezTo>
                      <a:pt x="82" y="45"/>
                      <a:pt x="90" y="40"/>
                      <a:pt x="90" y="40"/>
                    </a:cubicBezTo>
                    <a:cubicBezTo>
                      <a:pt x="89" y="36"/>
                      <a:pt x="93" y="32"/>
                      <a:pt x="93" y="32"/>
                    </a:cubicBezTo>
                    <a:cubicBezTo>
                      <a:pt x="91" y="25"/>
                      <a:pt x="98" y="27"/>
                      <a:pt x="98" y="27"/>
                    </a:cubicBezTo>
                    <a:cubicBezTo>
                      <a:pt x="102" y="25"/>
                      <a:pt x="109" y="28"/>
                      <a:pt x="109" y="28"/>
                    </a:cubicBezTo>
                    <a:cubicBezTo>
                      <a:pt x="111" y="35"/>
                      <a:pt x="114" y="29"/>
                      <a:pt x="114" y="29"/>
                    </a:cubicBezTo>
                    <a:cubicBezTo>
                      <a:pt x="118" y="24"/>
                      <a:pt x="120" y="28"/>
                      <a:pt x="120" y="28"/>
                    </a:cubicBezTo>
                    <a:cubicBezTo>
                      <a:pt x="125" y="31"/>
                      <a:pt x="124" y="24"/>
                      <a:pt x="124" y="24"/>
                    </a:cubicBezTo>
                    <a:cubicBezTo>
                      <a:pt x="124" y="20"/>
                      <a:pt x="128" y="19"/>
                      <a:pt x="128" y="19"/>
                    </a:cubicBezTo>
                    <a:cubicBezTo>
                      <a:pt x="130" y="18"/>
                      <a:pt x="133" y="14"/>
                      <a:pt x="133" y="14"/>
                    </a:cubicBezTo>
                    <a:cubicBezTo>
                      <a:pt x="134" y="17"/>
                      <a:pt x="137" y="17"/>
                      <a:pt x="137" y="17"/>
                    </a:cubicBezTo>
                    <a:cubicBezTo>
                      <a:pt x="142" y="20"/>
                      <a:pt x="143" y="25"/>
                      <a:pt x="143" y="25"/>
                    </a:cubicBezTo>
                    <a:cubicBezTo>
                      <a:pt x="147" y="27"/>
                      <a:pt x="150" y="23"/>
                      <a:pt x="150" y="23"/>
                    </a:cubicBezTo>
                    <a:cubicBezTo>
                      <a:pt x="153" y="21"/>
                      <a:pt x="153" y="26"/>
                      <a:pt x="157" y="22"/>
                    </a:cubicBezTo>
                    <a:cubicBezTo>
                      <a:pt x="160" y="19"/>
                      <a:pt x="157" y="13"/>
                      <a:pt x="157" y="13"/>
                    </a:cubicBezTo>
                    <a:cubicBezTo>
                      <a:pt x="155" y="7"/>
                      <a:pt x="151" y="8"/>
                      <a:pt x="155" y="0"/>
                    </a:cubicBezTo>
                    <a:cubicBezTo>
                      <a:pt x="159" y="1"/>
                      <a:pt x="160" y="4"/>
                      <a:pt x="160" y="4"/>
                    </a:cubicBezTo>
                    <a:cubicBezTo>
                      <a:pt x="170" y="5"/>
                      <a:pt x="173" y="9"/>
                      <a:pt x="173" y="9"/>
                    </a:cubicBezTo>
                    <a:cubicBezTo>
                      <a:pt x="176" y="12"/>
                      <a:pt x="177" y="15"/>
                      <a:pt x="177" y="15"/>
                    </a:cubicBezTo>
                    <a:cubicBezTo>
                      <a:pt x="184" y="15"/>
                      <a:pt x="183" y="19"/>
                      <a:pt x="183" y="19"/>
                    </a:cubicBezTo>
                    <a:cubicBezTo>
                      <a:pt x="185" y="28"/>
                      <a:pt x="188" y="23"/>
                      <a:pt x="191" y="25"/>
                    </a:cubicBezTo>
                    <a:cubicBezTo>
                      <a:pt x="194" y="27"/>
                      <a:pt x="198" y="26"/>
                      <a:pt x="198" y="26"/>
                    </a:cubicBezTo>
                    <a:cubicBezTo>
                      <a:pt x="211" y="23"/>
                      <a:pt x="213" y="29"/>
                      <a:pt x="213" y="29"/>
                    </a:cubicBezTo>
                    <a:lnTo>
                      <a:pt x="208" y="36"/>
                    </a:lnTo>
                    <a:cubicBezTo>
                      <a:pt x="208" y="36"/>
                      <a:pt x="207" y="32"/>
                      <a:pt x="200" y="35"/>
                    </a:cubicBezTo>
                    <a:cubicBezTo>
                      <a:pt x="200" y="35"/>
                      <a:pt x="188" y="35"/>
                      <a:pt x="200" y="41"/>
                    </a:cubicBezTo>
                    <a:cubicBezTo>
                      <a:pt x="200" y="41"/>
                      <a:pt x="206" y="41"/>
                      <a:pt x="208" y="44"/>
                    </a:cubicBezTo>
                    <a:cubicBezTo>
                      <a:pt x="208" y="44"/>
                      <a:pt x="207" y="47"/>
                      <a:pt x="202" y="50"/>
                    </a:cubicBezTo>
                    <a:lnTo>
                      <a:pt x="195" y="53"/>
                    </a:lnTo>
                    <a:cubicBezTo>
                      <a:pt x="195" y="53"/>
                      <a:pt x="188" y="56"/>
                      <a:pt x="192" y="61"/>
                    </a:cubicBezTo>
                    <a:cubicBezTo>
                      <a:pt x="192" y="61"/>
                      <a:pt x="194" y="63"/>
                      <a:pt x="194" y="70"/>
                    </a:cubicBezTo>
                    <a:cubicBezTo>
                      <a:pt x="194" y="70"/>
                      <a:pt x="198" y="78"/>
                      <a:pt x="188" y="83"/>
                    </a:cubicBezTo>
                    <a:cubicBezTo>
                      <a:pt x="188" y="83"/>
                      <a:pt x="182" y="83"/>
                      <a:pt x="181" y="89"/>
                    </a:cubicBezTo>
                    <a:cubicBezTo>
                      <a:pt x="181" y="89"/>
                      <a:pt x="173" y="91"/>
                      <a:pt x="171" y="97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93" name="Freeform 1172">
                <a:extLst>
                  <a:ext uri="{FF2B5EF4-FFF2-40B4-BE49-F238E27FC236}">
                    <a16:creationId xmlns:a16="http://schemas.microsoft.com/office/drawing/2014/main" id="{A22DCB4D-CEB0-449A-85E4-49D6CF1CF4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0284" y="3578016"/>
                <a:ext cx="1447844" cy="960480"/>
              </a:xfrm>
              <a:custGeom>
                <a:avLst/>
                <a:gdLst>
                  <a:gd name="T0" fmla="*/ 1444625 w 205"/>
                  <a:gd name="T1" fmla="*/ 793750 h 136"/>
                  <a:gd name="T2" fmla="*/ 1357312 w 205"/>
                  <a:gd name="T3" fmla="*/ 793750 h 136"/>
                  <a:gd name="T4" fmla="*/ 1285875 w 205"/>
                  <a:gd name="T5" fmla="*/ 769938 h 136"/>
                  <a:gd name="T6" fmla="*/ 1262062 w 205"/>
                  <a:gd name="T7" fmla="*/ 666750 h 136"/>
                  <a:gd name="T8" fmla="*/ 1190625 w 205"/>
                  <a:gd name="T9" fmla="*/ 658813 h 136"/>
                  <a:gd name="T10" fmla="*/ 1063625 w 205"/>
                  <a:gd name="T11" fmla="*/ 650875 h 136"/>
                  <a:gd name="T12" fmla="*/ 912812 w 205"/>
                  <a:gd name="T13" fmla="*/ 650875 h 136"/>
                  <a:gd name="T14" fmla="*/ 881062 w 205"/>
                  <a:gd name="T15" fmla="*/ 650875 h 136"/>
                  <a:gd name="T16" fmla="*/ 769937 w 205"/>
                  <a:gd name="T17" fmla="*/ 698500 h 136"/>
                  <a:gd name="T18" fmla="*/ 801687 w 205"/>
                  <a:gd name="T19" fmla="*/ 754063 h 136"/>
                  <a:gd name="T20" fmla="*/ 801687 w 205"/>
                  <a:gd name="T21" fmla="*/ 833438 h 136"/>
                  <a:gd name="T22" fmla="*/ 817562 w 205"/>
                  <a:gd name="T23" fmla="*/ 968375 h 136"/>
                  <a:gd name="T24" fmla="*/ 738187 w 205"/>
                  <a:gd name="T25" fmla="*/ 1008063 h 136"/>
                  <a:gd name="T26" fmla="*/ 587375 w 205"/>
                  <a:gd name="T27" fmla="*/ 1047750 h 136"/>
                  <a:gd name="T28" fmla="*/ 452437 w 205"/>
                  <a:gd name="T29" fmla="*/ 1063625 h 136"/>
                  <a:gd name="T30" fmla="*/ 373062 w 205"/>
                  <a:gd name="T31" fmla="*/ 1055688 h 136"/>
                  <a:gd name="T32" fmla="*/ 222250 w 205"/>
                  <a:gd name="T33" fmla="*/ 1039813 h 136"/>
                  <a:gd name="T34" fmla="*/ 150812 w 205"/>
                  <a:gd name="T35" fmla="*/ 1039813 h 136"/>
                  <a:gd name="T36" fmla="*/ 63500 w 205"/>
                  <a:gd name="T37" fmla="*/ 1016000 h 136"/>
                  <a:gd name="T38" fmla="*/ 47625 w 205"/>
                  <a:gd name="T39" fmla="*/ 928688 h 136"/>
                  <a:gd name="T40" fmla="*/ 39687 w 205"/>
                  <a:gd name="T41" fmla="*/ 809625 h 136"/>
                  <a:gd name="T42" fmla="*/ 119062 w 205"/>
                  <a:gd name="T43" fmla="*/ 698500 h 136"/>
                  <a:gd name="T44" fmla="*/ 222250 w 205"/>
                  <a:gd name="T45" fmla="*/ 547688 h 136"/>
                  <a:gd name="T46" fmla="*/ 230187 w 205"/>
                  <a:gd name="T47" fmla="*/ 412750 h 136"/>
                  <a:gd name="T48" fmla="*/ 285750 w 205"/>
                  <a:gd name="T49" fmla="*/ 388938 h 136"/>
                  <a:gd name="T50" fmla="*/ 333375 w 205"/>
                  <a:gd name="T51" fmla="*/ 341313 h 136"/>
                  <a:gd name="T52" fmla="*/ 269875 w 205"/>
                  <a:gd name="T53" fmla="*/ 269875 h 136"/>
                  <a:gd name="T54" fmla="*/ 333375 w 205"/>
                  <a:gd name="T55" fmla="*/ 277813 h 136"/>
                  <a:gd name="T56" fmla="*/ 373062 w 205"/>
                  <a:gd name="T57" fmla="*/ 222250 h 136"/>
                  <a:gd name="T58" fmla="*/ 515937 w 205"/>
                  <a:gd name="T59" fmla="*/ 269875 h 136"/>
                  <a:gd name="T60" fmla="*/ 539750 w 205"/>
                  <a:gd name="T61" fmla="*/ 142875 h 136"/>
                  <a:gd name="T62" fmla="*/ 690562 w 205"/>
                  <a:gd name="T63" fmla="*/ 31750 h 136"/>
                  <a:gd name="T64" fmla="*/ 896937 w 205"/>
                  <a:gd name="T65" fmla="*/ 55563 h 136"/>
                  <a:gd name="T66" fmla="*/ 1127125 w 205"/>
                  <a:gd name="T67" fmla="*/ 127000 h 136"/>
                  <a:gd name="T68" fmla="*/ 1270000 w 205"/>
                  <a:gd name="T69" fmla="*/ 246063 h 136"/>
                  <a:gd name="T70" fmla="*/ 1341437 w 205"/>
                  <a:gd name="T71" fmla="*/ 333375 h 136"/>
                  <a:gd name="T72" fmla="*/ 1452562 w 205"/>
                  <a:gd name="T73" fmla="*/ 301625 h 136"/>
                  <a:gd name="T74" fmla="*/ 1531937 w 205"/>
                  <a:gd name="T75" fmla="*/ 325438 h 136"/>
                  <a:gd name="T76" fmla="*/ 1587500 w 205"/>
                  <a:gd name="T77" fmla="*/ 325438 h 136"/>
                  <a:gd name="T78" fmla="*/ 1579562 w 205"/>
                  <a:gd name="T79" fmla="*/ 484188 h 136"/>
                  <a:gd name="T80" fmla="*/ 1603375 w 205"/>
                  <a:gd name="T81" fmla="*/ 563563 h 136"/>
                  <a:gd name="T82" fmla="*/ 1555750 w 205"/>
                  <a:gd name="T83" fmla="*/ 650875 h 136"/>
                  <a:gd name="T84" fmla="*/ 1492250 w 205"/>
                  <a:gd name="T85" fmla="*/ 698500 h 136"/>
                  <a:gd name="T86" fmla="*/ 1492250 w 205"/>
                  <a:gd name="T87" fmla="*/ 785813 h 136"/>
                  <a:gd name="T88" fmla="*/ 1492250 w 205"/>
                  <a:gd name="T89" fmla="*/ 785813 h 1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05"/>
                  <a:gd name="T136" fmla="*/ 0 h 136"/>
                  <a:gd name="T137" fmla="*/ 205 w 205"/>
                  <a:gd name="T138" fmla="*/ 136 h 1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05" h="136">
                    <a:moveTo>
                      <a:pt x="188" y="99"/>
                    </a:moveTo>
                    <a:cubicBezTo>
                      <a:pt x="183" y="97"/>
                      <a:pt x="182" y="100"/>
                      <a:pt x="182" y="100"/>
                    </a:cubicBezTo>
                    <a:cubicBezTo>
                      <a:pt x="180" y="102"/>
                      <a:pt x="177" y="99"/>
                      <a:pt x="177" y="99"/>
                    </a:cubicBezTo>
                    <a:cubicBezTo>
                      <a:pt x="172" y="104"/>
                      <a:pt x="171" y="100"/>
                      <a:pt x="171" y="100"/>
                    </a:cubicBezTo>
                    <a:cubicBezTo>
                      <a:pt x="167" y="96"/>
                      <a:pt x="166" y="99"/>
                      <a:pt x="166" y="99"/>
                    </a:cubicBezTo>
                    <a:cubicBezTo>
                      <a:pt x="162" y="101"/>
                      <a:pt x="162" y="97"/>
                      <a:pt x="162" y="97"/>
                    </a:cubicBezTo>
                    <a:cubicBezTo>
                      <a:pt x="168" y="93"/>
                      <a:pt x="161" y="92"/>
                      <a:pt x="161" y="92"/>
                    </a:cubicBezTo>
                    <a:cubicBezTo>
                      <a:pt x="157" y="87"/>
                      <a:pt x="159" y="84"/>
                      <a:pt x="159" y="84"/>
                    </a:cubicBezTo>
                    <a:cubicBezTo>
                      <a:pt x="156" y="87"/>
                      <a:pt x="155" y="85"/>
                      <a:pt x="155" y="85"/>
                    </a:cubicBezTo>
                    <a:cubicBezTo>
                      <a:pt x="155" y="79"/>
                      <a:pt x="150" y="83"/>
                      <a:pt x="150" y="83"/>
                    </a:cubicBezTo>
                    <a:cubicBezTo>
                      <a:pt x="145" y="84"/>
                      <a:pt x="143" y="81"/>
                      <a:pt x="143" y="81"/>
                    </a:cubicBezTo>
                    <a:cubicBezTo>
                      <a:pt x="138" y="77"/>
                      <a:pt x="134" y="82"/>
                      <a:pt x="134" y="82"/>
                    </a:cubicBezTo>
                    <a:cubicBezTo>
                      <a:pt x="130" y="85"/>
                      <a:pt x="126" y="82"/>
                      <a:pt x="126" y="82"/>
                    </a:cubicBezTo>
                    <a:cubicBezTo>
                      <a:pt x="118" y="80"/>
                      <a:pt x="115" y="82"/>
                      <a:pt x="115" y="82"/>
                    </a:cubicBezTo>
                    <a:cubicBezTo>
                      <a:pt x="114" y="82"/>
                      <a:pt x="114" y="82"/>
                      <a:pt x="113" y="81"/>
                    </a:cubicBezTo>
                    <a:cubicBezTo>
                      <a:pt x="112" y="81"/>
                      <a:pt x="112" y="81"/>
                      <a:pt x="111" y="82"/>
                    </a:cubicBezTo>
                    <a:cubicBezTo>
                      <a:pt x="105" y="80"/>
                      <a:pt x="104" y="85"/>
                      <a:pt x="104" y="85"/>
                    </a:cubicBezTo>
                    <a:cubicBezTo>
                      <a:pt x="96" y="84"/>
                      <a:pt x="97" y="88"/>
                      <a:pt x="97" y="88"/>
                    </a:cubicBezTo>
                    <a:cubicBezTo>
                      <a:pt x="98" y="90"/>
                      <a:pt x="95" y="92"/>
                      <a:pt x="95" y="92"/>
                    </a:cubicBezTo>
                    <a:cubicBezTo>
                      <a:pt x="98" y="92"/>
                      <a:pt x="101" y="95"/>
                      <a:pt x="101" y="95"/>
                    </a:cubicBezTo>
                    <a:cubicBezTo>
                      <a:pt x="104" y="97"/>
                      <a:pt x="96" y="96"/>
                      <a:pt x="96" y="100"/>
                    </a:cubicBezTo>
                    <a:cubicBezTo>
                      <a:pt x="96" y="102"/>
                      <a:pt x="101" y="105"/>
                      <a:pt x="101" y="105"/>
                    </a:cubicBezTo>
                    <a:cubicBezTo>
                      <a:pt x="99" y="114"/>
                      <a:pt x="107" y="111"/>
                      <a:pt x="103" y="116"/>
                    </a:cubicBezTo>
                    <a:cubicBezTo>
                      <a:pt x="102" y="118"/>
                      <a:pt x="103" y="122"/>
                      <a:pt x="103" y="122"/>
                    </a:cubicBezTo>
                    <a:cubicBezTo>
                      <a:pt x="104" y="130"/>
                      <a:pt x="100" y="128"/>
                      <a:pt x="100" y="128"/>
                    </a:cubicBezTo>
                    <a:cubicBezTo>
                      <a:pt x="94" y="129"/>
                      <a:pt x="93" y="127"/>
                      <a:pt x="93" y="127"/>
                    </a:cubicBezTo>
                    <a:cubicBezTo>
                      <a:pt x="86" y="124"/>
                      <a:pt x="81" y="128"/>
                      <a:pt x="81" y="128"/>
                    </a:cubicBezTo>
                    <a:cubicBezTo>
                      <a:pt x="79" y="130"/>
                      <a:pt x="74" y="132"/>
                      <a:pt x="74" y="132"/>
                    </a:cubicBezTo>
                    <a:cubicBezTo>
                      <a:pt x="70" y="131"/>
                      <a:pt x="68" y="134"/>
                      <a:pt x="68" y="134"/>
                    </a:cubicBezTo>
                    <a:cubicBezTo>
                      <a:pt x="63" y="134"/>
                      <a:pt x="57" y="134"/>
                      <a:pt x="57" y="134"/>
                    </a:cubicBezTo>
                    <a:cubicBezTo>
                      <a:pt x="54" y="135"/>
                      <a:pt x="53" y="133"/>
                      <a:pt x="53" y="133"/>
                    </a:cubicBezTo>
                    <a:cubicBezTo>
                      <a:pt x="49" y="130"/>
                      <a:pt x="47" y="133"/>
                      <a:pt x="47" y="133"/>
                    </a:cubicBezTo>
                    <a:cubicBezTo>
                      <a:pt x="35" y="136"/>
                      <a:pt x="36" y="131"/>
                      <a:pt x="36" y="131"/>
                    </a:cubicBezTo>
                    <a:cubicBezTo>
                      <a:pt x="32" y="125"/>
                      <a:pt x="28" y="131"/>
                      <a:pt x="28" y="131"/>
                    </a:cubicBezTo>
                    <a:cubicBezTo>
                      <a:pt x="27" y="133"/>
                      <a:pt x="23" y="130"/>
                      <a:pt x="23" y="133"/>
                    </a:cubicBezTo>
                    <a:cubicBezTo>
                      <a:pt x="22" y="136"/>
                      <a:pt x="19" y="131"/>
                      <a:pt x="19" y="131"/>
                    </a:cubicBezTo>
                    <a:cubicBezTo>
                      <a:pt x="18" y="130"/>
                      <a:pt x="14" y="130"/>
                      <a:pt x="14" y="130"/>
                    </a:cubicBezTo>
                    <a:cubicBezTo>
                      <a:pt x="12" y="127"/>
                      <a:pt x="8" y="128"/>
                      <a:pt x="8" y="128"/>
                    </a:cubicBezTo>
                    <a:cubicBezTo>
                      <a:pt x="2" y="127"/>
                      <a:pt x="4" y="123"/>
                      <a:pt x="4" y="123"/>
                    </a:cubicBezTo>
                    <a:cubicBezTo>
                      <a:pt x="0" y="116"/>
                      <a:pt x="6" y="117"/>
                      <a:pt x="6" y="117"/>
                    </a:cubicBezTo>
                    <a:cubicBezTo>
                      <a:pt x="9" y="115"/>
                      <a:pt x="6" y="108"/>
                      <a:pt x="6" y="108"/>
                    </a:cubicBezTo>
                    <a:cubicBezTo>
                      <a:pt x="8" y="103"/>
                      <a:pt x="5" y="102"/>
                      <a:pt x="5" y="102"/>
                    </a:cubicBezTo>
                    <a:cubicBezTo>
                      <a:pt x="3" y="99"/>
                      <a:pt x="5" y="96"/>
                      <a:pt x="5" y="96"/>
                    </a:cubicBezTo>
                    <a:cubicBezTo>
                      <a:pt x="7" y="89"/>
                      <a:pt x="15" y="88"/>
                      <a:pt x="15" y="88"/>
                    </a:cubicBezTo>
                    <a:cubicBezTo>
                      <a:pt x="16" y="82"/>
                      <a:pt x="22" y="82"/>
                      <a:pt x="22" y="82"/>
                    </a:cubicBezTo>
                    <a:cubicBezTo>
                      <a:pt x="32" y="77"/>
                      <a:pt x="28" y="69"/>
                      <a:pt x="28" y="69"/>
                    </a:cubicBezTo>
                    <a:cubicBezTo>
                      <a:pt x="28" y="62"/>
                      <a:pt x="26" y="60"/>
                      <a:pt x="26" y="60"/>
                    </a:cubicBezTo>
                    <a:cubicBezTo>
                      <a:pt x="22" y="55"/>
                      <a:pt x="29" y="52"/>
                      <a:pt x="29" y="52"/>
                    </a:cubicBezTo>
                    <a:lnTo>
                      <a:pt x="36" y="49"/>
                    </a:lnTo>
                    <a:cubicBezTo>
                      <a:pt x="41" y="46"/>
                      <a:pt x="42" y="43"/>
                      <a:pt x="42" y="43"/>
                    </a:cubicBezTo>
                    <a:cubicBezTo>
                      <a:pt x="40" y="40"/>
                      <a:pt x="34" y="40"/>
                      <a:pt x="34" y="40"/>
                    </a:cubicBezTo>
                    <a:cubicBezTo>
                      <a:pt x="22" y="34"/>
                      <a:pt x="34" y="34"/>
                      <a:pt x="34" y="34"/>
                    </a:cubicBezTo>
                    <a:cubicBezTo>
                      <a:pt x="41" y="31"/>
                      <a:pt x="42" y="35"/>
                      <a:pt x="42" y="35"/>
                    </a:cubicBezTo>
                    <a:lnTo>
                      <a:pt x="47" y="28"/>
                    </a:lnTo>
                    <a:cubicBezTo>
                      <a:pt x="50" y="30"/>
                      <a:pt x="56" y="33"/>
                      <a:pt x="56" y="33"/>
                    </a:cubicBezTo>
                    <a:cubicBezTo>
                      <a:pt x="64" y="38"/>
                      <a:pt x="65" y="34"/>
                      <a:pt x="65" y="34"/>
                    </a:cubicBezTo>
                    <a:cubicBezTo>
                      <a:pt x="65" y="34"/>
                      <a:pt x="68" y="31"/>
                      <a:pt x="66" y="25"/>
                    </a:cubicBezTo>
                    <a:cubicBezTo>
                      <a:pt x="66" y="25"/>
                      <a:pt x="62" y="24"/>
                      <a:pt x="68" y="18"/>
                    </a:cubicBezTo>
                    <a:cubicBezTo>
                      <a:pt x="68" y="18"/>
                      <a:pt x="69" y="10"/>
                      <a:pt x="75" y="10"/>
                    </a:cubicBezTo>
                    <a:cubicBezTo>
                      <a:pt x="80" y="4"/>
                      <a:pt x="85" y="6"/>
                      <a:pt x="87" y="4"/>
                    </a:cubicBezTo>
                    <a:cubicBezTo>
                      <a:pt x="90" y="1"/>
                      <a:pt x="95" y="4"/>
                      <a:pt x="99" y="2"/>
                    </a:cubicBezTo>
                    <a:cubicBezTo>
                      <a:pt x="100" y="4"/>
                      <a:pt x="109" y="0"/>
                      <a:pt x="113" y="7"/>
                    </a:cubicBezTo>
                    <a:cubicBezTo>
                      <a:pt x="121" y="13"/>
                      <a:pt x="124" y="17"/>
                      <a:pt x="129" y="16"/>
                    </a:cubicBezTo>
                    <a:cubicBezTo>
                      <a:pt x="135" y="17"/>
                      <a:pt x="142" y="16"/>
                      <a:pt x="142" y="16"/>
                    </a:cubicBezTo>
                    <a:cubicBezTo>
                      <a:pt x="153" y="9"/>
                      <a:pt x="153" y="23"/>
                      <a:pt x="153" y="23"/>
                    </a:cubicBezTo>
                    <a:cubicBezTo>
                      <a:pt x="162" y="27"/>
                      <a:pt x="160" y="31"/>
                      <a:pt x="160" y="31"/>
                    </a:cubicBezTo>
                    <a:cubicBezTo>
                      <a:pt x="161" y="35"/>
                      <a:pt x="164" y="36"/>
                      <a:pt x="164" y="36"/>
                    </a:cubicBezTo>
                    <a:cubicBezTo>
                      <a:pt x="170" y="38"/>
                      <a:pt x="169" y="42"/>
                      <a:pt x="169" y="42"/>
                    </a:cubicBezTo>
                    <a:cubicBezTo>
                      <a:pt x="169" y="51"/>
                      <a:pt x="174" y="42"/>
                      <a:pt x="174" y="42"/>
                    </a:cubicBezTo>
                    <a:cubicBezTo>
                      <a:pt x="177" y="34"/>
                      <a:pt x="183" y="38"/>
                      <a:pt x="183" y="38"/>
                    </a:cubicBezTo>
                    <a:cubicBezTo>
                      <a:pt x="184" y="42"/>
                      <a:pt x="190" y="38"/>
                      <a:pt x="190" y="38"/>
                    </a:cubicBezTo>
                    <a:cubicBezTo>
                      <a:pt x="196" y="40"/>
                      <a:pt x="193" y="41"/>
                      <a:pt x="193" y="41"/>
                    </a:cubicBezTo>
                    <a:cubicBezTo>
                      <a:pt x="190" y="44"/>
                      <a:pt x="195" y="46"/>
                      <a:pt x="195" y="42"/>
                    </a:cubicBezTo>
                    <a:cubicBezTo>
                      <a:pt x="197" y="40"/>
                      <a:pt x="200" y="41"/>
                      <a:pt x="200" y="41"/>
                    </a:cubicBezTo>
                    <a:cubicBezTo>
                      <a:pt x="201" y="43"/>
                      <a:pt x="196" y="45"/>
                      <a:pt x="197" y="50"/>
                    </a:cubicBezTo>
                    <a:cubicBezTo>
                      <a:pt x="195" y="61"/>
                      <a:pt x="199" y="61"/>
                      <a:pt x="199" y="61"/>
                    </a:cubicBezTo>
                    <a:cubicBezTo>
                      <a:pt x="203" y="62"/>
                      <a:pt x="204" y="66"/>
                      <a:pt x="204" y="66"/>
                    </a:cubicBezTo>
                    <a:cubicBezTo>
                      <a:pt x="205" y="70"/>
                      <a:pt x="202" y="71"/>
                      <a:pt x="202" y="71"/>
                    </a:cubicBezTo>
                    <a:cubicBezTo>
                      <a:pt x="199" y="72"/>
                      <a:pt x="202" y="78"/>
                      <a:pt x="202" y="78"/>
                    </a:cubicBezTo>
                    <a:cubicBezTo>
                      <a:pt x="205" y="85"/>
                      <a:pt x="196" y="82"/>
                      <a:pt x="196" y="82"/>
                    </a:cubicBezTo>
                    <a:cubicBezTo>
                      <a:pt x="191" y="75"/>
                      <a:pt x="188" y="80"/>
                      <a:pt x="188" y="80"/>
                    </a:cubicBezTo>
                    <a:cubicBezTo>
                      <a:pt x="184" y="85"/>
                      <a:pt x="188" y="88"/>
                      <a:pt x="188" y="88"/>
                    </a:cubicBezTo>
                    <a:cubicBezTo>
                      <a:pt x="192" y="91"/>
                      <a:pt x="188" y="92"/>
                      <a:pt x="188" y="92"/>
                    </a:cubicBezTo>
                    <a:cubicBezTo>
                      <a:pt x="182" y="93"/>
                      <a:pt x="188" y="99"/>
                      <a:pt x="188" y="99"/>
                    </a:cubicBezTo>
                  </a:path>
                </a:pathLst>
              </a:custGeom>
              <a:solidFill>
                <a:schemeClr val="accent6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94" name="Freeform 1173">
                <a:extLst>
                  <a:ext uri="{FF2B5EF4-FFF2-40B4-BE49-F238E27FC236}">
                    <a16:creationId xmlns:a16="http://schemas.microsoft.com/office/drawing/2014/main" id="{4EA9E87D-4AA9-4947-884C-401CB80936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5401" y="2857656"/>
                <a:ext cx="1193588" cy="988730"/>
              </a:xfrm>
              <a:custGeom>
                <a:avLst/>
                <a:gdLst>
                  <a:gd name="T0" fmla="*/ 1095375 w 169"/>
                  <a:gd name="T1" fmla="*/ 238125 h 140"/>
                  <a:gd name="T2" fmla="*/ 1087437 w 169"/>
                  <a:gd name="T3" fmla="*/ 309563 h 140"/>
                  <a:gd name="T4" fmla="*/ 1095375 w 169"/>
                  <a:gd name="T5" fmla="*/ 381000 h 140"/>
                  <a:gd name="T6" fmla="*/ 1174750 w 169"/>
                  <a:gd name="T7" fmla="*/ 412750 h 140"/>
                  <a:gd name="T8" fmla="*/ 1222375 w 169"/>
                  <a:gd name="T9" fmla="*/ 460375 h 140"/>
                  <a:gd name="T10" fmla="*/ 1285875 w 169"/>
                  <a:gd name="T11" fmla="*/ 515938 h 140"/>
                  <a:gd name="T12" fmla="*/ 1317625 w 169"/>
                  <a:gd name="T13" fmla="*/ 539750 h 140"/>
                  <a:gd name="T14" fmla="*/ 1309687 w 169"/>
                  <a:gd name="T15" fmla="*/ 619125 h 140"/>
                  <a:gd name="T16" fmla="*/ 1285875 w 169"/>
                  <a:gd name="T17" fmla="*/ 666750 h 140"/>
                  <a:gd name="T18" fmla="*/ 1277937 w 169"/>
                  <a:gd name="T19" fmla="*/ 722313 h 140"/>
                  <a:gd name="T20" fmla="*/ 1206500 w 169"/>
                  <a:gd name="T21" fmla="*/ 738188 h 140"/>
                  <a:gd name="T22" fmla="*/ 1150937 w 169"/>
                  <a:gd name="T23" fmla="*/ 825500 h 140"/>
                  <a:gd name="T24" fmla="*/ 1055687 w 169"/>
                  <a:gd name="T25" fmla="*/ 841375 h 140"/>
                  <a:gd name="T26" fmla="*/ 952500 w 169"/>
                  <a:gd name="T27" fmla="*/ 889000 h 140"/>
                  <a:gd name="T28" fmla="*/ 904875 w 169"/>
                  <a:gd name="T29" fmla="*/ 952500 h 140"/>
                  <a:gd name="T30" fmla="*/ 889000 w 169"/>
                  <a:gd name="T31" fmla="*/ 1008063 h 140"/>
                  <a:gd name="T32" fmla="*/ 881062 w 169"/>
                  <a:gd name="T33" fmla="*/ 1079500 h 140"/>
                  <a:gd name="T34" fmla="*/ 809625 w 169"/>
                  <a:gd name="T35" fmla="*/ 1071563 h 140"/>
                  <a:gd name="T36" fmla="*/ 738187 w 169"/>
                  <a:gd name="T37" fmla="*/ 1031875 h 140"/>
                  <a:gd name="T38" fmla="*/ 619125 w 169"/>
                  <a:gd name="T39" fmla="*/ 1008063 h 140"/>
                  <a:gd name="T40" fmla="*/ 563562 w 169"/>
                  <a:gd name="T41" fmla="*/ 1000125 h 140"/>
                  <a:gd name="T42" fmla="*/ 500062 w 169"/>
                  <a:gd name="T43" fmla="*/ 952500 h 140"/>
                  <a:gd name="T44" fmla="*/ 452437 w 169"/>
                  <a:gd name="T45" fmla="*/ 920750 h 140"/>
                  <a:gd name="T46" fmla="*/ 420687 w 169"/>
                  <a:gd name="T47" fmla="*/ 873125 h 140"/>
                  <a:gd name="T48" fmla="*/ 317500 w 169"/>
                  <a:gd name="T49" fmla="*/ 833438 h 140"/>
                  <a:gd name="T50" fmla="*/ 277812 w 169"/>
                  <a:gd name="T51" fmla="*/ 801688 h 140"/>
                  <a:gd name="T52" fmla="*/ 254000 w 169"/>
                  <a:gd name="T53" fmla="*/ 706438 h 140"/>
                  <a:gd name="T54" fmla="*/ 246062 w 169"/>
                  <a:gd name="T55" fmla="*/ 635000 h 140"/>
                  <a:gd name="T56" fmla="*/ 246062 w 169"/>
                  <a:gd name="T57" fmla="*/ 587375 h 140"/>
                  <a:gd name="T58" fmla="*/ 190500 w 169"/>
                  <a:gd name="T59" fmla="*/ 539750 h 140"/>
                  <a:gd name="T60" fmla="*/ 142875 w 169"/>
                  <a:gd name="T61" fmla="*/ 484188 h 140"/>
                  <a:gd name="T62" fmla="*/ 119062 w 169"/>
                  <a:gd name="T63" fmla="*/ 428625 h 140"/>
                  <a:gd name="T64" fmla="*/ 111125 w 169"/>
                  <a:gd name="T65" fmla="*/ 373063 h 140"/>
                  <a:gd name="T66" fmla="*/ 79375 w 169"/>
                  <a:gd name="T67" fmla="*/ 333375 h 140"/>
                  <a:gd name="T68" fmla="*/ 47625 w 169"/>
                  <a:gd name="T69" fmla="*/ 269875 h 140"/>
                  <a:gd name="T70" fmla="*/ 0 w 169"/>
                  <a:gd name="T71" fmla="*/ 214313 h 140"/>
                  <a:gd name="T72" fmla="*/ 7937 w 169"/>
                  <a:gd name="T73" fmla="*/ 158750 h 140"/>
                  <a:gd name="T74" fmla="*/ 71437 w 169"/>
                  <a:gd name="T75" fmla="*/ 127000 h 140"/>
                  <a:gd name="T76" fmla="*/ 150812 w 169"/>
                  <a:gd name="T77" fmla="*/ 127000 h 140"/>
                  <a:gd name="T78" fmla="*/ 254000 w 169"/>
                  <a:gd name="T79" fmla="*/ 127000 h 140"/>
                  <a:gd name="T80" fmla="*/ 317500 w 169"/>
                  <a:gd name="T81" fmla="*/ 87313 h 140"/>
                  <a:gd name="T82" fmla="*/ 365125 w 169"/>
                  <a:gd name="T83" fmla="*/ 31750 h 140"/>
                  <a:gd name="T84" fmla="*/ 420687 w 169"/>
                  <a:gd name="T85" fmla="*/ 31750 h 140"/>
                  <a:gd name="T86" fmla="*/ 492125 w 169"/>
                  <a:gd name="T87" fmla="*/ 39688 h 140"/>
                  <a:gd name="T88" fmla="*/ 603250 w 169"/>
                  <a:gd name="T89" fmla="*/ 55563 h 140"/>
                  <a:gd name="T90" fmla="*/ 666750 w 169"/>
                  <a:gd name="T91" fmla="*/ 39688 h 140"/>
                  <a:gd name="T92" fmla="*/ 714375 w 169"/>
                  <a:gd name="T93" fmla="*/ 39688 h 140"/>
                  <a:gd name="T94" fmla="*/ 769937 w 169"/>
                  <a:gd name="T95" fmla="*/ 39688 h 140"/>
                  <a:gd name="T96" fmla="*/ 825500 w 169"/>
                  <a:gd name="T97" fmla="*/ 7938 h 140"/>
                  <a:gd name="T98" fmla="*/ 857250 w 169"/>
                  <a:gd name="T99" fmla="*/ 103188 h 140"/>
                  <a:gd name="T100" fmla="*/ 889000 w 169"/>
                  <a:gd name="T101" fmla="*/ 174625 h 140"/>
                  <a:gd name="T102" fmla="*/ 904875 w 169"/>
                  <a:gd name="T103" fmla="*/ 198438 h 140"/>
                  <a:gd name="T104" fmla="*/ 920750 w 169"/>
                  <a:gd name="T105" fmla="*/ 230188 h 140"/>
                  <a:gd name="T106" fmla="*/ 944562 w 169"/>
                  <a:gd name="T107" fmla="*/ 261938 h 140"/>
                  <a:gd name="T108" fmla="*/ 1016000 w 169"/>
                  <a:gd name="T109" fmla="*/ 238125 h 140"/>
                  <a:gd name="T110" fmla="*/ 1095375 w 169"/>
                  <a:gd name="T111" fmla="*/ 238125 h 140"/>
                  <a:gd name="T112" fmla="*/ 1095375 w 169"/>
                  <a:gd name="T113" fmla="*/ 238125 h 140"/>
                  <a:gd name="T114" fmla="*/ 1095375 w 169"/>
                  <a:gd name="T115" fmla="*/ 238125 h 14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69"/>
                  <a:gd name="T175" fmla="*/ 0 h 140"/>
                  <a:gd name="T176" fmla="*/ 169 w 169"/>
                  <a:gd name="T177" fmla="*/ 140 h 14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69" h="140">
                    <a:moveTo>
                      <a:pt x="138" y="30"/>
                    </a:moveTo>
                    <a:cubicBezTo>
                      <a:pt x="139" y="36"/>
                      <a:pt x="137" y="39"/>
                      <a:pt x="137" y="39"/>
                    </a:cubicBezTo>
                    <a:cubicBezTo>
                      <a:pt x="132" y="46"/>
                      <a:pt x="138" y="48"/>
                      <a:pt x="138" y="48"/>
                    </a:cubicBezTo>
                    <a:cubicBezTo>
                      <a:pt x="140" y="50"/>
                      <a:pt x="144" y="47"/>
                      <a:pt x="148" y="52"/>
                    </a:cubicBezTo>
                    <a:cubicBezTo>
                      <a:pt x="156" y="52"/>
                      <a:pt x="154" y="58"/>
                      <a:pt x="154" y="58"/>
                    </a:cubicBezTo>
                    <a:cubicBezTo>
                      <a:pt x="156" y="67"/>
                      <a:pt x="162" y="65"/>
                      <a:pt x="162" y="65"/>
                    </a:cubicBezTo>
                    <a:cubicBezTo>
                      <a:pt x="166" y="62"/>
                      <a:pt x="166" y="68"/>
                      <a:pt x="166" y="68"/>
                    </a:cubicBezTo>
                    <a:cubicBezTo>
                      <a:pt x="169" y="79"/>
                      <a:pt x="165" y="78"/>
                      <a:pt x="165" y="78"/>
                    </a:cubicBezTo>
                    <a:cubicBezTo>
                      <a:pt x="159" y="78"/>
                      <a:pt x="162" y="84"/>
                      <a:pt x="162" y="84"/>
                    </a:cubicBezTo>
                    <a:cubicBezTo>
                      <a:pt x="166" y="86"/>
                      <a:pt x="161" y="91"/>
                      <a:pt x="161" y="91"/>
                    </a:cubicBezTo>
                    <a:cubicBezTo>
                      <a:pt x="158" y="95"/>
                      <a:pt x="152" y="93"/>
                      <a:pt x="152" y="93"/>
                    </a:cubicBezTo>
                    <a:cubicBezTo>
                      <a:pt x="139" y="89"/>
                      <a:pt x="145" y="104"/>
                      <a:pt x="145" y="104"/>
                    </a:cubicBezTo>
                    <a:cubicBezTo>
                      <a:pt x="141" y="106"/>
                      <a:pt x="136" y="103"/>
                      <a:pt x="133" y="106"/>
                    </a:cubicBezTo>
                    <a:cubicBezTo>
                      <a:pt x="131" y="108"/>
                      <a:pt x="126" y="106"/>
                      <a:pt x="120" y="112"/>
                    </a:cubicBezTo>
                    <a:cubicBezTo>
                      <a:pt x="115" y="112"/>
                      <a:pt x="114" y="120"/>
                      <a:pt x="114" y="120"/>
                    </a:cubicBezTo>
                    <a:cubicBezTo>
                      <a:pt x="108" y="126"/>
                      <a:pt x="112" y="127"/>
                      <a:pt x="112" y="127"/>
                    </a:cubicBezTo>
                    <a:cubicBezTo>
                      <a:pt x="114" y="133"/>
                      <a:pt x="111" y="136"/>
                      <a:pt x="111" y="136"/>
                    </a:cubicBezTo>
                    <a:cubicBezTo>
                      <a:pt x="111" y="136"/>
                      <a:pt x="110" y="140"/>
                      <a:pt x="102" y="135"/>
                    </a:cubicBezTo>
                    <a:cubicBezTo>
                      <a:pt x="102" y="135"/>
                      <a:pt x="96" y="132"/>
                      <a:pt x="93" y="130"/>
                    </a:cubicBezTo>
                    <a:cubicBezTo>
                      <a:pt x="93" y="130"/>
                      <a:pt x="91" y="124"/>
                      <a:pt x="78" y="127"/>
                    </a:cubicBezTo>
                    <a:cubicBezTo>
                      <a:pt x="78" y="127"/>
                      <a:pt x="74" y="128"/>
                      <a:pt x="71" y="126"/>
                    </a:cubicBezTo>
                    <a:cubicBezTo>
                      <a:pt x="68" y="124"/>
                      <a:pt x="65" y="129"/>
                      <a:pt x="63" y="120"/>
                    </a:cubicBezTo>
                    <a:cubicBezTo>
                      <a:pt x="63" y="120"/>
                      <a:pt x="64" y="116"/>
                      <a:pt x="57" y="116"/>
                    </a:cubicBezTo>
                    <a:cubicBezTo>
                      <a:pt x="57" y="116"/>
                      <a:pt x="56" y="113"/>
                      <a:pt x="53" y="110"/>
                    </a:cubicBezTo>
                    <a:cubicBezTo>
                      <a:pt x="53" y="110"/>
                      <a:pt x="50" y="106"/>
                      <a:pt x="40" y="105"/>
                    </a:cubicBezTo>
                    <a:cubicBezTo>
                      <a:pt x="40" y="105"/>
                      <a:pt x="39" y="102"/>
                      <a:pt x="35" y="101"/>
                    </a:cubicBezTo>
                    <a:cubicBezTo>
                      <a:pt x="35" y="101"/>
                      <a:pt x="36" y="94"/>
                      <a:pt x="32" y="89"/>
                    </a:cubicBezTo>
                    <a:cubicBezTo>
                      <a:pt x="32" y="89"/>
                      <a:pt x="27" y="84"/>
                      <a:pt x="31" y="80"/>
                    </a:cubicBezTo>
                    <a:cubicBezTo>
                      <a:pt x="31" y="80"/>
                      <a:pt x="37" y="79"/>
                      <a:pt x="31" y="74"/>
                    </a:cubicBezTo>
                    <a:cubicBezTo>
                      <a:pt x="31" y="74"/>
                      <a:pt x="32" y="70"/>
                      <a:pt x="24" y="68"/>
                    </a:cubicBezTo>
                    <a:cubicBezTo>
                      <a:pt x="24" y="68"/>
                      <a:pt x="24" y="63"/>
                      <a:pt x="18" y="61"/>
                    </a:cubicBezTo>
                    <a:cubicBezTo>
                      <a:pt x="18" y="61"/>
                      <a:pt x="10" y="55"/>
                      <a:pt x="15" y="54"/>
                    </a:cubicBezTo>
                    <a:cubicBezTo>
                      <a:pt x="15" y="54"/>
                      <a:pt x="17" y="49"/>
                      <a:pt x="14" y="47"/>
                    </a:cubicBezTo>
                    <a:cubicBezTo>
                      <a:pt x="14" y="47"/>
                      <a:pt x="14" y="42"/>
                      <a:pt x="10" y="42"/>
                    </a:cubicBezTo>
                    <a:cubicBezTo>
                      <a:pt x="10" y="42"/>
                      <a:pt x="6" y="43"/>
                      <a:pt x="6" y="34"/>
                    </a:cubicBezTo>
                    <a:cubicBezTo>
                      <a:pt x="6" y="34"/>
                      <a:pt x="0" y="33"/>
                      <a:pt x="0" y="27"/>
                    </a:cubicBezTo>
                    <a:cubicBezTo>
                      <a:pt x="0" y="27"/>
                      <a:pt x="2" y="25"/>
                      <a:pt x="1" y="20"/>
                    </a:cubicBezTo>
                    <a:cubicBezTo>
                      <a:pt x="1" y="20"/>
                      <a:pt x="6" y="22"/>
                      <a:pt x="9" y="16"/>
                    </a:cubicBezTo>
                    <a:cubicBezTo>
                      <a:pt x="9" y="16"/>
                      <a:pt x="14" y="12"/>
                      <a:pt x="19" y="16"/>
                    </a:cubicBezTo>
                    <a:cubicBezTo>
                      <a:pt x="19" y="16"/>
                      <a:pt x="23" y="20"/>
                      <a:pt x="32" y="16"/>
                    </a:cubicBezTo>
                    <a:cubicBezTo>
                      <a:pt x="32" y="16"/>
                      <a:pt x="37" y="17"/>
                      <a:pt x="40" y="11"/>
                    </a:cubicBezTo>
                    <a:cubicBezTo>
                      <a:pt x="40" y="11"/>
                      <a:pt x="46" y="7"/>
                      <a:pt x="46" y="4"/>
                    </a:cubicBezTo>
                    <a:cubicBezTo>
                      <a:pt x="52" y="7"/>
                      <a:pt x="53" y="4"/>
                      <a:pt x="53" y="4"/>
                    </a:cubicBezTo>
                    <a:cubicBezTo>
                      <a:pt x="56" y="1"/>
                      <a:pt x="62" y="5"/>
                      <a:pt x="62" y="5"/>
                    </a:cubicBezTo>
                    <a:cubicBezTo>
                      <a:pt x="63" y="7"/>
                      <a:pt x="74" y="5"/>
                      <a:pt x="76" y="7"/>
                    </a:cubicBezTo>
                    <a:cubicBezTo>
                      <a:pt x="84" y="8"/>
                      <a:pt x="84" y="5"/>
                      <a:pt x="84" y="5"/>
                    </a:cubicBezTo>
                    <a:cubicBezTo>
                      <a:pt x="87" y="0"/>
                      <a:pt x="90" y="5"/>
                      <a:pt x="90" y="5"/>
                    </a:cubicBezTo>
                    <a:cubicBezTo>
                      <a:pt x="95" y="9"/>
                      <a:pt x="97" y="5"/>
                      <a:pt x="97" y="5"/>
                    </a:cubicBezTo>
                    <a:cubicBezTo>
                      <a:pt x="97" y="1"/>
                      <a:pt x="104" y="1"/>
                      <a:pt x="104" y="1"/>
                    </a:cubicBezTo>
                    <a:cubicBezTo>
                      <a:pt x="104" y="11"/>
                      <a:pt x="108" y="13"/>
                      <a:pt x="108" y="13"/>
                    </a:cubicBezTo>
                    <a:cubicBezTo>
                      <a:pt x="111" y="16"/>
                      <a:pt x="112" y="22"/>
                      <a:pt x="112" y="22"/>
                    </a:cubicBezTo>
                    <a:cubicBezTo>
                      <a:pt x="114" y="21"/>
                      <a:pt x="114" y="25"/>
                      <a:pt x="114" y="25"/>
                    </a:cubicBezTo>
                    <a:cubicBezTo>
                      <a:pt x="120" y="27"/>
                      <a:pt x="116" y="29"/>
                      <a:pt x="116" y="29"/>
                    </a:cubicBezTo>
                    <a:cubicBezTo>
                      <a:pt x="114" y="33"/>
                      <a:pt x="119" y="33"/>
                      <a:pt x="119" y="33"/>
                    </a:cubicBezTo>
                    <a:cubicBezTo>
                      <a:pt x="125" y="34"/>
                      <a:pt x="128" y="30"/>
                      <a:pt x="128" y="30"/>
                    </a:cubicBezTo>
                    <a:cubicBezTo>
                      <a:pt x="133" y="27"/>
                      <a:pt x="138" y="30"/>
                      <a:pt x="138" y="30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95" name="Freeform 1174">
                <a:extLst>
                  <a:ext uri="{FF2B5EF4-FFF2-40B4-BE49-F238E27FC236}">
                    <a16:creationId xmlns:a16="http://schemas.microsoft.com/office/drawing/2014/main" id="{B37EB3D2-01F6-4A20-B139-37F69D8D3A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7671" y="2836470"/>
                <a:ext cx="1151213" cy="1101726"/>
              </a:xfrm>
              <a:custGeom>
                <a:avLst/>
                <a:gdLst>
                  <a:gd name="T0" fmla="*/ 341312 w 163"/>
                  <a:gd name="T1" fmla="*/ 111125 h 156"/>
                  <a:gd name="T2" fmla="*/ 261937 w 163"/>
                  <a:gd name="T3" fmla="*/ 150813 h 156"/>
                  <a:gd name="T4" fmla="*/ 174625 w 163"/>
                  <a:gd name="T5" fmla="*/ 198438 h 156"/>
                  <a:gd name="T6" fmla="*/ 111125 w 163"/>
                  <a:gd name="T7" fmla="*/ 230188 h 156"/>
                  <a:gd name="T8" fmla="*/ 47625 w 163"/>
                  <a:gd name="T9" fmla="*/ 254000 h 156"/>
                  <a:gd name="T10" fmla="*/ 39687 w 163"/>
                  <a:gd name="T11" fmla="*/ 333375 h 156"/>
                  <a:gd name="T12" fmla="*/ 47625 w 163"/>
                  <a:gd name="T13" fmla="*/ 404813 h 156"/>
                  <a:gd name="T14" fmla="*/ 127000 w 163"/>
                  <a:gd name="T15" fmla="*/ 436563 h 156"/>
                  <a:gd name="T16" fmla="*/ 174625 w 163"/>
                  <a:gd name="T17" fmla="*/ 484188 h 156"/>
                  <a:gd name="T18" fmla="*/ 238125 w 163"/>
                  <a:gd name="T19" fmla="*/ 539750 h 156"/>
                  <a:gd name="T20" fmla="*/ 269875 w 163"/>
                  <a:gd name="T21" fmla="*/ 563563 h 156"/>
                  <a:gd name="T22" fmla="*/ 261937 w 163"/>
                  <a:gd name="T23" fmla="*/ 642938 h 156"/>
                  <a:gd name="T24" fmla="*/ 238125 w 163"/>
                  <a:gd name="T25" fmla="*/ 690563 h 156"/>
                  <a:gd name="T26" fmla="*/ 230187 w 163"/>
                  <a:gd name="T27" fmla="*/ 746125 h 156"/>
                  <a:gd name="T28" fmla="*/ 158750 w 163"/>
                  <a:gd name="T29" fmla="*/ 762000 h 156"/>
                  <a:gd name="T30" fmla="*/ 103187 w 163"/>
                  <a:gd name="T31" fmla="*/ 849313 h 156"/>
                  <a:gd name="T32" fmla="*/ 214312 w 163"/>
                  <a:gd name="T33" fmla="*/ 889000 h 156"/>
                  <a:gd name="T34" fmla="*/ 341312 w 163"/>
                  <a:gd name="T35" fmla="*/ 960438 h 156"/>
                  <a:gd name="T36" fmla="*/ 444500 w 163"/>
                  <a:gd name="T37" fmla="*/ 960438 h 156"/>
                  <a:gd name="T38" fmla="*/ 531812 w 163"/>
                  <a:gd name="T39" fmla="*/ 1016000 h 156"/>
                  <a:gd name="T40" fmla="*/ 587375 w 163"/>
                  <a:gd name="T41" fmla="*/ 1079500 h 156"/>
                  <a:gd name="T42" fmla="*/ 619125 w 163"/>
                  <a:gd name="T43" fmla="*/ 1119188 h 156"/>
                  <a:gd name="T44" fmla="*/ 658812 w 163"/>
                  <a:gd name="T45" fmla="*/ 1166813 h 156"/>
                  <a:gd name="T46" fmla="*/ 698500 w 163"/>
                  <a:gd name="T47" fmla="*/ 1166813 h 156"/>
                  <a:gd name="T48" fmla="*/ 769937 w 163"/>
                  <a:gd name="T49" fmla="*/ 1135063 h 156"/>
                  <a:gd name="T50" fmla="*/ 825500 w 163"/>
                  <a:gd name="T51" fmla="*/ 1135063 h 156"/>
                  <a:gd name="T52" fmla="*/ 809625 w 163"/>
                  <a:gd name="T53" fmla="*/ 1055688 h 156"/>
                  <a:gd name="T54" fmla="*/ 857250 w 163"/>
                  <a:gd name="T55" fmla="*/ 1039813 h 156"/>
                  <a:gd name="T56" fmla="*/ 889000 w 163"/>
                  <a:gd name="T57" fmla="*/ 1016000 h 156"/>
                  <a:gd name="T58" fmla="*/ 936625 w 163"/>
                  <a:gd name="T59" fmla="*/ 1031875 h 156"/>
                  <a:gd name="T60" fmla="*/ 952500 w 163"/>
                  <a:gd name="T61" fmla="*/ 1000125 h 156"/>
                  <a:gd name="T62" fmla="*/ 992187 w 163"/>
                  <a:gd name="T63" fmla="*/ 1000125 h 156"/>
                  <a:gd name="T64" fmla="*/ 1023937 w 163"/>
                  <a:gd name="T65" fmla="*/ 944563 h 156"/>
                  <a:gd name="T66" fmla="*/ 1039812 w 163"/>
                  <a:gd name="T67" fmla="*/ 896938 h 156"/>
                  <a:gd name="T68" fmla="*/ 1103312 w 163"/>
                  <a:gd name="T69" fmla="*/ 817563 h 156"/>
                  <a:gd name="T70" fmla="*/ 1150937 w 163"/>
                  <a:gd name="T71" fmla="*/ 769938 h 156"/>
                  <a:gd name="T72" fmla="*/ 1119187 w 163"/>
                  <a:gd name="T73" fmla="*/ 754063 h 156"/>
                  <a:gd name="T74" fmla="*/ 1174750 w 163"/>
                  <a:gd name="T75" fmla="*/ 738188 h 156"/>
                  <a:gd name="T76" fmla="*/ 1246187 w 163"/>
                  <a:gd name="T77" fmla="*/ 730250 h 156"/>
                  <a:gd name="T78" fmla="*/ 1254125 w 163"/>
                  <a:gd name="T79" fmla="*/ 666750 h 156"/>
                  <a:gd name="T80" fmla="*/ 1254125 w 163"/>
                  <a:gd name="T81" fmla="*/ 563563 h 156"/>
                  <a:gd name="T82" fmla="*/ 1270000 w 163"/>
                  <a:gd name="T83" fmla="*/ 508000 h 156"/>
                  <a:gd name="T84" fmla="*/ 1277937 w 163"/>
                  <a:gd name="T85" fmla="*/ 452438 h 156"/>
                  <a:gd name="T86" fmla="*/ 1270000 w 163"/>
                  <a:gd name="T87" fmla="*/ 404813 h 156"/>
                  <a:gd name="T88" fmla="*/ 1293812 w 163"/>
                  <a:gd name="T89" fmla="*/ 341313 h 156"/>
                  <a:gd name="T90" fmla="*/ 1285875 w 163"/>
                  <a:gd name="T91" fmla="*/ 293688 h 156"/>
                  <a:gd name="T92" fmla="*/ 1262062 w 163"/>
                  <a:gd name="T93" fmla="*/ 269875 h 156"/>
                  <a:gd name="T94" fmla="*/ 1166812 w 163"/>
                  <a:gd name="T95" fmla="*/ 214313 h 156"/>
                  <a:gd name="T96" fmla="*/ 1103312 w 163"/>
                  <a:gd name="T97" fmla="*/ 134938 h 156"/>
                  <a:gd name="T98" fmla="*/ 1071562 w 163"/>
                  <a:gd name="T99" fmla="*/ 71438 h 156"/>
                  <a:gd name="T100" fmla="*/ 1039812 w 163"/>
                  <a:gd name="T101" fmla="*/ 23813 h 156"/>
                  <a:gd name="T102" fmla="*/ 984250 w 163"/>
                  <a:gd name="T103" fmla="*/ 7938 h 156"/>
                  <a:gd name="T104" fmla="*/ 873125 w 163"/>
                  <a:gd name="T105" fmla="*/ 71438 h 156"/>
                  <a:gd name="T106" fmla="*/ 769937 w 163"/>
                  <a:gd name="T107" fmla="*/ 111125 h 156"/>
                  <a:gd name="T108" fmla="*/ 738187 w 163"/>
                  <a:gd name="T109" fmla="*/ 150813 h 156"/>
                  <a:gd name="T110" fmla="*/ 682625 w 163"/>
                  <a:gd name="T111" fmla="*/ 150813 h 156"/>
                  <a:gd name="T112" fmla="*/ 619125 w 163"/>
                  <a:gd name="T113" fmla="*/ 127000 h 156"/>
                  <a:gd name="T114" fmla="*/ 555625 w 163"/>
                  <a:gd name="T115" fmla="*/ 95250 h 156"/>
                  <a:gd name="T116" fmla="*/ 476250 w 163"/>
                  <a:gd name="T117" fmla="*/ 47625 h 156"/>
                  <a:gd name="T118" fmla="*/ 373062 w 163"/>
                  <a:gd name="T119" fmla="*/ 79375 h 156"/>
                  <a:gd name="T120" fmla="*/ 341312 w 163"/>
                  <a:gd name="T121" fmla="*/ 111125 h 156"/>
                  <a:gd name="T122" fmla="*/ 341312 w 163"/>
                  <a:gd name="T123" fmla="*/ 111125 h 156"/>
                  <a:gd name="T124" fmla="*/ 341312 w 163"/>
                  <a:gd name="T125" fmla="*/ 111125 h 15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63"/>
                  <a:gd name="T190" fmla="*/ 0 h 156"/>
                  <a:gd name="T191" fmla="*/ 163 w 163"/>
                  <a:gd name="T192" fmla="*/ 156 h 15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63" h="156">
                    <a:moveTo>
                      <a:pt x="43" y="14"/>
                    </a:moveTo>
                    <a:cubicBezTo>
                      <a:pt x="43" y="20"/>
                      <a:pt x="35" y="16"/>
                      <a:pt x="33" y="19"/>
                    </a:cubicBezTo>
                    <a:cubicBezTo>
                      <a:pt x="32" y="16"/>
                      <a:pt x="23" y="19"/>
                      <a:pt x="22" y="25"/>
                    </a:cubicBezTo>
                    <a:cubicBezTo>
                      <a:pt x="22" y="25"/>
                      <a:pt x="16" y="24"/>
                      <a:pt x="14" y="29"/>
                    </a:cubicBezTo>
                    <a:cubicBezTo>
                      <a:pt x="14" y="29"/>
                      <a:pt x="9" y="28"/>
                      <a:pt x="6" y="32"/>
                    </a:cubicBezTo>
                    <a:cubicBezTo>
                      <a:pt x="7" y="38"/>
                      <a:pt x="5" y="42"/>
                      <a:pt x="5" y="42"/>
                    </a:cubicBezTo>
                    <a:cubicBezTo>
                      <a:pt x="0" y="49"/>
                      <a:pt x="6" y="51"/>
                      <a:pt x="6" y="51"/>
                    </a:cubicBezTo>
                    <a:cubicBezTo>
                      <a:pt x="8" y="53"/>
                      <a:pt x="12" y="50"/>
                      <a:pt x="16" y="55"/>
                    </a:cubicBezTo>
                    <a:cubicBezTo>
                      <a:pt x="24" y="55"/>
                      <a:pt x="22" y="61"/>
                      <a:pt x="22" y="61"/>
                    </a:cubicBezTo>
                    <a:cubicBezTo>
                      <a:pt x="24" y="70"/>
                      <a:pt x="30" y="68"/>
                      <a:pt x="30" y="68"/>
                    </a:cubicBezTo>
                    <a:cubicBezTo>
                      <a:pt x="34" y="65"/>
                      <a:pt x="34" y="71"/>
                      <a:pt x="34" y="71"/>
                    </a:cubicBezTo>
                    <a:cubicBezTo>
                      <a:pt x="37" y="82"/>
                      <a:pt x="33" y="81"/>
                      <a:pt x="33" y="81"/>
                    </a:cubicBezTo>
                    <a:cubicBezTo>
                      <a:pt x="27" y="81"/>
                      <a:pt x="30" y="87"/>
                      <a:pt x="30" y="87"/>
                    </a:cubicBezTo>
                    <a:cubicBezTo>
                      <a:pt x="34" y="89"/>
                      <a:pt x="29" y="94"/>
                      <a:pt x="29" y="94"/>
                    </a:cubicBezTo>
                    <a:cubicBezTo>
                      <a:pt x="26" y="98"/>
                      <a:pt x="20" y="96"/>
                      <a:pt x="20" y="96"/>
                    </a:cubicBezTo>
                    <a:cubicBezTo>
                      <a:pt x="7" y="92"/>
                      <a:pt x="13" y="107"/>
                      <a:pt x="13" y="107"/>
                    </a:cubicBezTo>
                    <a:cubicBezTo>
                      <a:pt x="14" y="109"/>
                      <a:pt x="23" y="105"/>
                      <a:pt x="27" y="112"/>
                    </a:cubicBezTo>
                    <a:cubicBezTo>
                      <a:pt x="35" y="118"/>
                      <a:pt x="38" y="122"/>
                      <a:pt x="43" y="121"/>
                    </a:cubicBezTo>
                    <a:cubicBezTo>
                      <a:pt x="49" y="122"/>
                      <a:pt x="56" y="121"/>
                      <a:pt x="56" y="121"/>
                    </a:cubicBezTo>
                    <a:cubicBezTo>
                      <a:pt x="67" y="114"/>
                      <a:pt x="67" y="128"/>
                      <a:pt x="67" y="128"/>
                    </a:cubicBezTo>
                    <a:cubicBezTo>
                      <a:pt x="76" y="132"/>
                      <a:pt x="74" y="136"/>
                      <a:pt x="74" y="136"/>
                    </a:cubicBezTo>
                    <a:cubicBezTo>
                      <a:pt x="75" y="140"/>
                      <a:pt x="78" y="141"/>
                      <a:pt x="78" y="141"/>
                    </a:cubicBezTo>
                    <a:cubicBezTo>
                      <a:pt x="84" y="143"/>
                      <a:pt x="83" y="147"/>
                      <a:pt x="83" y="147"/>
                    </a:cubicBezTo>
                    <a:cubicBezTo>
                      <a:pt x="83" y="156"/>
                      <a:pt x="88" y="147"/>
                      <a:pt x="88" y="147"/>
                    </a:cubicBezTo>
                    <a:cubicBezTo>
                      <a:pt x="91" y="139"/>
                      <a:pt x="97" y="143"/>
                      <a:pt x="97" y="143"/>
                    </a:cubicBezTo>
                    <a:cubicBezTo>
                      <a:pt x="98" y="147"/>
                      <a:pt x="104" y="143"/>
                      <a:pt x="104" y="143"/>
                    </a:cubicBezTo>
                    <a:cubicBezTo>
                      <a:pt x="105" y="135"/>
                      <a:pt x="102" y="137"/>
                      <a:pt x="102" y="133"/>
                    </a:cubicBezTo>
                    <a:cubicBezTo>
                      <a:pt x="102" y="133"/>
                      <a:pt x="101" y="128"/>
                      <a:pt x="108" y="131"/>
                    </a:cubicBezTo>
                    <a:cubicBezTo>
                      <a:pt x="110" y="132"/>
                      <a:pt x="110" y="128"/>
                      <a:pt x="112" y="128"/>
                    </a:cubicBezTo>
                    <a:cubicBezTo>
                      <a:pt x="112" y="128"/>
                      <a:pt x="114" y="130"/>
                      <a:pt x="118" y="130"/>
                    </a:cubicBezTo>
                    <a:cubicBezTo>
                      <a:pt x="118" y="130"/>
                      <a:pt x="116" y="128"/>
                      <a:pt x="120" y="126"/>
                    </a:cubicBezTo>
                    <a:cubicBezTo>
                      <a:pt x="120" y="126"/>
                      <a:pt x="123" y="123"/>
                      <a:pt x="125" y="126"/>
                    </a:cubicBezTo>
                    <a:cubicBezTo>
                      <a:pt x="125" y="126"/>
                      <a:pt x="123" y="122"/>
                      <a:pt x="129" y="119"/>
                    </a:cubicBezTo>
                    <a:cubicBezTo>
                      <a:pt x="129" y="119"/>
                      <a:pt x="134" y="117"/>
                      <a:pt x="131" y="113"/>
                    </a:cubicBezTo>
                    <a:cubicBezTo>
                      <a:pt x="131" y="113"/>
                      <a:pt x="131" y="109"/>
                      <a:pt x="139" y="103"/>
                    </a:cubicBezTo>
                    <a:cubicBezTo>
                      <a:pt x="139" y="103"/>
                      <a:pt x="145" y="101"/>
                      <a:pt x="145" y="97"/>
                    </a:cubicBezTo>
                    <a:cubicBezTo>
                      <a:pt x="145" y="94"/>
                      <a:pt x="140" y="98"/>
                      <a:pt x="141" y="95"/>
                    </a:cubicBezTo>
                    <a:cubicBezTo>
                      <a:pt x="141" y="95"/>
                      <a:pt x="143" y="89"/>
                      <a:pt x="148" y="93"/>
                    </a:cubicBezTo>
                    <a:cubicBezTo>
                      <a:pt x="148" y="93"/>
                      <a:pt x="154" y="94"/>
                      <a:pt x="157" y="92"/>
                    </a:cubicBezTo>
                    <a:cubicBezTo>
                      <a:pt x="157" y="92"/>
                      <a:pt x="162" y="85"/>
                      <a:pt x="158" y="84"/>
                    </a:cubicBezTo>
                    <a:cubicBezTo>
                      <a:pt x="158" y="84"/>
                      <a:pt x="156" y="81"/>
                      <a:pt x="158" y="71"/>
                    </a:cubicBezTo>
                    <a:cubicBezTo>
                      <a:pt x="158" y="71"/>
                      <a:pt x="162" y="69"/>
                      <a:pt x="160" y="64"/>
                    </a:cubicBezTo>
                    <a:cubicBezTo>
                      <a:pt x="157" y="60"/>
                      <a:pt x="163" y="59"/>
                      <a:pt x="161" y="57"/>
                    </a:cubicBezTo>
                    <a:cubicBezTo>
                      <a:pt x="161" y="57"/>
                      <a:pt x="158" y="54"/>
                      <a:pt x="160" y="51"/>
                    </a:cubicBezTo>
                    <a:cubicBezTo>
                      <a:pt x="162" y="50"/>
                      <a:pt x="159" y="46"/>
                      <a:pt x="163" y="43"/>
                    </a:cubicBezTo>
                    <a:cubicBezTo>
                      <a:pt x="163" y="43"/>
                      <a:pt x="159" y="40"/>
                      <a:pt x="162" y="37"/>
                    </a:cubicBezTo>
                    <a:cubicBezTo>
                      <a:pt x="160" y="36"/>
                      <a:pt x="159" y="34"/>
                      <a:pt x="159" y="34"/>
                    </a:cubicBezTo>
                    <a:cubicBezTo>
                      <a:pt x="154" y="26"/>
                      <a:pt x="147" y="27"/>
                      <a:pt x="147" y="27"/>
                    </a:cubicBezTo>
                    <a:cubicBezTo>
                      <a:pt x="143" y="19"/>
                      <a:pt x="139" y="17"/>
                      <a:pt x="139" y="17"/>
                    </a:cubicBezTo>
                    <a:cubicBezTo>
                      <a:pt x="140" y="7"/>
                      <a:pt x="135" y="9"/>
                      <a:pt x="135" y="9"/>
                    </a:cubicBezTo>
                    <a:cubicBezTo>
                      <a:pt x="130" y="7"/>
                      <a:pt x="131" y="3"/>
                      <a:pt x="131" y="3"/>
                    </a:cubicBezTo>
                    <a:cubicBezTo>
                      <a:pt x="130" y="0"/>
                      <a:pt x="124" y="1"/>
                      <a:pt x="124" y="1"/>
                    </a:cubicBezTo>
                    <a:cubicBezTo>
                      <a:pt x="115" y="11"/>
                      <a:pt x="110" y="9"/>
                      <a:pt x="110" y="9"/>
                    </a:cubicBezTo>
                    <a:cubicBezTo>
                      <a:pt x="102" y="8"/>
                      <a:pt x="97" y="14"/>
                      <a:pt x="97" y="14"/>
                    </a:cubicBezTo>
                    <a:cubicBezTo>
                      <a:pt x="92" y="16"/>
                      <a:pt x="93" y="19"/>
                      <a:pt x="93" y="19"/>
                    </a:cubicBezTo>
                    <a:cubicBezTo>
                      <a:pt x="88" y="24"/>
                      <a:pt x="86" y="19"/>
                      <a:pt x="86" y="19"/>
                    </a:cubicBezTo>
                    <a:cubicBezTo>
                      <a:pt x="81" y="10"/>
                      <a:pt x="78" y="16"/>
                      <a:pt x="78" y="16"/>
                    </a:cubicBezTo>
                    <a:cubicBezTo>
                      <a:pt x="73" y="19"/>
                      <a:pt x="70" y="12"/>
                      <a:pt x="70" y="12"/>
                    </a:cubicBezTo>
                    <a:cubicBezTo>
                      <a:pt x="67" y="4"/>
                      <a:pt x="60" y="6"/>
                      <a:pt x="60" y="6"/>
                    </a:cubicBezTo>
                    <a:cubicBezTo>
                      <a:pt x="50" y="5"/>
                      <a:pt x="47" y="10"/>
                      <a:pt x="47" y="10"/>
                    </a:cubicBezTo>
                    <a:cubicBezTo>
                      <a:pt x="46" y="13"/>
                      <a:pt x="45" y="14"/>
                      <a:pt x="43" y="14"/>
                    </a:cubicBezTo>
                  </a:path>
                </a:pathLst>
              </a:custGeom>
              <a:solidFill>
                <a:schemeClr val="accent5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96" name="Freeform 1175">
                <a:extLst>
                  <a:ext uri="{FF2B5EF4-FFF2-40B4-BE49-F238E27FC236}">
                    <a16:creationId xmlns:a16="http://schemas.microsoft.com/office/drawing/2014/main" id="{991A9A81-6DF4-42B1-8CAC-A3DB01F5F9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3782" y="1847740"/>
                <a:ext cx="967583" cy="1250035"/>
              </a:xfrm>
              <a:custGeom>
                <a:avLst/>
                <a:gdLst>
                  <a:gd name="T0" fmla="*/ 150812 w 137"/>
                  <a:gd name="T1" fmla="*/ 103187 h 177"/>
                  <a:gd name="T2" fmla="*/ 190500 w 137"/>
                  <a:gd name="T3" fmla="*/ 230187 h 177"/>
                  <a:gd name="T4" fmla="*/ 150812 w 137"/>
                  <a:gd name="T5" fmla="*/ 293687 h 177"/>
                  <a:gd name="T6" fmla="*/ 63500 w 137"/>
                  <a:gd name="T7" fmla="*/ 373062 h 177"/>
                  <a:gd name="T8" fmla="*/ 79375 w 137"/>
                  <a:gd name="T9" fmla="*/ 531812 h 177"/>
                  <a:gd name="T10" fmla="*/ 39687 w 137"/>
                  <a:gd name="T11" fmla="*/ 658812 h 177"/>
                  <a:gd name="T12" fmla="*/ 15875 w 137"/>
                  <a:gd name="T13" fmla="*/ 801687 h 177"/>
                  <a:gd name="T14" fmla="*/ 71437 w 137"/>
                  <a:gd name="T15" fmla="*/ 865187 h 177"/>
                  <a:gd name="T16" fmla="*/ 111125 w 137"/>
                  <a:gd name="T17" fmla="*/ 912812 h 177"/>
                  <a:gd name="T18" fmla="*/ 87312 w 137"/>
                  <a:gd name="T19" fmla="*/ 1063625 h 177"/>
                  <a:gd name="T20" fmla="*/ 119062 w 137"/>
                  <a:gd name="T21" fmla="*/ 1166812 h 177"/>
                  <a:gd name="T22" fmla="*/ 301625 w 137"/>
                  <a:gd name="T23" fmla="*/ 1190625 h 177"/>
                  <a:gd name="T24" fmla="*/ 412750 w 137"/>
                  <a:gd name="T25" fmla="*/ 1174750 h 177"/>
                  <a:gd name="T26" fmla="*/ 523875 w 137"/>
                  <a:gd name="T27" fmla="*/ 1143000 h 177"/>
                  <a:gd name="T28" fmla="*/ 587375 w 137"/>
                  <a:gd name="T29" fmla="*/ 1309687 h 177"/>
                  <a:gd name="T30" fmla="*/ 619125 w 137"/>
                  <a:gd name="T31" fmla="*/ 1365250 h 177"/>
                  <a:gd name="T32" fmla="*/ 714375 w 137"/>
                  <a:gd name="T33" fmla="*/ 1373187 h 177"/>
                  <a:gd name="T34" fmla="*/ 857250 w 137"/>
                  <a:gd name="T35" fmla="*/ 1341437 h 177"/>
                  <a:gd name="T36" fmla="*/ 1008062 w 137"/>
                  <a:gd name="T37" fmla="*/ 1262062 h 177"/>
                  <a:gd name="T38" fmla="*/ 1055687 w 137"/>
                  <a:gd name="T39" fmla="*/ 1206500 h 177"/>
                  <a:gd name="T40" fmla="*/ 984250 w 137"/>
                  <a:gd name="T41" fmla="*/ 1079500 h 177"/>
                  <a:gd name="T42" fmla="*/ 968375 w 137"/>
                  <a:gd name="T43" fmla="*/ 944562 h 177"/>
                  <a:gd name="T44" fmla="*/ 928687 w 137"/>
                  <a:gd name="T45" fmla="*/ 825500 h 177"/>
                  <a:gd name="T46" fmla="*/ 857250 w 137"/>
                  <a:gd name="T47" fmla="*/ 762000 h 177"/>
                  <a:gd name="T48" fmla="*/ 666750 w 137"/>
                  <a:gd name="T49" fmla="*/ 730250 h 177"/>
                  <a:gd name="T50" fmla="*/ 555625 w 137"/>
                  <a:gd name="T51" fmla="*/ 706437 h 177"/>
                  <a:gd name="T52" fmla="*/ 508000 w 137"/>
                  <a:gd name="T53" fmla="*/ 627062 h 177"/>
                  <a:gd name="T54" fmla="*/ 468312 w 137"/>
                  <a:gd name="T55" fmla="*/ 484187 h 177"/>
                  <a:gd name="T56" fmla="*/ 563562 w 137"/>
                  <a:gd name="T57" fmla="*/ 381000 h 177"/>
                  <a:gd name="T58" fmla="*/ 428625 w 137"/>
                  <a:gd name="T59" fmla="*/ 222250 h 177"/>
                  <a:gd name="T60" fmla="*/ 341312 w 137"/>
                  <a:gd name="T61" fmla="*/ 63500 h 177"/>
                  <a:gd name="T62" fmla="*/ 222250 w 137"/>
                  <a:gd name="T63" fmla="*/ 87312 h 177"/>
                  <a:gd name="T64" fmla="*/ 182562 w 137"/>
                  <a:gd name="T65" fmla="*/ 39687 h 17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37"/>
                  <a:gd name="T100" fmla="*/ 0 h 177"/>
                  <a:gd name="T101" fmla="*/ 137 w 137"/>
                  <a:gd name="T102" fmla="*/ 177 h 17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37" h="177">
                    <a:moveTo>
                      <a:pt x="23" y="5"/>
                    </a:moveTo>
                    <a:cubicBezTo>
                      <a:pt x="21" y="8"/>
                      <a:pt x="19" y="13"/>
                      <a:pt x="19" y="13"/>
                    </a:cubicBezTo>
                    <a:cubicBezTo>
                      <a:pt x="15" y="23"/>
                      <a:pt x="19" y="24"/>
                      <a:pt x="19" y="24"/>
                    </a:cubicBezTo>
                    <a:cubicBezTo>
                      <a:pt x="24" y="25"/>
                      <a:pt x="24" y="29"/>
                      <a:pt x="24" y="29"/>
                    </a:cubicBezTo>
                    <a:cubicBezTo>
                      <a:pt x="24" y="31"/>
                      <a:pt x="19" y="28"/>
                      <a:pt x="20" y="33"/>
                    </a:cubicBezTo>
                    <a:cubicBezTo>
                      <a:pt x="18" y="35"/>
                      <a:pt x="19" y="37"/>
                      <a:pt x="19" y="37"/>
                    </a:cubicBezTo>
                    <a:cubicBezTo>
                      <a:pt x="20" y="41"/>
                      <a:pt x="14" y="40"/>
                      <a:pt x="14" y="40"/>
                    </a:cubicBezTo>
                    <a:cubicBezTo>
                      <a:pt x="9" y="41"/>
                      <a:pt x="8" y="47"/>
                      <a:pt x="8" y="47"/>
                    </a:cubicBezTo>
                    <a:cubicBezTo>
                      <a:pt x="2" y="51"/>
                      <a:pt x="9" y="59"/>
                      <a:pt x="9" y="59"/>
                    </a:cubicBezTo>
                    <a:cubicBezTo>
                      <a:pt x="11" y="59"/>
                      <a:pt x="10" y="67"/>
                      <a:pt x="10" y="67"/>
                    </a:cubicBezTo>
                    <a:cubicBezTo>
                      <a:pt x="13" y="72"/>
                      <a:pt x="8" y="70"/>
                      <a:pt x="8" y="77"/>
                    </a:cubicBezTo>
                    <a:cubicBezTo>
                      <a:pt x="10" y="84"/>
                      <a:pt x="5" y="83"/>
                      <a:pt x="5" y="83"/>
                    </a:cubicBezTo>
                    <a:cubicBezTo>
                      <a:pt x="7" y="90"/>
                      <a:pt x="6" y="95"/>
                      <a:pt x="6" y="95"/>
                    </a:cubicBezTo>
                    <a:cubicBezTo>
                      <a:pt x="6" y="97"/>
                      <a:pt x="1" y="95"/>
                      <a:pt x="2" y="101"/>
                    </a:cubicBezTo>
                    <a:cubicBezTo>
                      <a:pt x="0" y="105"/>
                      <a:pt x="5" y="106"/>
                      <a:pt x="5" y="106"/>
                    </a:cubicBezTo>
                    <a:cubicBezTo>
                      <a:pt x="7" y="105"/>
                      <a:pt x="6" y="110"/>
                      <a:pt x="9" y="109"/>
                    </a:cubicBezTo>
                    <a:cubicBezTo>
                      <a:pt x="11" y="109"/>
                      <a:pt x="10" y="106"/>
                      <a:pt x="14" y="107"/>
                    </a:cubicBezTo>
                    <a:cubicBezTo>
                      <a:pt x="9" y="112"/>
                      <a:pt x="14" y="115"/>
                      <a:pt x="14" y="115"/>
                    </a:cubicBezTo>
                    <a:cubicBezTo>
                      <a:pt x="13" y="119"/>
                      <a:pt x="9" y="120"/>
                      <a:pt x="10" y="124"/>
                    </a:cubicBezTo>
                    <a:cubicBezTo>
                      <a:pt x="9" y="127"/>
                      <a:pt x="14" y="130"/>
                      <a:pt x="11" y="134"/>
                    </a:cubicBezTo>
                    <a:cubicBezTo>
                      <a:pt x="11" y="142"/>
                      <a:pt x="8" y="147"/>
                      <a:pt x="8" y="147"/>
                    </a:cubicBezTo>
                    <a:cubicBezTo>
                      <a:pt x="14" y="150"/>
                      <a:pt x="15" y="147"/>
                      <a:pt x="15" y="147"/>
                    </a:cubicBezTo>
                    <a:cubicBezTo>
                      <a:pt x="18" y="144"/>
                      <a:pt x="24" y="148"/>
                      <a:pt x="24" y="148"/>
                    </a:cubicBezTo>
                    <a:cubicBezTo>
                      <a:pt x="25" y="150"/>
                      <a:pt x="36" y="148"/>
                      <a:pt x="38" y="150"/>
                    </a:cubicBezTo>
                    <a:cubicBezTo>
                      <a:pt x="46" y="151"/>
                      <a:pt x="46" y="148"/>
                      <a:pt x="46" y="148"/>
                    </a:cubicBezTo>
                    <a:cubicBezTo>
                      <a:pt x="49" y="143"/>
                      <a:pt x="52" y="148"/>
                      <a:pt x="52" y="148"/>
                    </a:cubicBezTo>
                    <a:cubicBezTo>
                      <a:pt x="57" y="152"/>
                      <a:pt x="59" y="148"/>
                      <a:pt x="59" y="148"/>
                    </a:cubicBezTo>
                    <a:cubicBezTo>
                      <a:pt x="59" y="144"/>
                      <a:pt x="66" y="144"/>
                      <a:pt x="66" y="144"/>
                    </a:cubicBezTo>
                    <a:cubicBezTo>
                      <a:pt x="66" y="154"/>
                      <a:pt x="70" y="156"/>
                      <a:pt x="70" y="156"/>
                    </a:cubicBezTo>
                    <a:cubicBezTo>
                      <a:pt x="73" y="159"/>
                      <a:pt x="74" y="165"/>
                      <a:pt x="74" y="165"/>
                    </a:cubicBezTo>
                    <a:cubicBezTo>
                      <a:pt x="76" y="164"/>
                      <a:pt x="76" y="168"/>
                      <a:pt x="76" y="168"/>
                    </a:cubicBezTo>
                    <a:cubicBezTo>
                      <a:pt x="82" y="170"/>
                      <a:pt x="78" y="172"/>
                      <a:pt x="78" y="172"/>
                    </a:cubicBezTo>
                    <a:cubicBezTo>
                      <a:pt x="76" y="176"/>
                      <a:pt x="81" y="176"/>
                      <a:pt x="81" y="176"/>
                    </a:cubicBezTo>
                    <a:cubicBezTo>
                      <a:pt x="87" y="177"/>
                      <a:pt x="90" y="173"/>
                      <a:pt x="90" y="173"/>
                    </a:cubicBezTo>
                    <a:cubicBezTo>
                      <a:pt x="95" y="170"/>
                      <a:pt x="100" y="173"/>
                      <a:pt x="100" y="173"/>
                    </a:cubicBezTo>
                    <a:cubicBezTo>
                      <a:pt x="103" y="169"/>
                      <a:pt x="108" y="169"/>
                      <a:pt x="108" y="169"/>
                    </a:cubicBezTo>
                    <a:cubicBezTo>
                      <a:pt x="110" y="164"/>
                      <a:pt x="116" y="165"/>
                      <a:pt x="116" y="165"/>
                    </a:cubicBezTo>
                    <a:cubicBezTo>
                      <a:pt x="117" y="159"/>
                      <a:pt x="126" y="156"/>
                      <a:pt x="127" y="159"/>
                    </a:cubicBezTo>
                    <a:cubicBezTo>
                      <a:pt x="129" y="156"/>
                      <a:pt x="137" y="160"/>
                      <a:pt x="137" y="154"/>
                    </a:cubicBezTo>
                    <a:cubicBezTo>
                      <a:pt x="135" y="154"/>
                      <a:pt x="133" y="152"/>
                      <a:pt x="133" y="152"/>
                    </a:cubicBezTo>
                    <a:cubicBezTo>
                      <a:pt x="132" y="144"/>
                      <a:pt x="129" y="145"/>
                      <a:pt x="129" y="145"/>
                    </a:cubicBezTo>
                    <a:cubicBezTo>
                      <a:pt x="123" y="144"/>
                      <a:pt x="124" y="136"/>
                      <a:pt x="124" y="136"/>
                    </a:cubicBezTo>
                    <a:cubicBezTo>
                      <a:pt x="119" y="131"/>
                      <a:pt x="126" y="133"/>
                      <a:pt x="126" y="126"/>
                    </a:cubicBezTo>
                    <a:cubicBezTo>
                      <a:pt x="126" y="122"/>
                      <a:pt x="122" y="121"/>
                      <a:pt x="122" y="119"/>
                    </a:cubicBezTo>
                    <a:cubicBezTo>
                      <a:pt x="119" y="116"/>
                      <a:pt x="119" y="111"/>
                      <a:pt x="119" y="111"/>
                    </a:cubicBezTo>
                    <a:cubicBezTo>
                      <a:pt x="114" y="107"/>
                      <a:pt x="117" y="104"/>
                      <a:pt x="117" y="104"/>
                    </a:cubicBezTo>
                    <a:cubicBezTo>
                      <a:pt x="121" y="101"/>
                      <a:pt x="114" y="102"/>
                      <a:pt x="114" y="102"/>
                    </a:cubicBezTo>
                    <a:cubicBezTo>
                      <a:pt x="109" y="104"/>
                      <a:pt x="108" y="96"/>
                      <a:pt x="108" y="96"/>
                    </a:cubicBezTo>
                    <a:cubicBezTo>
                      <a:pt x="108" y="86"/>
                      <a:pt x="98" y="90"/>
                      <a:pt x="98" y="90"/>
                    </a:cubicBezTo>
                    <a:cubicBezTo>
                      <a:pt x="91" y="95"/>
                      <a:pt x="84" y="92"/>
                      <a:pt x="84" y="92"/>
                    </a:cubicBezTo>
                    <a:cubicBezTo>
                      <a:pt x="82" y="87"/>
                      <a:pt x="76" y="89"/>
                      <a:pt x="76" y="89"/>
                    </a:cubicBezTo>
                    <a:cubicBezTo>
                      <a:pt x="73" y="85"/>
                      <a:pt x="70" y="89"/>
                      <a:pt x="70" y="89"/>
                    </a:cubicBezTo>
                    <a:cubicBezTo>
                      <a:pt x="59" y="91"/>
                      <a:pt x="65" y="86"/>
                      <a:pt x="65" y="86"/>
                    </a:cubicBezTo>
                    <a:cubicBezTo>
                      <a:pt x="70" y="79"/>
                      <a:pt x="64" y="79"/>
                      <a:pt x="64" y="79"/>
                    </a:cubicBezTo>
                    <a:cubicBezTo>
                      <a:pt x="61" y="80"/>
                      <a:pt x="63" y="71"/>
                      <a:pt x="63" y="71"/>
                    </a:cubicBezTo>
                    <a:cubicBezTo>
                      <a:pt x="63" y="65"/>
                      <a:pt x="59" y="61"/>
                      <a:pt x="59" y="61"/>
                    </a:cubicBezTo>
                    <a:cubicBezTo>
                      <a:pt x="53" y="56"/>
                      <a:pt x="64" y="54"/>
                      <a:pt x="64" y="54"/>
                    </a:cubicBezTo>
                    <a:cubicBezTo>
                      <a:pt x="72" y="54"/>
                      <a:pt x="71" y="48"/>
                      <a:pt x="71" y="48"/>
                    </a:cubicBezTo>
                    <a:cubicBezTo>
                      <a:pt x="72" y="44"/>
                      <a:pt x="63" y="40"/>
                      <a:pt x="63" y="40"/>
                    </a:cubicBezTo>
                    <a:cubicBezTo>
                      <a:pt x="55" y="35"/>
                      <a:pt x="54" y="28"/>
                      <a:pt x="54" y="28"/>
                    </a:cubicBezTo>
                    <a:cubicBezTo>
                      <a:pt x="50" y="23"/>
                      <a:pt x="59" y="21"/>
                      <a:pt x="51" y="16"/>
                    </a:cubicBezTo>
                    <a:cubicBezTo>
                      <a:pt x="46" y="16"/>
                      <a:pt x="43" y="8"/>
                      <a:pt x="43" y="8"/>
                    </a:cubicBezTo>
                    <a:cubicBezTo>
                      <a:pt x="39" y="0"/>
                      <a:pt x="36" y="5"/>
                      <a:pt x="36" y="5"/>
                    </a:cubicBezTo>
                    <a:cubicBezTo>
                      <a:pt x="31" y="5"/>
                      <a:pt x="28" y="11"/>
                      <a:pt x="28" y="11"/>
                    </a:cubicBezTo>
                    <a:cubicBezTo>
                      <a:pt x="25" y="12"/>
                      <a:pt x="29" y="4"/>
                      <a:pt x="23" y="5"/>
                    </a:cubicBezTo>
                  </a:path>
                </a:pathLst>
              </a:custGeom>
              <a:solidFill>
                <a:schemeClr val="accent5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97" name="Freeform 1176">
                <a:extLst>
                  <a:ext uri="{FF2B5EF4-FFF2-40B4-BE49-F238E27FC236}">
                    <a16:creationId xmlns:a16="http://schemas.microsoft.com/office/drawing/2014/main" id="{081DA24B-B3DE-45C4-9DCA-6D801D05F4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4513" y="1868927"/>
                <a:ext cx="988771" cy="1144101"/>
              </a:xfrm>
              <a:custGeom>
                <a:avLst/>
                <a:gdLst>
                  <a:gd name="T0" fmla="*/ 627063 w 140"/>
                  <a:gd name="T1" fmla="*/ 1262063 h 162"/>
                  <a:gd name="T2" fmla="*/ 587375 w 140"/>
                  <a:gd name="T3" fmla="*/ 1222375 h 162"/>
                  <a:gd name="T4" fmla="*/ 595313 w 140"/>
                  <a:gd name="T5" fmla="*/ 1150938 h 162"/>
                  <a:gd name="T6" fmla="*/ 539750 w 140"/>
                  <a:gd name="T7" fmla="*/ 1127125 h 162"/>
                  <a:gd name="T8" fmla="*/ 492125 w 140"/>
                  <a:gd name="T9" fmla="*/ 1127125 h 162"/>
                  <a:gd name="T10" fmla="*/ 444500 w 140"/>
                  <a:gd name="T11" fmla="*/ 1158875 h 162"/>
                  <a:gd name="T12" fmla="*/ 293688 w 140"/>
                  <a:gd name="T13" fmla="*/ 1150938 h 162"/>
                  <a:gd name="T14" fmla="*/ 261938 w 140"/>
                  <a:gd name="T15" fmla="*/ 1095375 h 162"/>
                  <a:gd name="T16" fmla="*/ 246063 w 140"/>
                  <a:gd name="T17" fmla="*/ 1047750 h 162"/>
                  <a:gd name="T18" fmla="*/ 174625 w 140"/>
                  <a:gd name="T19" fmla="*/ 1016000 h 162"/>
                  <a:gd name="T20" fmla="*/ 103188 w 140"/>
                  <a:gd name="T21" fmla="*/ 992188 h 162"/>
                  <a:gd name="T22" fmla="*/ 87313 w 140"/>
                  <a:gd name="T23" fmla="*/ 944563 h 162"/>
                  <a:gd name="T24" fmla="*/ 55563 w 140"/>
                  <a:gd name="T25" fmla="*/ 904875 h 162"/>
                  <a:gd name="T26" fmla="*/ 15875 w 140"/>
                  <a:gd name="T27" fmla="*/ 873125 h 162"/>
                  <a:gd name="T28" fmla="*/ 15875 w 140"/>
                  <a:gd name="T29" fmla="*/ 873125 h 162"/>
                  <a:gd name="T30" fmla="*/ 23813 w 140"/>
                  <a:gd name="T31" fmla="*/ 801688 h 162"/>
                  <a:gd name="T32" fmla="*/ 23813 w 140"/>
                  <a:gd name="T33" fmla="*/ 698500 h 162"/>
                  <a:gd name="T34" fmla="*/ 23813 w 140"/>
                  <a:gd name="T35" fmla="*/ 698500 h 162"/>
                  <a:gd name="T36" fmla="*/ 47625 w 140"/>
                  <a:gd name="T37" fmla="*/ 674688 h 162"/>
                  <a:gd name="T38" fmla="*/ 39688 w 140"/>
                  <a:gd name="T39" fmla="*/ 547688 h 162"/>
                  <a:gd name="T40" fmla="*/ 47625 w 140"/>
                  <a:gd name="T41" fmla="*/ 436563 h 162"/>
                  <a:gd name="T42" fmla="*/ 95250 w 140"/>
                  <a:gd name="T43" fmla="*/ 325438 h 162"/>
                  <a:gd name="T44" fmla="*/ 150813 w 140"/>
                  <a:gd name="T45" fmla="*/ 277813 h 162"/>
                  <a:gd name="T46" fmla="*/ 174625 w 140"/>
                  <a:gd name="T47" fmla="*/ 222250 h 162"/>
                  <a:gd name="T48" fmla="*/ 261938 w 140"/>
                  <a:gd name="T49" fmla="*/ 206375 h 162"/>
                  <a:gd name="T50" fmla="*/ 309563 w 140"/>
                  <a:gd name="T51" fmla="*/ 198438 h 162"/>
                  <a:gd name="T52" fmla="*/ 444500 w 140"/>
                  <a:gd name="T53" fmla="*/ 190500 h 162"/>
                  <a:gd name="T54" fmla="*/ 539750 w 140"/>
                  <a:gd name="T55" fmla="*/ 206375 h 162"/>
                  <a:gd name="T56" fmla="*/ 595313 w 140"/>
                  <a:gd name="T57" fmla="*/ 222250 h 162"/>
                  <a:gd name="T58" fmla="*/ 682625 w 140"/>
                  <a:gd name="T59" fmla="*/ 174625 h 162"/>
                  <a:gd name="T60" fmla="*/ 706438 w 140"/>
                  <a:gd name="T61" fmla="*/ 87313 h 162"/>
                  <a:gd name="T62" fmla="*/ 777875 w 140"/>
                  <a:gd name="T63" fmla="*/ 55563 h 162"/>
                  <a:gd name="T64" fmla="*/ 865188 w 140"/>
                  <a:gd name="T65" fmla="*/ 87313 h 162"/>
                  <a:gd name="T66" fmla="*/ 992188 w 140"/>
                  <a:gd name="T67" fmla="*/ 31750 h 162"/>
                  <a:gd name="T68" fmla="*/ 1103313 w 140"/>
                  <a:gd name="T69" fmla="*/ 15875 h 162"/>
                  <a:gd name="T70" fmla="*/ 1071563 w 140"/>
                  <a:gd name="T71" fmla="*/ 79375 h 162"/>
                  <a:gd name="T72" fmla="*/ 1071563 w 140"/>
                  <a:gd name="T73" fmla="*/ 166688 h 162"/>
                  <a:gd name="T74" fmla="*/ 1111250 w 140"/>
                  <a:gd name="T75" fmla="*/ 206375 h 162"/>
                  <a:gd name="T76" fmla="*/ 1079500 w 140"/>
                  <a:gd name="T77" fmla="*/ 238125 h 162"/>
                  <a:gd name="T78" fmla="*/ 1071563 w 140"/>
                  <a:gd name="T79" fmla="*/ 269875 h 162"/>
                  <a:gd name="T80" fmla="*/ 1031875 w 140"/>
                  <a:gd name="T81" fmla="*/ 293688 h 162"/>
                  <a:gd name="T82" fmla="*/ 984250 w 140"/>
                  <a:gd name="T83" fmla="*/ 349250 h 162"/>
                  <a:gd name="T84" fmla="*/ 992188 w 140"/>
                  <a:gd name="T85" fmla="*/ 444500 h 162"/>
                  <a:gd name="T86" fmla="*/ 1000125 w 140"/>
                  <a:gd name="T87" fmla="*/ 508000 h 162"/>
                  <a:gd name="T88" fmla="*/ 984250 w 140"/>
                  <a:gd name="T89" fmla="*/ 587375 h 162"/>
                  <a:gd name="T90" fmla="*/ 960438 w 140"/>
                  <a:gd name="T91" fmla="*/ 635000 h 162"/>
                  <a:gd name="T92" fmla="*/ 968375 w 140"/>
                  <a:gd name="T93" fmla="*/ 730250 h 162"/>
                  <a:gd name="T94" fmla="*/ 936625 w 140"/>
                  <a:gd name="T95" fmla="*/ 777875 h 162"/>
                  <a:gd name="T96" fmla="*/ 960438 w 140"/>
                  <a:gd name="T97" fmla="*/ 817563 h 162"/>
                  <a:gd name="T98" fmla="*/ 992188 w 140"/>
                  <a:gd name="T99" fmla="*/ 841375 h 162"/>
                  <a:gd name="T100" fmla="*/ 1031875 w 140"/>
                  <a:gd name="T101" fmla="*/ 825500 h 162"/>
                  <a:gd name="T102" fmla="*/ 1031875 w 140"/>
                  <a:gd name="T103" fmla="*/ 889000 h 162"/>
                  <a:gd name="T104" fmla="*/ 1000125 w 140"/>
                  <a:gd name="T105" fmla="*/ 960438 h 162"/>
                  <a:gd name="T106" fmla="*/ 1008063 w 140"/>
                  <a:gd name="T107" fmla="*/ 1039813 h 162"/>
                  <a:gd name="T108" fmla="*/ 984250 w 140"/>
                  <a:gd name="T109" fmla="*/ 1143000 h 162"/>
                  <a:gd name="T110" fmla="*/ 936625 w 140"/>
                  <a:gd name="T111" fmla="*/ 1198563 h 162"/>
                  <a:gd name="T112" fmla="*/ 873125 w 140"/>
                  <a:gd name="T113" fmla="*/ 1238250 h 162"/>
                  <a:gd name="T114" fmla="*/ 769938 w 140"/>
                  <a:gd name="T115" fmla="*/ 1238250 h 162"/>
                  <a:gd name="T116" fmla="*/ 690563 w 140"/>
                  <a:gd name="T117" fmla="*/ 1238250 h 162"/>
                  <a:gd name="T118" fmla="*/ 627063 w 140"/>
                  <a:gd name="T119" fmla="*/ 1262063 h 162"/>
                  <a:gd name="T120" fmla="*/ 627063 w 140"/>
                  <a:gd name="T121" fmla="*/ 1262063 h 162"/>
                  <a:gd name="T122" fmla="*/ 627063 w 140"/>
                  <a:gd name="T123" fmla="*/ 1262063 h 16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40"/>
                  <a:gd name="T187" fmla="*/ 0 h 162"/>
                  <a:gd name="T188" fmla="*/ 140 w 140"/>
                  <a:gd name="T189" fmla="*/ 162 h 16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40" h="162">
                    <a:moveTo>
                      <a:pt x="79" y="159"/>
                    </a:moveTo>
                    <a:cubicBezTo>
                      <a:pt x="75" y="159"/>
                      <a:pt x="79" y="153"/>
                      <a:pt x="74" y="154"/>
                    </a:cubicBezTo>
                    <a:cubicBezTo>
                      <a:pt x="68" y="148"/>
                      <a:pt x="75" y="145"/>
                      <a:pt x="75" y="145"/>
                    </a:cubicBezTo>
                    <a:cubicBezTo>
                      <a:pt x="70" y="146"/>
                      <a:pt x="68" y="142"/>
                      <a:pt x="68" y="142"/>
                    </a:cubicBezTo>
                    <a:cubicBezTo>
                      <a:pt x="63" y="135"/>
                      <a:pt x="62" y="142"/>
                      <a:pt x="62" y="142"/>
                    </a:cubicBezTo>
                    <a:cubicBezTo>
                      <a:pt x="62" y="144"/>
                      <a:pt x="58" y="142"/>
                      <a:pt x="56" y="146"/>
                    </a:cubicBezTo>
                    <a:cubicBezTo>
                      <a:pt x="43" y="150"/>
                      <a:pt x="37" y="145"/>
                      <a:pt x="37" y="145"/>
                    </a:cubicBezTo>
                    <a:cubicBezTo>
                      <a:pt x="32" y="143"/>
                      <a:pt x="33" y="138"/>
                      <a:pt x="33" y="138"/>
                    </a:cubicBezTo>
                    <a:cubicBezTo>
                      <a:pt x="33" y="135"/>
                      <a:pt x="31" y="132"/>
                      <a:pt x="31" y="132"/>
                    </a:cubicBezTo>
                    <a:cubicBezTo>
                      <a:pt x="28" y="126"/>
                      <a:pt x="22" y="128"/>
                      <a:pt x="22" y="128"/>
                    </a:cubicBezTo>
                    <a:cubicBezTo>
                      <a:pt x="10" y="130"/>
                      <a:pt x="13" y="125"/>
                      <a:pt x="13" y="125"/>
                    </a:cubicBezTo>
                    <a:cubicBezTo>
                      <a:pt x="15" y="121"/>
                      <a:pt x="11" y="119"/>
                      <a:pt x="11" y="119"/>
                    </a:cubicBezTo>
                    <a:cubicBezTo>
                      <a:pt x="6" y="119"/>
                      <a:pt x="7" y="114"/>
                      <a:pt x="7" y="114"/>
                    </a:cubicBezTo>
                    <a:cubicBezTo>
                      <a:pt x="8" y="109"/>
                      <a:pt x="2" y="110"/>
                      <a:pt x="2" y="110"/>
                    </a:cubicBezTo>
                    <a:lnTo>
                      <a:pt x="3" y="101"/>
                    </a:lnTo>
                    <a:lnTo>
                      <a:pt x="3" y="88"/>
                    </a:lnTo>
                    <a:cubicBezTo>
                      <a:pt x="3" y="88"/>
                      <a:pt x="3" y="84"/>
                      <a:pt x="6" y="85"/>
                    </a:cubicBezTo>
                    <a:cubicBezTo>
                      <a:pt x="10" y="77"/>
                      <a:pt x="3" y="77"/>
                      <a:pt x="5" y="69"/>
                    </a:cubicBezTo>
                    <a:cubicBezTo>
                      <a:pt x="5" y="69"/>
                      <a:pt x="0" y="66"/>
                      <a:pt x="6" y="55"/>
                    </a:cubicBezTo>
                    <a:cubicBezTo>
                      <a:pt x="10" y="53"/>
                      <a:pt x="8" y="46"/>
                      <a:pt x="12" y="41"/>
                    </a:cubicBezTo>
                    <a:cubicBezTo>
                      <a:pt x="17" y="39"/>
                      <a:pt x="16" y="35"/>
                      <a:pt x="19" y="35"/>
                    </a:cubicBezTo>
                    <a:cubicBezTo>
                      <a:pt x="19" y="35"/>
                      <a:pt x="23" y="32"/>
                      <a:pt x="22" y="28"/>
                    </a:cubicBezTo>
                    <a:cubicBezTo>
                      <a:pt x="22" y="28"/>
                      <a:pt x="20" y="23"/>
                      <a:pt x="33" y="26"/>
                    </a:cubicBezTo>
                    <a:cubicBezTo>
                      <a:pt x="33" y="26"/>
                      <a:pt x="38" y="32"/>
                      <a:pt x="39" y="25"/>
                    </a:cubicBezTo>
                    <a:cubicBezTo>
                      <a:pt x="39" y="25"/>
                      <a:pt x="41" y="19"/>
                      <a:pt x="56" y="24"/>
                    </a:cubicBezTo>
                    <a:cubicBezTo>
                      <a:pt x="56" y="24"/>
                      <a:pt x="68" y="22"/>
                      <a:pt x="68" y="26"/>
                    </a:cubicBezTo>
                    <a:cubicBezTo>
                      <a:pt x="68" y="26"/>
                      <a:pt x="66" y="30"/>
                      <a:pt x="75" y="28"/>
                    </a:cubicBezTo>
                    <a:cubicBezTo>
                      <a:pt x="75" y="28"/>
                      <a:pt x="78" y="29"/>
                      <a:pt x="86" y="22"/>
                    </a:cubicBezTo>
                    <a:cubicBezTo>
                      <a:pt x="86" y="16"/>
                      <a:pt x="89" y="16"/>
                      <a:pt x="89" y="11"/>
                    </a:cubicBezTo>
                    <a:cubicBezTo>
                      <a:pt x="89" y="11"/>
                      <a:pt x="85" y="3"/>
                      <a:pt x="98" y="7"/>
                    </a:cubicBezTo>
                    <a:cubicBezTo>
                      <a:pt x="98" y="7"/>
                      <a:pt x="106" y="12"/>
                      <a:pt x="109" y="11"/>
                    </a:cubicBezTo>
                    <a:cubicBezTo>
                      <a:pt x="116" y="11"/>
                      <a:pt x="114" y="11"/>
                      <a:pt x="125" y="4"/>
                    </a:cubicBezTo>
                    <a:cubicBezTo>
                      <a:pt x="125" y="4"/>
                      <a:pt x="126" y="0"/>
                      <a:pt x="139" y="2"/>
                    </a:cubicBezTo>
                    <a:cubicBezTo>
                      <a:pt x="137" y="5"/>
                      <a:pt x="135" y="10"/>
                      <a:pt x="135" y="10"/>
                    </a:cubicBezTo>
                    <a:cubicBezTo>
                      <a:pt x="131" y="20"/>
                      <a:pt x="135" y="21"/>
                      <a:pt x="135" y="21"/>
                    </a:cubicBezTo>
                    <a:cubicBezTo>
                      <a:pt x="140" y="22"/>
                      <a:pt x="140" y="26"/>
                      <a:pt x="140" y="26"/>
                    </a:cubicBezTo>
                    <a:cubicBezTo>
                      <a:pt x="140" y="28"/>
                      <a:pt x="135" y="25"/>
                      <a:pt x="136" y="30"/>
                    </a:cubicBezTo>
                    <a:cubicBezTo>
                      <a:pt x="134" y="32"/>
                      <a:pt x="135" y="34"/>
                      <a:pt x="135" y="34"/>
                    </a:cubicBezTo>
                    <a:cubicBezTo>
                      <a:pt x="136" y="38"/>
                      <a:pt x="130" y="37"/>
                      <a:pt x="130" y="37"/>
                    </a:cubicBezTo>
                    <a:cubicBezTo>
                      <a:pt x="125" y="38"/>
                      <a:pt x="124" y="44"/>
                      <a:pt x="124" y="44"/>
                    </a:cubicBezTo>
                    <a:cubicBezTo>
                      <a:pt x="118" y="48"/>
                      <a:pt x="125" y="56"/>
                      <a:pt x="125" y="56"/>
                    </a:cubicBezTo>
                    <a:cubicBezTo>
                      <a:pt x="127" y="56"/>
                      <a:pt x="126" y="64"/>
                      <a:pt x="126" y="64"/>
                    </a:cubicBezTo>
                    <a:cubicBezTo>
                      <a:pt x="129" y="69"/>
                      <a:pt x="124" y="67"/>
                      <a:pt x="124" y="74"/>
                    </a:cubicBezTo>
                    <a:cubicBezTo>
                      <a:pt x="126" y="81"/>
                      <a:pt x="121" y="80"/>
                      <a:pt x="121" y="80"/>
                    </a:cubicBezTo>
                    <a:cubicBezTo>
                      <a:pt x="123" y="87"/>
                      <a:pt x="122" y="92"/>
                      <a:pt x="122" y="92"/>
                    </a:cubicBezTo>
                    <a:cubicBezTo>
                      <a:pt x="122" y="94"/>
                      <a:pt x="117" y="92"/>
                      <a:pt x="118" y="98"/>
                    </a:cubicBezTo>
                    <a:cubicBezTo>
                      <a:pt x="116" y="102"/>
                      <a:pt x="121" y="103"/>
                      <a:pt x="121" y="103"/>
                    </a:cubicBezTo>
                    <a:cubicBezTo>
                      <a:pt x="123" y="102"/>
                      <a:pt x="122" y="107"/>
                      <a:pt x="125" y="106"/>
                    </a:cubicBezTo>
                    <a:cubicBezTo>
                      <a:pt x="127" y="106"/>
                      <a:pt x="126" y="103"/>
                      <a:pt x="130" y="104"/>
                    </a:cubicBezTo>
                    <a:cubicBezTo>
                      <a:pt x="125" y="109"/>
                      <a:pt x="130" y="112"/>
                      <a:pt x="130" y="112"/>
                    </a:cubicBezTo>
                    <a:cubicBezTo>
                      <a:pt x="129" y="116"/>
                      <a:pt x="125" y="117"/>
                      <a:pt x="126" y="121"/>
                    </a:cubicBezTo>
                    <a:cubicBezTo>
                      <a:pt x="125" y="124"/>
                      <a:pt x="130" y="127"/>
                      <a:pt x="127" y="131"/>
                    </a:cubicBezTo>
                    <a:cubicBezTo>
                      <a:pt x="127" y="139"/>
                      <a:pt x="124" y="144"/>
                      <a:pt x="124" y="144"/>
                    </a:cubicBezTo>
                    <a:cubicBezTo>
                      <a:pt x="124" y="147"/>
                      <a:pt x="118" y="151"/>
                      <a:pt x="118" y="151"/>
                    </a:cubicBezTo>
                    <a:cubicBezTo>
                      <a:pt x="115" y="157"/>
                      <a:pt x="110" y="156"/>
                      <a:pt x="110" y="156"/>
                    </a:cubicBezTo>
                    <a:cubicBezTo>
                      <a:pt x="101" y="160"/>
                      <a:pt x="97" y="156"/>
                      <a:pt x="97" y="156"/>
                    </a:cubicBezTo>
                    <a:cubicBezTo>
                      <a:pt x="92" y="152"/>
                      <a:pt x="87" y="156"/>
                      <a:pt x="87" y="156"/>
                    </a:cubicBezTo>
                    <a:cubicBezTo>
                      <a:pt x="84" y="162"/>
                      <a:pt x="79" y="159"/>
                      <a:pt x="79" y="159"/>
                    </a:cubicBezTo>
                  </a:path>
                </a:pathLst>
              </a:custGeom>
              <a:solidFill>
                <a:schemeClr val="accent3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98" name="Freeform 1177">
                <a:extLst>
                  <a:ext uri="{FF2B5EF4-FFF2-40B4-BE49-F238E27FC236}">
                    <a16:creationId xmlns:a16="http://schemas.microsoft.com/office/drawing/2014/main" id="{60B786BE-3FF3-4953-9FBC-CEDEB85E62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7819" y="2327981"/>
                <a:ext cx="981707" cy="1299473"/>
              </a:xfrm>
              <a:custGeom>
                <a:avLst/>
                <a:gdLst>
                  <a:gd name="T0" fmla="*/ 47625 w 139"/>
                  <a:gd name="T1" fmla="*/ 1127125 h 184"/>
                  <a:gd name="T2" fmla="*/ 111125 w 139"/>
                  <a:gd name="T3" fmla="*/ 1047750 h 184"/>
                  <a:gd name="T4" fmla="*/ 142875 w 139"/>
                  <a:gd name="T5" fmla="*/ 904875 h 184"/>
                  <a:gd name="T6" fmla="*/ 119062 w 139"/>
                  <a:gd name="T7" fmla="*/ 769938 h 184"/>
                  <a:gd name="T8" fmla="*/ 79375 w 139"/>
                  <a:gd name="T9" fmla="*/ 642938 h 184"/>
                  <a:gd name="T10" fmla="*/ 87312 w 139"/>
                  <a:gd name="T11" fmla="*/ 484188 h 184"/>
                  <a:gd name="T12" fmla="*/ 79375 w 139"/>
                  <a:gd name="T13" fmla="*/ 309563 h 184"/>
                  <a:gd name="T14" fmla="*/ 7937 w 139"/>
                  <a:gd name="T15" fmla="*/ 269875 h 184"/>
                  <a:gd name="T16" fmla="*/ 0 w 139"/>
                  <a:gd name="T17" fmla="*/ 198438 h 184"/>
                  <a:gd name="T18" fmla="*/ 134937 w 139"/>
                  <a:gd name="T19" fmla="*/ 63500 h 184"/>
                  <a:gd name="T20" fmla="*/ 246062 w 139"/>
                  <a:gd name="T21" fmla="*/ 63500 h 184"/>
                  <a:gd name="T22" fmla="*/ 388937 w 139"/>
                  <a:gd name="T23" fmla="*/ 71438 h 184"/>
                  <a:gd name="T24" fmla="*/ 492125 w 139"/>
                  <a:gd name="T25" fmla="*/ 182563 h 184"/>
                  <a:gd name="T26" fmla="*/ 492125 w 139"/>
                  <a:gd name="T27" fmla="*/ 285750 h 184"/>
                  <a:gd name="T28" fmla="*/ 484187 w 139"/>
                  <a:gd name="T29" fmla="*/ 357188 h 184"/>
                  <a:gd name="T30" fmla="*/ 555625 w 139"/>
                  <a:gd name="T31" fmla="*/ 428625 h 184"/>
                  <a:gd name="T32" fmla="*/ 642937 w 139"/>
                  <a:gd name="T33" fmla="*/ 500063 h 184"/>
                  <a:gd name="T34" fmla="*/ 730250 w 139"/>
                  <a:gd name="T35" fmla="*/ 579438 h 184"/>
                  <a:gd name="T36" fmla="*/ 912812 w 139"/>
                  <a:gd name="T37" fmla="*/ 642938 h 184"/>
                  <a:gd name="T38" fmla="*/ 1008062 w 139"/>
                  <a:gd name="T39" fmla="*/ 611188 h 184"/>
                  <a:gd name="T40" fmla="*/ 1055687 w 139"/>
                  <a:gd name="T41" fmla="*/ 706438 h 184"/>
                  <a:gd name="T42" fmla="*/ 1087437 w 139"/>
                  <a:gd name="T43" fmla="*/ 809625 h 184"/>
                  <a:gd name="T44" fmla="*/ 992187 w 139"/>
                  <a:gd name="T45" fmla="*/ 904875 h 184"/>
                  <a:gd name="T46" fmla="*/ 920750 w 139"/>
                  <a:gd name="T47" fmla="*/ 1047750 h 184"/>
                  <a:gd name="T48" fmla="*/ 777875 w 139"/>
                  <a:gd name="T49" fmla="*/ 1039813 h 184"/>
                  <a:gd name="T50" fmla="*/ 706437 w 139"/>
                  <a:gd name="T51" fmla="*/ 1206500 h 184"/>
                  <a:gd name="T52" fmla="*/ 642937 w 139"/>
                  <a:gd name="T53" fmla="*/ 1317625 h 184"/>
                  <a:gd name="T54" fmla="*/ 460375 w 139"/>
                  <a:gd name="T55" fmla="*/ 1365250 h 184"/>
                  <a:gd name="T56" fmla="*/ 404812 w 139"/>
                  <a:gd name="T57" fmla="*/ 1420813 h 184"/>
                  <a:gd name="T58" fmla="*/ 301625 w 139"/>
                  <a:gd name="T59" fmla="*/ 1397000 h 184"/>
                  <a:gd name="T60" fmla="*/ 174625 w 139"/>
                  <a:gd name="T61" fmla="*/ 1452563 h 184"/>
                  <a:gd name="T62" fmla="*/ 71437 w 139"/>
                  <a:gd name="T63" fmla="*/ 1373188 h 184"/>
                  <a:gd name="T64" fmla="*/ 79375 w 139"/>
                  <a:gd name="T65" fmla="*/ 1230313 h 184"/>
                  <a:gd name="T66" fmla="*/ 55562 w 139"/>
                  <a:gd name="T67" fmla="*/ 1166813 h 18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39"/>
                  <a:gd name="T103" fmla="*/ 0 h 184"/>
                  <a:gd name="T104" fmla="*/ 139 w 139"/>
                  <a:gd name="T105" fmla="*/ 184 h 18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39" h="184">
                    <a:moveTo>
                      <a:pt x="7" y="147"/>
                    </a:moveTo>
                    <a:cubicBezTo>
                      <a:pt x="9" y="144"/>
                      <a:pt x="6" y="142"/>
                      <a:pt x="6" y="142"/>
                    </a:cubicBezTo>
                    <a:cubicBezTo>
                      <a:pt x="5" y="138"/>
                      <a:pt x="6" y="136"/>
                      <a:pt x="6" y="136"/>
                    </a:cubicBezTo>
                    <a:cubicBezTo>
                      <a:pt x="11" y="135"/>
                      <a:pt x="14" y="132"/>
                      <a:pt x="14" y="132"/>
                    </a:cubicBezTo>
                    <a:cubicBezTo>
                      <a:pt x="22" y="126"/>
                      <a:pt x="20" y="124"/>
                      <a:pt x="20" y="124"/>
                    </a:cubicBezTo>
                    <a:cubicBezTo>
                      <a:pt x="16" y="121"/>
                      <a:pt x="18" y="114"/>
                      <a:pt x="18" y="114"/>
                    </a:cubicBezTo>
                    <a:cubicBezTo>
                      <a:pt x="22" y="111"/>
                      <a:pt x="19" y="107"/>
                      <a:pt x="19" y="107"/>
                    </a:cubicBezTo>
                    <a:cubicBezTo>
                      <a:pt x="20" y="98"/>
                      <a:pt x="15" y="97"/>
                      <a:pt x="15" y="97"/>
                    </a:cubicBezTo>
                    <a:cubicBezTo>
                      <a:pt x="15" y="89"/>
                      <a:pt x="11" y="89"/>
                      <a:pt x="11" y="89"/>
                    </a:cubicBezTo>
                    <a:cubicBezTo>
                      <a:pt x="5" y="87"/>
                      <a:pt x="9" y="86"/>
                      <a:pt x="10" y="81"/>
                    </a:cubicBezTo>
                    <a:cubicBezTo>
                      <a:pt x="8" y="73"/>
                      <a:pt x="11" y="71"/>
                      <a:pt x="11" y="71"/>
                    </a:cubicBezTo>
                    <a:cubicBezTo>
                      <a:pt x="16" y="63"/>
                      <a:pt x="11" y="61"/>
                      <a:pt x="11" y="61"/>
                    </a:cubicBezTo>
                    <a:cubicBezTo>
                      <a:pt x="12" y="51"/>
                      <a:pt x="6" y="48"/>
                      <a:pt x="6" y="48"/>
                    </a:cubicBezTo>
                    <a:cubicBezTo>
                      <a:pt x="5" y="46"/>
                      <a:pt x="9" y="46"/>
                      <a:pt x="10" y="39"/>
                    </a:cubicBezTo>
                    <a:cubicBezTo>
                      <a:pt x="6" y="31"/>
                      <a:pt x="1" y="34"/>
                      <a:pt x="1" y="34"/>
                    </a:cubicBezTo>
                    <a:lnTo>
                      <a:pt x="0" y="25"/>
                    </a:lnTo>
                    <a:cubicBezTo>
                      <a:pt x="10" y="23"/>
                      <a:pt x="5" y="14"/>
                      <a:pt x="5" y="14"/>
                    </a:cubicBezTo>
                    <a:cubicBezTo>
                      <a:pt x="11" y="12"/>
                      <a:pt x="13" y="8"/>
                      <a:pt x="17" y="8"/>
                    </a:cubicBezTo>
                    <a:cubicBezTo>
                      <a:pt x="17" y="8"/>
                      <a:pt x="19" y="0"/>
                      <a:pt x="24" y="7"/>
                    </a:cubicBezTo>
                    <a:cubicBezTo>
                      <a:pt x="24" y="7"/>
                      <a:pt x="26" y="12"/>
                      <a:pt x="31" y="8"/>
                    </a:cubicBezTo>
                    <a:cubicBezTo>
                      <a:pt x="31" y="8"/>
                      <a:pt x="34" y="5"/>
                      <a:pt x="40" y="6"/>
                    </a:cubicBezTo>
                    <a:cubicBezTo>
                      <a:pt x="40" y="6"/>
                      <a:pt x="47" y="5"/>
                      <a:pt x="49" y="9"/>
                    </a:cubicBezTo>
                    <a:cubicBezTo>
                      <a:pt x="49" y="9"/>
                      <a:pt x="54" y="13"/>
                      <a:pt x="53" y="16"/>
                    </a:cubicBezTo>
                    <a:cubicBezTo>
                      <a:pt x="53" y="16"/>
                      <a:pt x="54" y="21"/>
                      <a:pt x="62" y="23"/>
                    </a:cubicBezTo>
                    <a:lnTo>
                      <a:pt x="62" y="36"/>
                    </a:lnTo>
                    <a:lnTo>
                      <a:pt x="61" y="45"/>
                    </a:lnTo>
                    <a:cubicBezTo>
                      <a:pt x="61" y="45"/>
                      <a:pt x="67" y="44"/>
                      <a:pt x="66" y="49"/>
                    </a:cubicBezTo>
                    <a:cubicBezTo>
                      <a:pt x="66" y="49"/>
                      <a:pt x="65" y="54"/>
                      <a:pt x="70" y="54"/>
                    </a:cubicBezTo>
                    <a:cubicBezTo>
                      <a:pt x="70" y="54"/>
                      <a:pt x="74" y="56"/>
                      <a:pt x="72" y="60"/>
                    </a:cubicBezTo>
                    <a:cubicBezTo>
                      <a:pt x="72" y="60"/>
                      <a:pt x="69" y="65"/>
                      <a:pt x="81" y="63"/>
                    </a:cubicBezTo>
                    <a:cubicBezTo>
                      <a:pt x="81" y="63"/>
                      <a:pt x="87" y="61"/>
                      <a:pt x="90" y="67"/>
                    </a:cubicBezTo>
                    <a:cubicBezTo>
                      <a:pt x="90" y="67"/>
                      <a:pt x="92" y="70"/>
                      <a:pt x="92" y="73"/>
                    </a:cubicBezTo>
                    <a:cubicBezTo>
                      <a:pt x="92" y="73"/>
                      <a:pt x="91" y="78"/>
                      <a:pt x="96" y="80"/>
                    </a:cubicBezTo>
                    <a:cubicBezTo>
                      <a:pt x="96" y="80"/>
                      <a:pt x="102" y="85"/>
                      <a:pt x="115" y="81"/>
                    </a:cubicBezTo>
                    <a:cubicBezTo>
                      <a:pt x="117" y="77"/>
                      <a:pt x="121" y="79"/>
                      <a:pt x="121" y="77"/>
                    </a:cubicBezTo>
                    <a:cubicBezTo>
                      <a:pt x="121" y="77"/>
                      <a:pt x="122" y="70"/>
                      <a:pt x="127" y="77"/>
                    </a:cubicBezTo>
                    <a:cubicBezTo>
                      <a:pt x="127" y="77"/>
                      <a:pt x="129" y="81"/>
                      <a:pt x="134" y="80"/>
                    </a:cubicBezTo>
                    <a:cubicBezTo>
                      <a:pt x="134" y="80"/>
                      <a:pt x="127" y="83"/>
                      <a:pt x="133" y="89"/>
                    </a:cubicBezTo>
                    <a:cubicBezTo>
                      <a:pt x="138" y="88"/>
                      <a:pt x="135" y="93"/>
                      <a:pt x="138" y="94"/>
                    </a:cubicBezTo>
                    <a:cubicBezTo>
                      <a:pt x="139" y="99"/>
                      <a:pt x="137" y="102"/>
                      <a:pt x="137" y="102"/>
                    </a:cubicBezTo>
                    <a:cubicBezTo>
                      <a:pt x="137" y="102"/>
                      <a:pt x="129" y="104"/>
                      <a:pt x="130" y="109"/>
                    </a:cubicBezTo>
                    <a:cubicBezTo>
                      <a:pt x="131" y="111"/>
                      <a:pt x="125" y="111"/>
                      <a:pt x="125" y="114"/>
                    </a:cubicBezTo>
                    <a:cubicBezTo>
                      <a:pt x="125" y="114"/>
                      <a:pt x="127" y="120"/>
                      <a:pt x="123" y="121"/>
                    </a:cubicBezTo>
                    <a:cubicBezTo>
                      <a:pt x="123" y="121"/>
                      <a:pt x="122" y="133"/>
                      <a:pt x="116" y="132"/>
                    </a:cubicBezTo>
                    <a:cubicBezTo>
                      <a:pt x="116" y="132"/>
                      <a:pt x="108" y="134"/>
                      <a:pt x="105" y="131"/>
                    </a:cubicBezTo>
                    <a:cubicBezTo>
                      <a:pt x="105" y="131"/>
                      <a:pt x="101" y="126"/>
                      <a:pt x="98" y="131"/>
                    </a:cubicBezTo>
                    <a:cubicBezTo>
                      <a:pt x="98" y="131"/>
                      <a:pt x="91" y="129"/>
                      <a:pt x="92" y="140"/>
                    </a:cubicBezTo>
                    <a:cubicBezTo>
                      <a:pt x="92" y="140"/>
                      <a:pt x="92" y="147"/>
                      <a:pt x="89" y="152"/>
                    </a:cubicBezTo>
                    <a:cubicBezTo>
                      <a:pt x="89" y="152"/>
                      <a:pt x="89" y="155"/>
                      <a:pt x="89" y="159"/>
                    </a:cubicBezTo>
                    <a:cubicBezTo>
                      <a:pt x="89" y="159"/>
                      <a:pt x="81" y="162"/>
                      <a:pt x="81" y="166"/>
                    </a:cubicBezTo>
                    <a:cubicBezTo>
                      <a:pt x="81" y="166"/>
                      <a:pt x="80" y="172"/>
                      <a:pt x="70" y="172"/>
                    </a:cubicBezTo>
                    <a:cubicBezTo>
                      <a:pt x="70" y="172"/>
                      <a:pt x="67" y="169"/>
                      <a:pt x="58" y="172"/>
                    </a:cubicBezTo>
                    <a:cubicBezTo>
                      <a:pt x="58" y="172"/>
                      <a:pt x="53" y="167"/>
                      <a:pt x="53" y="175"/>
                    </a:cubicBezTo>
                    <a:cubicBezTo>
                      <a:pt x="53" y="175"/>
                      <a:pt x="54" y="181"/>
                      <a:pt x="51" y="179"/>
                    </a:cubicBezTo>
                    <a:cubicBezTo>
                      <a:pt x="51" y="179"/>
                      <a:pt x="49" y="176"/>
                      <a:pt x="44" y="176"/>
                    </a:cubicBezTo>
                    <a:cubicBezTo>
                      <a:pt x="44" y="176"/>
                      <a:pt x="40" y="170"/>
                      <a:pt x="38" y="176"/>
                    </a:cubicBezTo>
                    <a:cubicBezTo>
                      <a:pt x="38" y="176"/>
                      <a:pt x="31" y="176"/>
                      <a:pt x="29" y="180"/>
                    </a:cubicBezTo>
                    <a:cubicBezTo>
                      <a:pt x="29" y="180"/>
                      <a:pt x="26" y="184"/>
                      <a:pt x="22" y="183"/>
                    </a:cubicBezTo>
                    <a:cubicBezTo>
                      <a:pt x="19" y="184"/>
                      <a:pt x="22" y="178"/>
                      <a:pt x="17" y="180"/>
                    </a:cubicBezTo>
                    <a:cubicBezTo>
                      <a:pt x="13" y="173"/>
                      <a:pt x="9" y="173"/>
                      <a:pt x="9" y="173"/>
                    </a:cubicBezTo>
                    <a:cubicBezTo>
                      <a:pt x="7" y="169"/>
                      <a:pt x="10" y="167"/>
                      <a:pt x="10" y="167"/>
                    </a:cubicBezTo>
                    <a:cubicBezTo>
                      <a:pt x="13" y="161"/>
                      <a:pt x="10" y="155"/>
                      <a:pt x="10" y="155"/>
                    </a:cubicBezTo>
                    <a:cubicBezTo>
                      <a:pt x="8" y="153"/>
                      <a:pt x="12" y="147"/>
                      <a:pt x="7" y="147"/>
                    </a:cubicBezTo>
                  </a:path>
                </a:pathLst>
              </a:custGeom>
              <a:solidFill>
                <a:schemeClr val="accent3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99" name="Freeform 1178">
                <a:extLst>
                  <a:ext uri="{FF2B5EF4-FFF2-40B4-BE49-F238E27FC236}">
                    <a16:creationId xmlns:a16="http://schemas.microsoft.com/office/drawing/2014/main" id="{CF76A4E7-EC9E-4F90-B671-D307E471D1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1553" y="3224897"/>
                <a:ext cx="953457" cy="1024041"/>
              </a:xfrm>
              <a:custGeom>
                <a:avLst/>
                <a:gdLst>
                  <a:gd name="T0" fmla="*/ 968375 w 135"/>
                  <a:gd name="T1" fmla="*/ 1047750 h 145"/>
                  <a:gd name="T2" fmla="*/ 920750 w 135"/>
                  <a:gd name="T3" fmla="*/ 1087437 h 145"/>
                  <a:gd name="T4" fmla="*/ 849312 w 135"/>
                  <a:gd name="T5" fmla="*/ 1111250 h 145"/>
                  <a:gd name="T6" fmla="*/ 785812 w 135"/>
                  <a:gd name="T7" fmla="*/ 1111250 h 145"/>
                  <a:gd name="T8" fmla="*/ 690562 w 135"/>
                  <a:gd name="T9" fmla="*/ 1087437 h 145"/>
                  <a:gd name="T10" fmla="*/ 658812 w 135"/>
                  <a:gd name="T11" fmla="*/ 1095375 h 145"/>
                  <a:gd name="T12" fmla="*/ 603250 w 135"/>
                  <a:gd name="T13" fmla="*/ 1150937 h 145"/>
                  <a:gd name="T14" fmla="*/ 523875 w 135"/>
                  <a:gd name="T15" fmla="*/ 1055687 h 145"/>
                  <a:gd name="T16" fmla="*/ 436562 w 135"/>
                  <a:gd name="T17" fmla="*/ 1071562 h 145"/>
                  <a:gd name="T18" fmla="*/ 412750 w 135"/>
                  <a:gd name="T19" fmla="*/ 1079500 h 145"/>
                  <a:gd name="T20" fmla="*/ 412750 w 135"/>
                  <a:gd name="T21" fmla="*/ 1047750 h 145"/>
                  <a:gd name="T22" fmla="*/ 373062 w 135"/>
                  <a:gd name="T23" fmla="*/ 1055687 h 145"/>
                  <a:gd name="T24" fmla="*/ 396875 w 135"/>
                  <a:gd name="T25" fmla="*/ 1023937 h 145"/>
                  <a:gd name="T26" fmla="*/ 373062 w 135"/>
                  <a:gd name="T27" fmla="*/ 992187 h 145"/>
                  <a:gd name="T28" fmla="*/ 333375 w 135"/>
                  <a:gd name="T29" fmla="*/ 1000125 h 145"/>
                  <a:gd name="T30" fmla="*/ 277812 w 135"/>
                  <a:gd name="T31" fmla="*/ 992187 h 145"/>
                  <a:gd name="T32" fmla="*/ 254000 w 135"/>
                  <a:gd name="T33" fmla="*/ 944562 h 145"/>
                  <a:gd name="T34" fmla="*/ 174625 w 135"/>
                  <a:gd name="T35" fmla="*/ 881062 h 145"/>
                  <a:gd name="T36" fmla="*/ 103187 w 135"/>
                  <a:gd name="T37" fmla="*/ 865187 h 145"/>
                  <a:gd name="T38" fmla="*/ 15875 w 135"/>
                  <a:gd name="T39" fmla="*/ 873125 h 145"/>
                  <a:gd name="T40" fmla="*/ 31750 w 135"/>
                  <a:gd name="T41" fmla="*/ 801687 h 145"/>
                  <a:gd name="T42" fmla="*/ 0 w 135"/>
                  <a:gd name="T43" fmla="*/ 754062 h 145"/>
                  <a:gd name="T44" fmla="*/ 7937 w 135"/>
                  <a:gd name="T45" fmla="*/ 563562 h 145"/>
                  <a:gd name="T46" fmla="*/ 39687 w 135"/>
                  <a:gd name="T47" fmla="*/ 468312 h 145"/>
                  <a:gd name="T48" fmla="*/ 142875 w 135"/>
                  <a:gd name="T49" fmla="*/ 444500 h 145"/>
                  <a:gd name="T50" fmla="*/ 206375 w 135"/>
                  <a:gd name="T51" fmla="*/ 388937 h 145"/>
                  <a:gd name="T52" fmla="*/ 182562 w 135"/>
                  <a:gd name="T53" fmla="*/ 277812 h 145"/>
                  <a:gd name="T54" fmla="*/ 182562 w 135"/>
                  <a:gd name="T55" fmla="*/ 190500 h 145"/>
                  <a:gd name="T56" fmla="*/ 198437 w 135"/>
                  <a:gd name="T57" fmla="*/ 150812 h 145"/>
                  <a:gd name="T58" fmla="*/ 198437 w 135"/>
                  <a:gd name="T59" fmla="*/ 103187 h 145"/>
                  <a:gd name="T60" fmla="*/ 214312 w 135"/>
                  <a:gd name="T61" fmla="*/ 71437 h 145"/>
                  <a:gd name="T62" fmla="*/ 333375 w 135"/>
                  <a:gd name="T63" fmla="*/ 71437 h 145"/>
                  <a:gd name="T64" fmla="*/ 428625 w 135"/>
                  <a:gd name="T65" fmla="*/ 71437 h 145"/>
                  <a:gd name="T66" fmla="*/ 492125 w 135"/>
                  <a:gd name="T67" fmla="*/ 63500 h 145"/>
                  <a:gd name="T68" fmla="*/ 563562 w 135"/>
                  <a:gd name="T69" fmla="*/ 55562 h 145"/>
                  <a:gd name="T70" fmla="*/ 603250 w 135"/>
                  <a:gd name="T71" fmla="*/ 23812 h 145"/>
                  <a:gd name="T72" fmla="*/ 658812 w 135"/>
                  <a:gd name="T73" fmla="*/ 79375 h 145"/>
                  <a:gd name="T74" fmla="*/ 658812 w 135"/>
                  <a:gd name="T75" fmla="*/ 134937 h 145"/>
                  <a:gd name="T76" fmla="*/ 674687 w 135"/>
                  <a:gd name="T77" fmla="*/ 198437 h 145"/>
                  <a:gd name="T78" fmla="*/ 769937 w 135"/>
                  <a:gd name="T79" fmla="*/ 190500 h 145"/>
                  <a:gd name="T80" fmla="*/ 849312 w 135"/>
                  <a:gd name="T81" fmla="*/ 158750 h 145"/>
                  <a:gd name="T82" fmla="*/ 873125 w 135"/>
                  <a:gd name="T83" fmla="*/ 222250 h 145"/>
                  <a:gd name="T84" fmla="*/ 873125 w 135"/>
                  <a:gd name="T85" fmla="*/ 317500 h 145"/>
                  <a:gd name="T86" fmla="*/ 865187 w 135"/>
                  <a:gd name="T87" fmla="*/ 365125 h 145"/>
                  <a:gd name="T88" fmla="*/ 936625 w 135"/>
                  <a:gd name="T89" fmla="*/ 428625 h 145"/>
                  <a:gd name="T90" fmla="*/ 920750 w 135"/>
                  <a:gd name="T91" fmla="*/ 515937 h 145"/>
                  <a:gd name="T92" fmla="*/ 920750 w 135"/>
                  <a:gd name="T93" fmla="*/ 547687 h 145"/>
                  <a:gd name="T94" fmla="*/ 936625 w 135"/>
                  <a:gd name="T95" fmla="*/ 611187 h 145"/>
                  <a:gd name="T96" fmla="*/ 944562 w 135"/>
                  <a:gd name="T97" fmla="*/ 650875 h 145"/>
                  <a:gd name="T98" fmla="*/ 976312 w 135"/>
                  <a:gd name="T99" fmla="*/ 690562 h 145"/>
                  <a:gd name="T100" fmla="*/ 1016000 w 135"/>
                  <a:gd name="T101" fmla="*/ 762000 h 145"/>
                  <a:gd name="T102" fmla="*/ 1039812 w 135"/>
                  <a:gd name="T103" fmla="*/ 809625 h 145"/>
                  <a:gd name="T104" fmla="*/ 1055687 w 135"/>
                  <a:gd name="T105" fmla="*/ 865187 h 145"/>
                  <a:gd name="T106" fmla="*/ 1063625 w 135"/>
                  <a:gd name="T107" fmla="*/ 904875 h 145"/>
                  <a:gd name="T108" fmla="*/ 1008062 w 135"/>
                  <a:gd name="T109" fmla="*/ 920750 h 145"/>
                  <a:gd name="T110" fmla="*/ 960437 w 135"/>
                  <a:gd name="T111" fmla="*/ 952500 h 145"/>
                  <a:gd name="T112" fmla="*/ 968375 w 135"/>
                  <a:gd name="T113" fmla="*/ 1047750 h 145"/>
                  <a:gd name="T114" fmla="*/ 968375 w 135"/>
                  <a:gd name="T115" fmla="*/ 1047750 h 145"/>
                  <a:gd name="T116" fmla="*/ 968375 w 135"/>
                  <a:gd name="T117" fmla="*/ 1047750 h 145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35"/>
                  <a:gd name="T178" fmla="*/ 0 h 145"/>
                  <a:gd name="T179" fmla="*/ 135 w 135"/>
                  <a:gd name="T180" fmla="*/ 145 h 145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35" h="145">
                    <a:moveTo>
                      <a:pt x="122" y="132"/>
                    </a:moveTo>
                    <a:cubicBezTo>
                      <a:pt x="122" y="132"/>
                      <a:pt x="115" y="132"/>
                      <a:pt x="116" y="137"/>
                    </a:cubicBezTo>
                    <a:cubicBezTo>
                      <a:pt x="116" y="137"/>
                      <a:pt x="116" y="141"/>
                      <a:pt x="107" y="140"/>
                    </a:cubicBezTo>
                    <a:cubicBezTo>
                      <a:pt x="107" y="140"/>
                      <a:pt x="104" y="135"/>
                      <a:pt x="99" y="140"/>
                    </a:cubicBezTo>
                    <a:cubicBezTo>
                      <a:pt x="99" y="140"/>
                      <a:pt x="92" y="141"/>
                      <a:pt x="87" y="137"/>
                    </a:cubicBezTo>
                    <a:cubicBezTo>
                      <a:pt x="87" y="137"/>
                      <a:pt x="84" y="130"/>
                      <a:pt x="83" y="138"/>
                    </a:cubicBezTo>
                    <a:cubicBezTo>
                      <a:pt x="83" y="138"/>
                      <a:pt x="81" y="144"/>
                      <a:pt x="76" y="145"/>
                    </a:cubicBezTo>
                    <a:cubicBezTo>
                      <a:pt x="72" y="144"/>
                      <a:pt x="74" y="133"/>
                      <a:pt x="66" y="133"/>
                    </a:cubicBezTo>
                    <a:cubicBezTo>
                      <a:pt x="66" y="133"/>
                      <a:pt x="58" y="130"/>
                      <a:pt x="55" y="135"/>
                    </a:cubicBezTo>
                    <a:cubicBezTo>
                      <a:pt x="55" y="135"/>
                      <a:pt x="56" y="140"/>
                      <a:pt x="52" y="136"/>
                    </a:cubicBezTo>
                    <a:cubicBezTo>
                      <a:pt x="52" y="136"/>
                      <a:pt x="54" y="133"/>
                      <a:pt x="52" y="132"/>
                    </a:cubicBezTo>
                    <a:cubicBezTo>
                      <a:pt x="52" y="132"/>
                      <a:pt x="50" y="131"/>
                      <a:pt x="47" y="133"/>
                    </a:cubicBezTo>
                    <a:cubicBezTo>
                      <a:pt x="47" y="133"/>
                      <a:pt x="49" y="132"/>
                      <a:pt x="50" y="129"/>
                    </a:cubicBezTo>
                    <a:cubicBezTo>
                      <a:pt x="50" y="129"/>
                      <a:pt x="51" y="124"/>
                      <a:pt x="47" y="125"/>
                    </a:cubicBezTo>
                    <a:cubicBezTo>
                      <a:pt x="47" y="125"/>
                      <a:pt x="43" y="124"/>
                      <a:pt x="42" y="126"/>
                    </a:cubicBezTo>
                    <a:cubicBezTo>
                      <a:pt x="42" y="126"/>
                      <a:pt x="40" y="121"/>
                      <a:pt x="35" y="125"/>
                    </a:cubicBezTo>
                    <a:cubicBezTo>
                      <a:pt x="35" y="125"/>
                      <a:pt x="36" y="118"/>
                      <a:pt x="32" y="119"/>
                    </a:cubicBezTo>
                    <a:cubicBezTo>
                      <a:pt x="25" y="119"/>
                      <a:pt x="25" y="111"/>
                      <a:pt x="22" y="111"/>
                    </a:cubicBezTo>
                    <a:cubicBezTo>
                      <a:pt x="22" y="111"/>
                      <a:pt x="20" y="106"/>
                      <a:pt x="13" y="109"/>
                    </a:cubicBezTo>
                    <a:cubicBezTo>
                      <a:pt x="10" y="106"/>
                      <a:pt x="12" y="112"/>
                      <a:pt x="2" y="110"/>
                    </a:cubicBezTo>
                    <a:cubicBezTo>
                      <a:pt x="7" y="104"/>
                      <a:pt x="4" y="101"/>
                      <a:pt x="4" y="101"/>
                    </a:cubicBezTo>
                    <a:cubicBezTo>
                      <a:pt x="5" y="92"/>
                      <a:pt x="0" y="95"/>
                      <a:pt x="0" y="95"/>
                    </a:cubicBezTo>
                    <a:cubicBezTo>
                      <a:pt x="0" y="95"/>
                      <a:pt x="3" y="88"/>
                      <a:pt x="1" y="71"/>
                    </a:cubicBezTo>
                    <a:cubicBezTo>
                      <a:pt x="0" y="64"/>
                      <a:pt x="7" y="61"/>
                      <a:pt x="5" y="59"/>
                    </a:cubicBezTo>
                    <a:cubicBezTo>
                      <a:pt x="5" y="56"/>
                      <a:pt x="15" y="52"/>
                      <a:pt x="18" y="56"/>
                    </a:cubicBezTo>
                    <a:cubicBezTo>
                      <a:pt x="18" y="56"/>
                      <a:pt x="29" y="62"/>
                      <a:pt x="26" y="49"/>
                    </a:cubicBezTo>
                    <a:cubicBezTo>
                      <a:pt x="26" y="49"/>
                      <a:pt x="27" y="40"/>
                      <a:pt x="23" y="35"/>
                    </a:cubicBezTo>
                    <a:cubicBezTo>
                      <a:pt x="23" y="35"/>
                      <a:pt x="17" y="29"/>
                      <a:pt x="23" y="24"/>
                    </a:cubicBezTo>
                    <a:cubicBezTo>
                      <a:pt x="23" y="24"/>
                      <a:pt x="26" y="22"/>
                      <a:pt x="25" y="19"/>
                    </a:cubicBezTo>
                    <a:cubicBezTo>
                      <a:pt x="25" y="19"/>
                      <a:pt x="20" y="15"/>
                      <a:pt x="25" y="13"/>
                    </a:cubicBezTo>
                    <a:cubicBezTo>
                      <a:pt x="25" y="13"/>
                      <a:pt x="30" y="12"/>
                      <a:pt x="27" y="9"/>
                    </a:cubicBezTo>
                    <a:cubicBezTo>
                      <a:pt x="34" y="7"/>
                      <a:pt x="38" y="12"/>
                      <a:pt x="42" y="9"/>
                    </a:cubicBezTo>
                    <a:cubicBezTo>
                      <a:pt x="51" y="6"/>
                      <a:pt x="53" y="12"/>
                      <a:pt x="54" y="9"/>
                    </a:cubicBezTo>
                    <a:cubicBezTo>
                      <a:pt x="57" y="5"/>
                      <a:pt x="62" y="8"/>
                      <a:pt x="62" y="8"/>
                    </a:cubicBezTo>
                    <a:cubicBezTo>
                      <a:pt x="62" y="8"/>
                      <a:pt x="66" y="10"/>
                      <a:pt x="71" y="7"/>
                    </a:cubicBezTo>
                    <a:cubicBezTo>
                      <a:pt x="71" y="3"/>
                      <a:pt x="73" y="3"/>
                      <a:pt x="76" y="3"/>
                    </a:cubicBezTo>
                    <a:cubicBezTo>
                      <a:pt x="84" y="0"/>
                      <a:pt x="79" y="9"/>
                      <a:pt x="83" y="10"/>
                    </a:cubicBezTo>
                    <a:cubicBezTo>
                      <a:pt x="83" y="10"/>
                      <a:pt x="85" y="15"/>
                      <a:pt x="83" y="17"/>
                    </a:cubicBezTo>
                    <a:cubicBezTo>
                      <a:pt x="83" y="17"/>
                      <a:pt x="80" y="22"/>
                      <a:pt x="85" y="25"/>
                    </a:cubicBezTo>
                    <a:cubicBezTo>
                      <a:pt x="85" y="25"/>
                      <a:pt x="95" y="26"/>
                      <a:pt x="97" y="24"/>
                    </a:cubicBezTo>
                    <a:cubicBezTo>
                      <a:pt x="99" y="20"/>
                      <a:pt x="103" y="23"/>
                      <a:pt x="107" y="20"/>
                    </a:cubicBezTo>
                    <a:cubicBezTo>
                      <a:pt x="111" y="20"/>
                      <a:pt x="108" y="26"/>
                      <a:pt x="110" y="28"/>
                    </a:cubicBezTo>
                    <a:cubicBezTo>
                      <a:pt x="110" y="28"/>
                      <a:pt x="113" y="34"/>
                      <a:pt x="110" y="40"/>
                    </a:cubicBezTo>
                    <a:cubicBezTo>
                      <a:pt x="110" y="40"/>
                      <a:pt x="107" y="42"/>
                      <a:pt x="109" y="46"/>
                    </a:cubicBezTo>
                    <a:cubicBezTo>
                      <a:pt x="109" y="46"/>
                      <a:pt x="114" y="46"/>
                      <a:pt x="118" y="54"/>
                    </a:cubicBezTo>
                    <a:cubicBezTo>
                      <a:pt x="118" y="54"/>
                      <a:pt x="120" y="59"/>
                      <a:pt x="116" y="65"/>
                    </a:cubicBezTo>
                    <a:cubicBezTo>
                      <a:pt x="114" y="64"/>
                      <a:pt x="109" y="69"/>
                      <a:pt x="116" y="69"/>
                    </a:cubicBezTo>
                    <a:cubicBezTo>
                      <a:pt x="116" y="69"/>
                      <a:pt x="113" y="76"/>
                      <a:pt x="118" y="77"/>
                    </a:cubicBezTo>
                    <a:cubicBezTo>
                      <a:pt x="118" y="77"/>
                      <a:pt x="116" y="81"/>
                      <a:pt x="119" y="82"/>
                    </a:cubicBezTo>
                    <a:cubicBezTo>
                      <a:pt x="122" y="81"/>
                      <a:pt x="118" y="86"/>
                      <a:pt x="123" y="87"/>
                    </a:cubicBezTo>
                    <a:cubicBezTo>
                      <a:pt x="128" y="91"/>
                      <a:pt x="124" y="94"/>
                      <a:pt x="128" y="96"/>
                    </a:cubicBezTo>
                    <a:cubicBezTo>
                      <a:pt x="134" y="95"/>
                      <a:pt x="129" y="102"/>
                      <a:pt x="131" y="102"/>
                    </a:cubicBezTo>
                    <a:cubicBezTo>
                      <a:pt x="131" y="102"/>
                      <a:pt x="135" y="103"/>
                      <a:pt x="133" y="109"/>
                    </a:cubicBezTo>
                    <a:cubicBezTo>
                      <a:pt x="133" y="109"/>
                      <a:pt x="127" y="112"/>
                      <a:pt x="134" y="114"/>
                    </a:cubicBezTo>
                    <a:cubicBezTo>
                      <a:pt x="134" y="114"/>
                      <a:pt x="130" y="121"/>
                      <a:pt x="127" y="116"/>
                    </a:cubicBezTo>
                    <a:cubicBezTo>
                      <a:pt x="127" y="116"/>
                      <a:pt x="124" y="113"/>
                      <a:pt x="121" y="120"/>
                    </a:cubicBezTo>
                    <a:cubicBezTo>
                      <a:pt x="121" y="120"/>
                      <a:pt x="117" y="126"/>
                      <a:pt x="122" y="132"/>
                    </a:cubicBezTo>
                  </a:path>
                </a:pathLst>
              </a:custGeom>
              <a:solidFill>
                <a:schemeClr val="accent4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100" name="Freeform 1179">
                <a:extLst>
                  <a:ext uri="{FF2B5EF4-FFF2-40B4-BE49-F238E27FC236}">
                    <a16:creationId xmlns:a16="http://schemas.microsoft.com/office/drawing/2014/main" id="{35ACE7D7-F303-4F70-8857-72335AB93D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4857" y="2822343"/>
                <a:ext cx="628575" cy="1165288"/>
              </a:xfrm>
              <a:custGeom>
                <a:avLst/>
                <a:gdLst>
                  <a:gd name="T0" fmla="*/ 460375 w 89"/>
                  <a:gd name="T1" fmla="*/ 39687 h 165"/>
                  <a:gd name="T2" fmla="*/ 476250 w 89"/>
                  <a:gd name="T3" fmla="*/ 103187 h 165"/>
                  <a:gd name="T4" fmla="*/ 484187 w 89"/>
                  <a:gd name="T5" fmla="*/ 150812 h 165"/>
                  <a:gd name="T6" fmla="*/ 539750 w 89"/>
                  <a:gd name="T7" fmla="*/ 214312 h 165"/>
                  <a:gd name="T8" fmla="*/ 595312 w 89"/>
                  <a:gd name="T9" fmla="*/ 230187 h 165"/>
                  <a:gd name="T10" fmla="*/ 611187 w 89"/>
                  <a:gd name="T11" fmla="*/ 301625 h 165"/>
                  <a:gd name="T12" fmla="*/ 595312 w 89"/>
                  <a:gd name="T13" fmla="*/ 373062 h 165"/>
                  <a:gd name="T14" fmla="*/ 571500 w 89"/>
                  <a:gd name="T15" fmla="*/ 428625 h 165"/>
                  <a:gd name="T16" fmla="*/ 611187 w 89"/>
                  <a:gd name="T17" fmla="*/ 500062 h 165"/>
                  <a:gd name="T18" fmla="*/ 682625 w 89"/>
                  <a:gd name="T19" fmla="*/ 523875 h 165"/>
                  <a:gd name="T20" fmla="*/ 666750 w 89"/>
                  <a:gd name="T21" fmla="*/ 555625 h 165"/>
                  <a:gd name="T22" fmla="*/ 666750 w 89"/>
                  <a:gd name="T23" fmla="*/ 603250 h 165"/>
                  <a:gd name="T24" fmla="*/ 650875 w 89"/>
                  <a:gd name="T25" fmla="*/ 642937 h 165"/>
                  <a:gd name="T26" fmla="*/ 650875 w 89"/>
                  <a:gd name="T27" fmla="*/ 730250 h 165"/>
                  <a:gd name="T28" fmla="*/ 674687 w 89"/>
                  <a:gd name="T29" fmla="*/ 841375 h 165"/>
                  <a:gd name="T30" fmla="*/ 611187 w 89"/>
                  <a:gd name="T31" fmla="*/ 896937 h 165"/>
                  <a:gd name="T32" fmla="*/ 508000 w 89"/>
                  <a:gd name="T33" fmla="*/ 920750 h 165"/>
                  <a:gd name="T34" fmla="*/ 476250 w 89"/>
                  <a:gd name="T35" fmla="*/ 1016000 h 165"/>
                  <a:gd name="T36" fmla="*/ 468312 w 89"/>
                  <a:gd name="T37" fmla="*/ 1198562 h 165"/>
                  <a:gd name="T38" fmla="*/ 412750 w 89"/>
                  <a:gd name="T39" fmla="*/ 1206500 h 165"/>
                  <a:gd name="T40" fmla="*/ 325437 w 89"/>
                  <a:gd name="T41" fmla="*/ 1238250 h 165"/>
                  <a:gd name="T42" fmla="*/ 269875 w 89"/>
                  <a:gd name="T43" fmla="*/ 1230312 h 165"/>
                  <a:gd name="T44" fmla="*/ 230187 w 89"/>
                  <a:gd name="T45" fmla="*/ 1214437 h 165"/>
                  <a:gd name="T46" fmla="*/ 158750 w 89"/>
                  <a:gd name="T47" fmla="*/ 1230312 h 165"/>
                  <a:gd name="T48" fmla="*/ 158750 w 89"/>
                  <a:gd name="T49" fmla="*/ 1277937 h 165"/>
                  <a:gd name="T50" fmla="*/ 103187 w 89"/>
                  <a:gd name="T51" fmla="*/ 1238250 h 165"/>
                  <a:gd name="T52" fmla="*/ 103187 w 89"/>
                  <a:gd name="T53" fmla="*/ 1238250 h 165"/>
                  <a:gd name="T54" fmla="*/ 47625 w 89"/>
                  <a:gd name="T55" fmla="*/ 1238250 h 165"/>
                  <a:gd name="T56" fmla="*/ 47625 w 89"/>
                  <a:gd name="T57" fmla="*/ 1238250 h 165"/>
                  <a:gd name="T58" fmla="*/ 31750 w 89"/>
                  <a:gd name="T59" fmla="*/ 1182687 h 165"/>
                  <a:gd name="T60" fmla="*/ 7937 w 89"/>
                  <a:gd name="T61" fmla="*/ 1055687 h 165"/>
                  <a:gd name="T62" fmla="*/ 7937 w 89"/>
                  <a:gd name="T63" fmla="*/ 912812 h 165"/>
                  <a:gd name="T64" fmla="*/ 23812 w 89"/>
                  <a:gd name="T65" fmla="*/ 793750 h 165"/>
                  <a:gd name="T66" fmla="*/ 15875 w 89"/>
                  <a:gd name="T67" fmla="*/ 674687 h 165"/>
                  <a:gd name="T68" fmla="*/ 23812 w 89"/>
                  <a:gd name="T69" fmla="*/ 619125 h 165"/>
                  <a:gd name="T70" fmla="*/ 39687 w 89"/>
                  <a:gd name="T71" fmla="*/ 539750 h 165"/>
                  <a:gd name="T72" fmla="*/ 47625 w 89"/>
                  <a:gd name="T73" fmla="*/ 500062 h 165"/>
                  <a:gd name="T74" fmla="*/ 39687 w 89"/>
                  <a:gd name="T75" fmla="*/ 468312 h 165"/>
                  <a:gd name="T76" fmla="*/ 55562 w 89"/>
                  <a:gd name="T77" fmla="*/ 349250 h 165"/>
                  <a:gd name="T78" fmla="*/ 79375 w 89"/>
                  <a:gd name="T79" fmla="*/ 246062 h 165"/>
                  <a:gd name="T80" fmla="*/ 103187 w 89"/>
                  <a:gd name="T81" fmla="*/ 230187 h 165"/>
                  <a:gd name="T82" fmla="*/ 142875 w 89"/>
                  <a:gd name="T83" fmla="*/ 206375 h 165"/>
                  <a:gd name="T84" fmla="*/ 206375 w 89"/>
                  <a:gd name="T85" fmla="*/ 166687 h 165"/>
                  <a:gd name="T86" fmla="*/ 269875 w 89"/>
                  <a:gd name="T87" fmla="*/ 95250 h 165"/>
                  <a:gd name="T88" fmla="*/ 341312 w 89"/>
                  <a:gd name="T89" fmla="*/ 47625 h 165"/>
                  <a:gd name="T90" fmla="*/ 388937 w 89"/>
                  <a:gd name="T91" fmla="*/ 31750 h 165"/>
                  <a:gd name="T92" fmla="*/ 460375 w 89"/>
                  <a:gd name="T93" fmla="*/ 39687 h 165"/>
                  <a:gd name="T94" fmla="*/ 460375 w 89"/>
                  <a:gd name="T95" fmla="*/ 39687 h 165"/>
                  <a:gd name="T96" fmla="*/ 460375 w 89"/>
                  <a:gd name="T97" fmla="*/ 39687 h 16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89"/>
                  <a:gd name="T148" fmla="*/ 0 h 165"/>
                  <a:gd name="T149" fmla="*/ 89 w 89"/>
                  <a:gd name="T150" fmla="*/ 165 h 165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89" h="165">
                    <a:moveTo>
                      <a:pt x="58" y="5"/>
                    </a:moveTo>
                    <a:cubicBezTo>
                      <a:pt x="58" y="9"/>
                      <a:pt x="63" y="8"/>
                      <a:pt x="60" y="13"/>
                    </a:cubicBezTo>
                    <a:cubicBezTo>
                      <a:pt x="60" y="13"/>
                      <a:pt x="56" y="16"/>
                      <a:pt x="61" y="19"/>
                    </a:cubicBezTo>
                    <a:cubicBezTo>
                      <a:pt x="66" y="23"/>
                      <a:pt x="66" y="27"/>
                      <a:pt x="68" y="27"/>
                    </a:cubicBezTo>
                    <a:cubicBezTo>
                      <a:pt x="68" y="27"/>
                      <a:pt x="72" y="33"/>
                      <a:pt x="75" y="29"/>
                    </a:cubicBezTo>
                    <a:cubicBezTo>
                      <a:pt x="75" y="29"/>
                      <a:pt x="77" y="30"/>
                      <a:pt x="77" y="38"/>
                    </a:cubicBezTo>
                    <a:cubicBezTo>
                      <a:pt x="74" y="43"/>
                      <a:pt x="80" y="45"/>
                      <a:pt x="75" y="47"/>
                    </a:cubicBezTo>
                    <a:cubicBezTo>
                      <a:pt x="75" y="47"/>
                      <a:pt x="71" y="47"/>
                      <a:pt x="72" y="54"/>
                    </a:cubicBezTo>
                    <a:cubicBezTo>
                      <a:pt x="72" y="54"/>
                      <a:pt x="72" y="58"/>
                      <a:pt x="77" y="63"/>
                    </a:cubicBezTo>
                    <a:cubicBezTo>
                      <a:pt x="77" y="63"/>
                      <a:pt x="84" y="63"/>
                      <a:pt x="86" y="66"/>
                    </a:cubicBezTo>
                    <a:cubicBezTo>
                      <a:pt x="89" y="69"/>
                      <a:pt x="84" y="70"/>
                      <a:pt x="84" y="70"/>
                    </a:cubicBezTo>
                    <a:cubicBezTo>
                      <a:pt x="79" y="72"/>
                      <a:pt x="84" y="76"/>
                      <a:pt x="84" y="76"/>
                    </a:cubicBezTo>
                    <a:cubicBezTo>
                      <a:pt x="85" y="79"/>
                      <a:pt x="82" y="81"/>
                      <a:pt x="82" y="81"/>
                    </a:cubicBezTo>
                    <a:cubicBezTo>
                      <a:pt x="76" y="86"/>
                      <a:pt x="82" y="92"/>
                      <a:pt x="82" y="92"/>
                    </a:cubicBezTo>
                    <a:cubicBezTo>
                      <a:pt x="86" y="97"/>
                      <a:pt x="85" y="106"/>
                      <a:pt x="85" y="106"/>
                    </a:cubicBezTo>
                    <a:cubicBezTo>
                      <a:pt x="88" y="119"/>
                      <a:pt x="77" y="113"/>
                      <a:pt x="77" y="113"/>
                    </a:cubicBezTo>
                    <a:cubicBezTo>
                      <a:pt x="74" y="109"/>
                      <a:pt x="64" y="113"/>
                      <a:pt x="64" y="116"/>
                    </a:cubicBezTo>
                    <a:cubicBezTo>
                      <a:pt x="66" y="118"/>
                      <a:pt x="59" y="121"/>
                      <a:pt x="60" y="128"/>
                    </a:cubicBezTo>
                    <a:cubicBezTo>
                      <a:pt x="62" y="145"/>
                      <a:pt x="59" y="151"/>
                      <a:pt x="59" y="151"/>
                    </a:cubicBezTo>
                    <a:cubicBezTo>
                      <a:pt x="56" y="154"/>
                      <a:pt x="52" y="152"/>
                      <a:pt x="52" y="152"/>
                    </a:cubicBezTo>
                    <a:cubicBezTo>
                      <a:pt x="47" y="157"/>
                      <a:pt x="41" y="156"/>
                      <a:pt x="41" y="156"/>
                    </a:cubicBezTo>
                    <a:cubicBezTo>
                      <a:pt x="39" y="153"/>
                      <a:pt x="34" y="155"/>
                      <a:pt x="34" y="155"/>
                    </a:cubicBezTo>
                    <a:cubicBezTo>
                      <a:pt x="30" y="159"/>
                      <a:pt x="29" y="153"/>
                      <a:pt x="29" y="153"/>
                    </a:cubicBezTo>
                    <a:cubicBezTo>
                      <a:pt x="24" y="153"/>
                      <a:pt x="20" y="155"/>
                      <a:pt x="20" y="155"/>
                    </a:cubicBezTo>
                    <a:cubicBezTo>
                      <a:pt x="23" y="158"/>
                      <a:pt x="20" y="161"/>
                      <a:pt x="20" y="161"/>
                    </a:cubicBezTo>
                    <a:cubicBezTo>
                      <a:pt x="15" y="165"/>
                      <a:pt x="13" y="156"/>
                      <a:pt x="13" y="156"/>
                    </a:cubicBezTo>
                    <a:lnTo>
                      <a:pt x="6" y="156"/>
                    </a:lnTo>
                    <a:cubicBezTo>
                      <a:pt x="7" y="151"/>
                      <a:pt x="4" y="149"/>
                      <a:pt x="4" y="149"/>
                    </a:cubicBezTo>
                    <a:cubicBezTo>
                      <a:pt x="0" y="145"/>
                      <a:pt x="1" y="133"/>
                      <a:pt x="1" y="133"/>
                    </a:cubicBezTo>
                    <a:cubicBezTo>
                      <a:pt x="0" y="126"/>
                      <a:pt x="1" y="115"/>
                      <a:pt x="1" y="115"/>
                    </a:cubicBezTo>
                    <a:cubicBezTo>
                      <a:pt x="4" y="112"/>
                      <a:pt x="0" y="106"/>
                      <a:pt x="3" y="100"/>
                    </a:cubicBezTo>
                    <a:cubicBezTo>
                      <a:pt x="6" y="93"/>
                      <a:pt x="2" y="85"/>
                      <a:pt x="2" y="85"/>
                    </a:cubicBezTo>
                    <a:cubicBezTo>
                      <a:pt x="0" y="80"/>
                      <a:pt x="3" y="78"/>
                      <a:pt x="3" y="78"/>
                    </a:cubicBezTo>
                    <a:cubicBezTo>
                      <a:pt x="3" y="78"/>
                      <a:pt x="5" y="75"/>
                      <a:pt x="5" y="68"/>
                    </a:cubicBezTo>
                    <a:cubicBezTo>
                      <a:pt x="4" y="67"/>
                      <a:pt x="6" y="63"/>
                      <a:pt x="6" y="63"/>
                    </a:cubicBezTo>
                    <a:cubicBezTo>
                      <a:pt x="8" y="60"/>
                      <a:pt x="5" y="59"/>
                      <a:pt x="5" y="59"/>
                    </a:cubicBezTo>
                    <a:cubicBezTo>
                      <a:pt x="1" y="48"/>
                      <a:pt x="7" y="44"/>
                      <a:pt x="7" y="44"/>
                    </a:cubicBezTo>
                    <a:cubicBezTo>
                      <a:pt x="7" y="34"/>
                      <a:pt x="10" y="38"/>
                      <a:pt x="10" y="31"/>
                    </a:cubicBezTo>
                    <a:cubicBezTo>
                      <a:pt x="12" y="31"/>
                      <a:pt x="13" y="29"/>
                      <a:pt x="13" y="29"/>
                    </a:cubicBezTo>
                    <a:cubicBezTo>
                      <a:pt x="16" y="22"/>
                      <a:pt x="18" y="26"/>
                      <a:pt x="18" y="26"/>
                    </a:cubicBezTo>
                    <a:cubicBezTo>
                      <a:pt x="22" y="27"/>
                      <a:pt x="26" y="21"/>
                      <a:pt x="26" y="21"/>
                    </a:cubicBezTo>
                    <a:cubicBezTo>
                      <a:pt x="33" y="16"/>
                      <a:pt x="34" y="12"/>
                      <a:pt x="34" y="12"/>
                    </a:cubicBezTo>
                    <a:cubicBezTo>
                      <a:pt x="38" y="5"/>
                      <a:pt x="43" y="6"/>
                      <a:pt x="43" y="6"/>
                    </a:cubicBezTo>
                    <a:cubicBezTo>
                      <a:pt x="47" y="7"/>
                      <a:pt x="49" y="4"/>
                      <a:pt x="49" y="4"/>
                    </a:cubicBezTo>
                    <a:cubicBezTo>
                      <a:pt x="52" y="0"/>
                      <a:pt x="54" y="6"/>
                      <a:pt x="58" y="5"/>
                    </a:cubicBezTo>
                  </a:path>
                </a:pathLst>
              </a:custGeom>
              <a:solidFill>
                <a:schemeClr val="accent4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101" name="Freeform 1180">
                <a:extLst>
                  <a:ext uri="{FF2B5EF4-FFF2-40B4-BE49-F238E27FC236}">
                    <a16:creationId xmlns:a16="http://schemas.microsoft.com/office/drawing/2014/main" id="{B4533D8A-63E6-4472-A427-5DACB6BB94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346" y="3818135"/>
                <a:ext cx="974645" cy="494364"/>
              </a:xfrm>
              <a:custGeom>
                <a:avLst/>
                <a:gdLst>
                  <a:gd name="T0" fmla="*/ 1031875 w 138"/>
                  <a:gd name="T1" fmla="*/ 87313 h 70"/>
                  <a:gd name="T2" fmla="*/ 1071563 w 138"/>
                  <a:gd name="T3" fmla="*/ 134938 h 70"/>
                  <a:gd name="T4" fmla="*/ 1055688 w 138"/>
                  <a:gd name="T5" fmla="*/ 206375 h 70"/>
                  <a:gd name="T6" fmla="*/ 992188 w 138"/>
                  <a:gd name="T7" fmla="*/ 198438 h 70"/>
                  <a:gd name="T8" fmla="*/ 928688 w 138"/>
                  <a:gd name="T9" fmla="*/ 214313 h 70"/>
                  <a:gd name="T10" fmla="*/ 849313 w 138"/>
                  <a:gd name="T11" fmla="*/ 222250 h 70"/>
                  <a:gd name="T12" fmla="*/ 793750 w 138"/>
                  <a:gd name="T13" fmla="*/ 230188 h 70"/>
                  <a:gd name="T14" fmla="*/ 762000 w 138"/>
                  <a:gd name="T15" fmla="*/ 254000 h 70"/>
                  <a:gd name="T16" fmla="*/ 730250 w 138"/>
                  <a:gd name="T17" fmla="*/ 285750 h 70"/>
                  <a:gd name="T18" fmla="*/ 706438 w 138"/>
                  <a:gd name="T19" fmla="*/ 293688 h 70"/>
                  <a:gd name="T20" fmla="*/ 603250 w 138"/>
                  <a:gd name="T21" fmla="*/ 317500 h 70"/>
                  <a:gd name="T22" fmla="*/ 579438 w 138"/>
                  <a:gd name="T23" fmla="*/ 381000 h 70"/>
                  <a:gd name="T24" fmla="*/ 444500 w 138"/>
                  <a:gd name="T25" fmla="*/ 436563 h 70"/>
                  <a:gd name="T26" fmla="*/ 444500 w 138"/>
                  <a:gd name="T27" fmla="*/ 436563 h 70"/>
                  <a:gd name="T28" fmla="*/ 261938 w 138"/>
                  <a:gd name="T29" fmla="*/ 452438 h 70"/>
                  <a:gd name="T30" fmla="*/ 261938 w 138"/>
                  <a:gd name="T31" fmla="*/ 452438 h 70"/>
                  <a:gd name="T32" fmla="*/ 119063 w 138"/>
                  <a:gd name="T33" fmla="*/ 508000 h 70"/>
                  <a:gd name="T34" fmla="*/ 0 w 138"/>
                  <a:gd name="T35" fmla="*/ 555625 h 70"/>
                  <a:gd name="T36" fmla="*/ 23813 w 138"/>
                  <a:gd name="T37" fmla="*/ 460375 h 70"/>
                  <a:gd name="T38" fmla="*/ 47625 w 138"/>
                  <a:gd name="T39" fmla="*/ 333375 h 70"/>
                  <a:gd name="T40" fmla="*/ 119063 w 138"/>
                  <a:gd name="T41" fmla="*/ 269875 h 70"/>
                  <a:gd name="T42" fmla="*/ 142875 w 138"/>
                  <a:gd name="T43" fmla="*/ 254000 h 70"/>
                  <a:gd name="T44" fmla="*/ 261938 w 138"/>
                  <a:gd name="T45" fmla="*/ 174625 h 70"/>
                  <a:gd name="T46" fmla="*/ 317500 w 138"/>
                  <a:gd name="T47" fmla="*/ 134938 h 70"/>
                  <a:gd name="T48" fmla="*/ 317500 w 138"/>
                  <a:gd name="T49" fmla="*/ 79375 h 70"/>
                  <a:gd name="T50" fmla="*/ 333375 w 138"/>
                  <a:gd name="T51" fmla="*/ 7938 h 70"/>
                  <a:gd name="T52" fmla="*/ 365125 w 138"/>
                  <a:gd name="T53" fmla="*/ 23813 h 70"/>
                  <a:gd name="T54" fmla="*/ 396875 w 138"/>
                  <a:gd name="T55" fmla="*/ 31750 h 70"/>
                  <a:gd name="T56" fmla="*/ 436563 w 138"/>
                  <a:gd name="T57" fmla="*/ 55563 h 70"/>
                  <a:gd name="T58" fmla="*/ 468313 w 138"/>
                  <a:gd name="T59" fmla="*/ 63500 h 70"/>
                  <a:gd name="T60" fmla="*/ 523875 w 138"/>
                  <a:gd name="T61" fmla="*/ 87313 h 70"/>
                  <a:gd name="T62" fmla="*/ 571500 w 138"/>
                  <a:gd name="T63" fmla="*/ 111125 h 70"/>
                  <a:gd name="T64" fmla="*/ 619125 w 138"/>
                  <a:gd name="T65" fmla="*/ 119063 h 70"/>
                  <a:gd name="T66" fmla="*/ 619125 w 138"/>
                  <a:gd name="T67" fmla="*/ 119063 h 70"/>
                  <a:gd name="T68" fmla="*/ 674688 w 138"/>
                  <a:gd name="T69" fmla="*/ 119063 h 70"/>
                  <a:gd name="T70" fmla="*/ 674688 w 138"/>
                  <a:gd name="T71" fmla="*/ 119063 h 70"/>
                  <a:gd name="T72" fmla="*/ 730250 w 138"/>
                  <a:gd name="T73" fmla="*/ 158750 h 70"/>
                  <a:gd name="T74" fmla="*/ 730250 w 138"/>
                  <a:gd name="T75" fmla="*/ 111125 h 70"/>
                  <a:gd name="T76" fmla="*/ 801688 w 138"/>
                  <a:gd name="T77" fmla="*/ 95250 h 70"/>
                  <a:gd name="T78" fmla="*/ 841375 w 138"/>
                  <a:gd name="T79" fmla="*/ 111125 h 70"/>
                  <a:gd name="T80" fmla="*/ 896938 w 138"/>
                  <a:gd name="T81" fmla="*/ 119063 h 70"/>
                  <a:gd name="T82" fmla="*/ 984250 w 138"/>
                  <a:gd name="T83" fmla="*/ 87313 h 70"/>
                  <a:gd name="T84" fmla="*/ 1031875 w 138"/>
                  <a:gd name="T85" fmla="*/ 87313 h 70"/>
                  <a:gd name="T86" fmla="*/ 1031875 w 138"/>
                  <a:gd name="T87" fmla="*/ 87313 h 70"/>
                  <a:gd name="T88" fmla="*/ 1031875 w 138"/>
                  <a:gd name="T89" fmla="*/ 87313 h 7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38"/>
                  <a:gd name="T136" fmla="*/ 0 h 70"/>
                  <a:gd name="T137" fmla="*/ 138 w 138"/>
                  <a:gd name="T138" fmla="*/ 70 h 7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38" h="70">
                    <a:moveTo>
                      <a:pt x="130" y="11"/>
                    </a:moveTo>
                    <a:cubicBezTo>
                      <a:pt x="130" y="11"/>
                      <a:pt x="136" y="8"/>
                      <a:pt x="135" y="17"/>
                    </a:cubicBezTo>
                    <a:cubicBezTo>
                      <a:pt x="135" y="17"/>
                      <a:pt x="138" y="20"/>
                      <a:pt x="133" y="26"/>
                    </a:cubicBezTo>
                    <a:cubicBezTo>
                      <a:pt x="133" y="26"/>
                      <a:pt x="132" y="21"/>
                      <a:pt x="125" y="25"/>
                    </a:cubicBezTo>
                    <a:cubicBezTo>
                      <a:pt x="125" y="25"/>
                      <a:pt x="123" y="31"/>
                      <a:pt x="117" y="27"/>
                    </a:cubicBezTo>
                    <a:cubicBezTo>
                      <a:pt x="113" y="23"/>
                      <a:pt x="108" y="31"/>
                      <a:pt x="107" y="28"/>
                    </a:cubicBezTo>
                    <a:cubicBezTo>
                      <a:pt x="107" y="28"/>
                      <a:pt x="100" y="24"/>
                      <a:pt x="100" y="29"/>
                    </a:cubicBezTo>
                    <a:cubicBezTo>
                      <a:pt x="100" y="29"/>
                      <a:pt x="99" y="34"/>
                      <a:pt x="96" y="32"/>
                    </a:cubicBezTo>
                    <a:cubicBezTo>
                      <a:pt x="96" y="32"/>
                      <a:pt x="96" y="27"/>
                      <a:pt x="92" y="36"/>
                    </a:cubicBezTo>
                    <a:cubicBezTo>
                      <a:pt x="92" y="36"/>
                      <a:pt x="92" y="34"/>
                      <a:pt x="89" y="37"/>
                    </a:cubicBezTo>
                    <a:cubicBezTo>
                      <a:pt x="89" y="37"/>
                      <a:pt x="83" y="37"/>
                      <a:pt x="76" y="40"/>
                    </a:cubicBezTo>
                    <a:cubicBezTo>
                      <a:pt x="76" y="40"/>
                      <a:pt x="76" y="43"/>
                      <a:pt x="73" y="48"/>
                    </a:cubicBezTo>
                    <a:cubicBezTo>
                      <a:pt x="67" y="56"/>
                      <a:pt x="67" y="54"/>
                      <a:pt x="56" y="55"/>
                    </a:cubicBezTo>
                    <a:lnTo>
                      <a:pt x="33" y="57"/>
                    </a:lnTo>
                    <a:cubicBezTo>
                      <a:pt x="33" y="57"/>
                      <a:pt x="20" y="53"/>
                      <a:pt x="15" y="64"/>
                    </a:cubicBezTo>
                    <a:cubicBezTo>
                      <a:pt x="15" y="64"/>
                      <a:pt x="12" y="70"/>
                      <a:pt x="0" y="70"/>
                    </a:cubicBezTo>
                    <a:cubicBezTo>
                      <a:pt x="6" y="62"/>
                      <a:pt x="3" y="58"/>
                      <a:pt x="3" y="58"/>
                    </a:cubicBezTo>
                    <a:cubicBezTo>
                      <a:pt x="0" y="49"/>
                      <a:pt x="6" y="42"/>
                      <a:pt x="6" y="42"/>
                    </a:cubicBezTo>
                    <a:cubicBezTo>
                      <a:pt x="13" y="40"/>
                      <a:pt x="15" y="34"/>
                      <a:pt x="15" y="34"/>
                    </a:cubicBezTo>
                    <a:cubicBezTo>
                      <a:pt x="16" y="35"/>
                      <a:pt x="18" y="32"/>
                      <a:pt x="18" y="32"/>
                    </a:cubicBezTo>
                    <a:cubicBezTo>
                      <a:pt x="26" y="20"/>
                      <a:pt x="33" y="22"/>
                      <a:pt x="33" y="22"/>
                    </a:cubicBezTo>
                    <a:cubicBezTo>
                      <a:pt x="41" y="23"/>
                      <a:pt x="40" y="17"/>
                      <a:pt x="40" y="17"/>
                    </a:cubicBezTo>
                    <a:cubicBezTo>
                      <a:pt x="41" y="12"/>
                      <a:pt x="40" y="10"/>
                      <a:pt x="40" y="10"/>
                    </a:cubicBezTo>
                    <a:cubicBezTo>
                      <a:pt x="37" y="3"/>
                      <a:pt x="42" y="1"/>
                      <a:pt x="42" y="1"/>
                    </a:cubicBezTo>
                    <a:cubicBezTo>
                      <a:pt x="42" y="1"/>
                      <a:pt x="46" y="1"/>
                      <a:pt x="46" y="3"/>
                    </a:cubicBezTo>
                    <a:cubicBezTo>
                      <a:pt x="46" y="3"/>
                      <a:pt x="47" y="7"/>
                      <a:pt x="50" y="4"/>
                    </a:cubicBezTo>
                    <a:cubicBezTo>
                      <a:pt x="50" y="4"/>
                      <a:pt x="53" y="0"/>
                      <a:pt x="55" y="7"/>
                    </a:cubicBezTo>
                    <a:cubicBezTo>
                      <a:pt x="55" y="7"/>
                      <a:pt x="52" y="15"/>
                      <a:pt x="59" y="8"/>
                    </a:cubicBezTo>
                    <a:cubicBezTo>
                      <a:pt x="59" y="8"/>
                      <a:pt x="64" y="3"/>
                      <a:pt x="66" y="11"/>
                    </a:cubicBezTo>
                    <a:cubicBezTo>
                      <a:pt x="66" y="11"/>
                      <a:pt x="67" y="15"/>
                      <a:pt x="72" y="14"/>
                    </a:cubicBezTo>
                    <a:cubicBezTo>
                      <a:pt x="72" y="14"/>
                      <a:pt x="75" y="14"/>
                      <a:pt x="78" y="15"/>
                    </a:cubicBezTo>
                    <a:lnTo>
                      <a:pt x="85" y="15"/>
                    </a:lnTo>
                    <a:cubicBezTo>
                      <a:pt x="85" y="15"/>
                      <a:pt x="87" y="24"/>
                      <a:pt x="92" y="20"/>
                    </a:cubicBezTo>
                    <a:cubicBezTo>
                      <a:pt x="92" y="20"/>
                      <a:pt x="95" y="17"/>
                      <a:pt x="92" y="14"/>
                    </a:cubicBezTo>
                    <a:cubicBezTo>
                      <a:pt x="92" y="14"/>
                      <a:pt x="96" y="12"/>
                      <a:pt x="101" y="12"/>
                    </a:cubicBezTo>
                    <a:cubicBezTo>
                      <a:pt x="101" y="12"/>
                      <a:pt x="102" y="18"/>
                      <a:pt x="106" y="14"/>
                    </a:cubicBezTo>
                    <a:cubicBezTo>
                      <a:pt x="106" y="14"/>
                      <a:pt x="111" y="12"/>
                      <a:pt x="113" y="15"/>
                    </a:cubicBezTo>
                    <a:cubicBezTo>
                      <a:pt x="113" y="15"/>
                      <a:pt x="119" y="16"/>
                      <a:pt x="124" y="11"/>
                    </a:cubicBezTo>
                    <a:cubicBezTo>
                      <a:pt x="124" y="11"/>
                      <a:pt x="128" y="13"/>
                      <a:pt x="130" y="11"/>
                    </a:cubicBezTo>
                  </a:path>
                </a:pathLst>
              </a:custGeom>
              <a:solidFill>
                <a:schemeClr val="tx2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102" name="Freeform 1181">
                <a:extLst>
                  <a:ext uri="{FF2B5EF4-FFF2-40B4-BE49-F238E27FC236}">
                    <a16:creationId xmlns:a16="http://schemas.microsoft.com/office/drawing/2014/main" id="{C17162B7-326C-4BAB-8EB3-59B5F51DC9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889" y="3477244"/>
                <a:ext cx="882831" cy="713298"/>
              </a:xfrm>
              <a:custGeom>
                <a:avLst/>
                <a:gdLst>
                  <a:gd name="T0" fmla="*/ 579437 w 125"/>
                  <a:gd name="T1" fmla="*/ 285750 h 101"/>
                  <a:gd name="T2" fmla="*/ 523875 w 125"/>
                  <a:gd name="T3" fmla="*/ 277812 h 101"/>
                  <a:gd name="T4" fmla="*/ 523875 w 125"/>
                  <a:gd name="T5" fmla="*/ 277812 h 101"/>
                  <a:gd name="T6" fmla="*/ 476250 w 125"/>
                  <a:gd name="T7" fmla="*/ 246062 h 101"/>
                  <a:gd name="T8" fmla="*/ 428625 w 125"/>
                  <a:gd name="T9" fmla="*/ 214312 h 101"/>
                  <a:gd name="T10" fmla="*/ 388937 w 125"/>
                  <a:gd name="T11" fmla="*/ 182562 h 101"/>
                  <a:gd name="T12" fmla="*/ 349250 w 125"/>
                  <a:gd name="T13" fmla="*/ 150812 h 101"/>
                  <a:gd name="T14" fmla="*/ 333375 w 125"/>
                  <a:gd name="T15" fmla="*/ 55562 h 101"/>
                  <a:gd name="T16" fmla="*/ 333375 w 125"/>
                  <a:gd name="T17" fmla="*/ 55562 h 101"/>
                  <a:gd name="T18" fmla="*/ 269875 w 125"/>
                  <a:gd name="T19" fmla="*/ 39687 h 101"/>
                  <a:gd name="T20" fmla="*/ 269875 w 125"/>
                  <a:gd name="T21" fmla="*/ 39687 h 101"/>
                  <a:gd name="T22" fmla="*/ 214312 w 125"/>
                  <a:gd name="T23" fmla="*/ 15875 h 101"/>
                  <a:gd name="T24" fmla="*/ 206375 w 125"/>
                  <a:gd name="T25" fmla="*/ 39687 h 101"/>
                  <a:gd name="T26" fmla="*/ 150812 w 125"/>
                  <a:gd name="T27" fmla="*/ 103187 h 101"/>
                  <a:gd name="T28" fmla="*/ 119062 w 125"/>
                  <a:gd name="T29" fmla="*/ 182562 h 101"/>
                  <a:gd name="T30" fmla="*/ 23812 w 125"/>
                  <a:gd name="T31" fmla="*/ 285750 h 101"/>
                  <a:gd name="T32" fmla="*/ 0 w 125"/>
                  <a:gd name="T33" fmla="*/ 396875 h 101"/>
                  <a:gd name="T34" fmla="*/ 47625 w 125"/>
                  <a:gd name="T35" fmla="*/ 436562 h 101"/>
                  <a:gd name="T36" fmla="*/ 71437 w 125"/>
                  <a:gd name="T37" fmla="*/ 476250 h 101"/>
                  <a:gd name="T38" fmla="*/ 103187 w 125"/>
                  <a:gd name="T39" fmla="*/ 508000 h 101"/>
                  <a:gd name="T40" fmla="*/ 158750 w 125"/>
                  <a:gd name="T41" fmla="*/ 563562 h 101"/>
                  <a:gd name="T42" fmla="*/ 206375 w 125"/>
                  <a:gd name="T43" fmla="*/ 611187 h 101"/>
                  <a:gd name="T44" fmla="*/ 254000 w 125"/>
                  <a:gd name="T45" fmla="*/ 658812 h 101"/>
                  <a:gd name="T46" fmla="*/ 254000 w 125"/>
                  <a:gd name="T47" fmla="*/ 714375 h 101"/>
                  <a:gd name="T48" fmla="*/ 349250 w 125"/>
                  <a:gd name="T49" fmla="*/ 682625 h 101"/>
                  <a:gd name="T50" fmla="*/ 436562 w 125"/>
                  <a:gd name="T51" fmla="*/ 658812 h 101"/>
                  <a:gd name="T52" fmla="*/ 523875 w 125"/>
                  <a:gd name="T53" fmla="*/ 706437 h 101"/>
                  <a:gd name="T54" fmla="*/ 603250 w 125"/>
                  <a:gd name="T55" fmla="*/ 730250 h 101"/>
                  <a:gd name="T56" fmla="*/ 706437 w 125"/>
                  <a:gd name="T57" fmla="*/ 762000 h 101"/>
                  <a:gd name="T58" fmla="*/ 841375 w 125"/>
                  <a:gd name="T59" fmla="*/ 785812 h 101"/>
                  <a:gd name="T60" fmla="*/ 952500 w 125"/>
                  <a:gd name="T61" fmla="*/ 785812 h 101"/>
                  <a:gd name="T62" fmla="*/ 952500 w 125"/>
                  <a:gd name="T63" fmla="*/ 690562 h 101"/>
                  <a:gd name="T64" fmla="*/ 936625 w 125"/>
                  <a:gd name="T65" fmla="*/ 627062 h 101"/>
                  <a:gd name="T66" fmla="*/ 881062 w 125"/>
                  <a:gd name="T67" fmla="*/ 555625 h 101"/>
                  <a:gd name="T68" fmla="*/ 841375 w 125"/>
                  <a:gd name="T69" fmla="*/ 539750 h 101"/>
                  <a:gd name="T70" fmla="*/ 785812 w 125"/>
                  <a:gd name="T71" fmla="*/ 500062 h 101"/>
                  <a:gd name="T72" fmla="*/ 777875 w 125"/>
                  <a:gd name="T73" fmla="*/ 428625 h 101"/>
                  <a:gd name="T74" fmla="*/ 730250 w 125"/>
                  <a:gd name="T75" fmla="*/ 452437 h 101"/>
                  <a:gd name="T76" fmla="*/ 706437 w 125"/>
                  <a:gd name="T77" fmla="*/ 420687 h 101"/>
                  <a:gd name="T78" fmla="*/ 682625 w 125"/>
                  <a:gd name="T79" fmla="*/ 396875 h 101"/>
                  <a:gd name="T80" fmla="*/ 619125 w 125"/>
                  <a:gd name="T81" fmla="*/ 341312 h 101"/>
                  <a:gd name="T82" fmla="*/ 579437 w 125"/>
                  <a:gd name="T83" fmla="*/ 285750 h 101"/>
                  <a:gd name="T84" fmla="*/ 579437 w 125"/>
                  <a:gd name="T85" fmla="*/ 285750 h 101"/>
                  <a:gd name="T86" fmla="*/ 579437 w 125"/>
                  <a:gd name="T87" fmla="*/ 285750 h 101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25"/>
                  <a:gd name="T133" fmla="*/ 0 h 101"/>
                  <a:gd name="T134" fmla="*/ 125 w 125"/>
                  <a:gd name="T135" fmla="*/ 101 h 101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25" h="101">
                    <a:moveTo>
                      <a:pt x="73" y="36"/>
                    </a:moveTo>
                    <a:lnTo>
                      <a:pt x="66" y="35"/>
                    </a:lnTo>
                    <a:cubicBezTo>
                      <a:pt x="66" y="35"/>
                      <a:pt x="65" y="31"/>
                      <a:pt x="60" y="31"/>
                    </a:cubicBezTo>
                    <a:cubicBezTo>
                      <a:pt x="60" y="31"/>
                      <a:pt x="55" y="32"/>
                      <a:pt x="54" y="27"/>
                    </a:cubicBezTo>
                    <a:cubicBezTo>
                      <a:pt x="54" y="27"/>
                      <a:pt x="54" y="20"/>
                      <a:pt x="49" y="23"/>
                    </a:cubicBezTo>
                    <a:cubicBezTo>
                      <a:pt x="49" y="23"/>
                      <a:pt x="44" y="22"/>
                      <a:pt x="44" y="19"/>
                    </a:cubicBezTo>
                    <a:cubicBezTo>
                      <a:pt x="44" y="19"/>
                      <a:pt x="41" y="18"/>
                      <a:pt x="42" y="7"/>
                    </a:cubicBezTo>
                    <a:lnTo>
                      <a:pt x="34" y="5"/>
                    </a:lnTo>
                    <a:cubicBezTo>
                      <a:pt x="30" y="0"/>
                      <a:pt x="28" y="0"/>
                      <a:pt x="27" y="2"/>
                    </a:cubicBezTo>
                    <a:cubicBezTo>
                      <a:pt x="26" y="3"/>
                      <a:pt x="26" y="5"/>
                      <a:pt x="26" y="5"/>
                    </a:cubicBezTo>
                    <a:cubicBezTo>
                      <a:pt x="19" y="8"/>
                      <a:pt x="19" y="13"/>
                      <a:pt x="19" y="13"/>
                    </a:cubicBezTo>
                    <a:cubicBezTo>
                      <a:pt x="15" y="17"/>
                      <a:pt x="15" y="23"/>
                      <a:pt x="15" y="23"/>
                    </a:cubicBezTo>
                    <a:cubicBezTo>
                      <a:pt x="15" y="23"/>
                      <a:pt x="12" y="32"/>
                      <a:pt x="3" y="36"/>
                    </a:cubicBezTo>
                    <a:cubicBezTo>
                      <a:pt x="0" y="41"/>
                      <a:pt x="0" y="50"/>
                      <a:pt x="0" y="50"/>
                    </a:cubicBezTo>
                    <a:cubicBezTo>
                      <a:pt x="7" y="48"/>
                      <a:pt x="6" y="55"/>
                      <a:pt x="6" y="55"/>
                    </a:cubicBezTo>
                    <a:cubicBezTo>
                      <a:pt x="10" y="56"/>
                      <a:pt x="9" y="60"/>
                      <a:pt x="9" y="60"/>
                    </a:cubicBezTo>
                    <a:cubicBezTo>
                      <a:pt x="8" y="65"/>
                      <a:pt x="13" y="64"/>
                      <a:pt x="13" y="64"/>
                    </a:cubicBezTo>
                    <a:cubicBezTo>
                      <a:pt x="19" y="63"/>
                      <a:pt x="15" y="69"/>
                      <a:pt x="20" y="71"/>
                    </a:cubicBezTo>
                    <a:cubicBezTo>
                      <a:pt x="19" y="80"/>
                      <a:pt x="26" y="77"/>
                      <a:pt x="26" y="77"/>
                    </a:cubicBezTo>
                    <a:cubicBezTo>
                      <a:pt x="32" y="74"/>
                      <a:pt x="35" y="83"/>
                      <a:pt x="32" y="83"/>
                    </a:cubicBezTo>
                    <a:cubicBezTo>
                      <a:pt x="31" y="89"/>
                      <a:pt x="32" y="90"/>
                      <a:pt x="32" y="90"/>
                    </a:cubicBezTo>
                    <a:cubicBezTo>
                      <a:pt x="37" y="90"/>
                      <a:pt x="36" y="83"/>
                      <a:pt x="44" y="86"/>
                    </a:cubicBezTo>
                    <a:cubicBezTo>
                      <a:pt x="48" y="74"/>
                      <a:pt x="55" y="83"/>
                      <a:pt x="55" y="83"/>
                    </a:cubicBezTo>
                    <a:cubicBezTo>
                      <a:pt x="59" y="91"/>
                      <a:pt x="66" y="89"/>
                      <a:pt x="66" y="89"/>
                    </a:cubicBezTo>
                    <a:cubicBezTo>
                      <a:pt x="70" y="87"/>
                      <a:pt x="76" y="92"/>
                      <a:pt x="76" y="92"/>
                    </a:cubicBezTo>
                    <a:cubicBezTo>
                      <a:pt x="80" y="91"/>
                      <a:pt x="83" y="97"/>
                      <a:pt x="89" y="96"/>
                    </a:cubicBezTo>
                    <a:cubicBezTo>
                      <a:pt x="93" y="95"/>
                      <a:pt x="98" y="101"/>
                      <a:pt x="106" y="99"/>
                    </a:cubicBezTo>
                    <a:cubicBezTo>
                      <a:pt x="113" y="97"/>
                      <a:pt x="117" y="97"/>
                      <a:pt x="120" y="99"/>
                    </a:cubicBezTo>
                    <a:cubicBezTo>
                      <a:pt x="125" y="90"/>
                      <a:pt x="120" y="87"/>
                      <a:pt x="120" y="87"/>
                    </a:cubicBezTo>
                    <a:cubicBezTo>
                      <a:pt x="116" y="85"/>
                      <a:pt x="121" y="81"/>
                      <a:pt x="118" y="79"/>
                    </a:cubicBezTo>
                    <a:cubicBezTo>
                      <a:pt x="115" y="71"/>
                      <a:pt x="111" y="70"/>
                      <a:pt x="111" y="70"/>
                    </a:cubicBezTo>
                    <a:cubicBezTo>
                      <a:pt x="108" y="63"/>
                      <a:pt x="106" y="68"/>
                      <a:pt x="106" y="68"/>
                    </a:cubicBezTo>
                    <a:cubicBezTo>
                      <a:pt x="95" y="70"/>
                      <a:pt x="99" y="63"/>
                      <a:pt x="99" y="63"/>
                    </a:cubicBezTo>
                    <a:cubicBezTo>
                      <a:pt x="101" y="51"/>
                      <a:pt x="98" y="54"/>
                      <a:pt x="98" y="54"/>
                    </a:cubicBezTo>
                    <a:cubicBezTo>
                      <a:pt x="93" y="54"/>
                      <a:pt x="92" y="57"/>
                      <a:pt x="92" y="57"/>
                    </a:cubicBezTo>
                    <a:cubicBezTo>
                      <a:pt x="86" y="58"/>
                      <a:pt x="89" y="53"/>
                      <a:pt x="89" y="53"/>
                    </a:cubicBezTo>
                    <a:cubicBezTo>
                      <a:pt x="89" y="50"/>
                      <a:pt x="86" y="50"/>
                      <a:pt x="86" y="50"/>
                    </a:cubicBezTo>
                    <a:cubicBezTo>
                      <a:pt x="82" y="49"/>
                      <a:pt x="85" y="42"/>
                      <a:pt x="78" y="43"/>
                    </a:cubicBezTo>
                    <a:cubicBezTo>
                      <a:pt x="78" y="39"/>
                      <a:pt x="73" y="36"/>
                      <a:pt x="73" y="36"/>
                    </a:cubicBezTo>
                  </a:path>
                </a:pathLst>
              </a:custGeom>
              <a:solidFill>
                <a:schemeClr val="tx2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103" name="Freeform 1190">
                <a:extLst>
                  <a:ext uri="{FF2B5EF4-FFF2-40B4-BE49-F238E27FC236}">
                    <a16:creationId xmlns:a16="http://schemas.microsoft.com/office/drawing/2014/main" id="{088DB1B9-6100-46DF-B2AB-9C058D8322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0472" y="2970653"/>
                <a:ext cx="565013" cy="953419"/>
              </a:xfrm>
              <a:custGeom>
                <a:avLst/>
                <a:gdLst>
                  <a:gd name="T0" fmla="*/ 317500 w 80"/>
                  <a:gd name="T1" fmla="*/ 968375 h 135"/>
                  <a:gd name="T2" fmla="*/ 349250 w 80"/>
                  <a:gd name="T3" fmla="*/ 976312 h 135"/>
                  <a:gd name="T4" fmla="*/ 381000 w 80"/>
                  <a:gd name="T5" fmla="*/ 984250 h 135"/>
                  <a:gd name="T6" fmla="*/ 420688 w 80"/>
                  <a:gd name="T7" fmla="*/ 1008062 h 135"/>
                  <a:gd name="T8" fmla="*/ 452438 w 80"/>
                  <a:gd name="T9" fmla="*/ 1016000 h 135"/>
                  <a:gd name="T10" fmla="*/ 508000 w 80"/>
                  <a:gd name="T11" fmla="*/ 1039812 h 135"/>
                  <a:gd name="T12" fmla="*/ 555625 w 80"/>
                  <a:gd name="T13" fmla="*/ 1063625 h 135"/>
                  <a:gd name="T14" fmla="*/ 603250 w 80"/>
                  <a:gd name="T15" fmla="*/ 1071562 h 135"/>
                  <a:gd name="T16" fmla="*/ 587375 w 80"/>
                  <a:gd name="T17" fmla="*/ 1016000 h 135"/>
                  <a:gd name="T18" fmla="*/ 563563 w 80"/>
                  <a:gd name="T19" fmla="*/ 889000 h 135"/>
                  <a:gd name="T20" fmla="*/ 563563 w 80"/>
                  <a:gd name="T21" fmla="*/ 746125 h 135"/>
                  <a:gd name="T22" fmla="*/ 579438 w 80"/>
                  <a:gd name="T23" fmla="*/ 627062 h 135"/>
                  <a:gd name="T24" fmla="*/ 571500 w 80"/>
                  <a:gd name="T25" fmla="*/ 508000 h 135"/>
                  <a:gd name="T26" fmla="*/ 579438 w 80"/>
                  <a:gd name="T27" fmla="*/ 452437 h 135"/>
                  <a:gd name="T28" fmla="*/ 595313 w 80"/>
                  <a:gd name="T29" fmla="*/ 373062 h 135"/>
                  <a:gd name="T30" fmla="*/ 603250 w 80"/>
                  <a:gd name="T31" fmla="*/ 333375 h 135"/>
                  <a:gd name="T32" fmla="*/ 595313 w 80"/>
                  <a:gd name="T33" fmla="*/ 301625 h 135"/>
                  <a:gd name="T34" fmla="*/ 611188 w 80"/>
                  <a:gd name="T35" fmla="*/ 182562 h 135"/>
                  <a:gd name="T36" fmla="*/ 635000 w 80"/>
                  <a:gd name="T37" fmla="*/ 79375 h 135"/>
                  <a:gd name="T38" fmla="*/ 595313 w 80"/>
                  <a:gd name="T39" fmla="*/ 31750 h 135"/>
                  <a:gd name="T40" fmla="*/ 531813 w 80"/>
                  <a:gd name="T41" fmla="*/ 15875 h 135"/>
                  <a:gd name="T42" fmla="*/ 484188 w 80"/>
                  <a:gd name="T43" fmla="*/ 39687 h 135"/>
                  <a:gd name="T44" fmla="*/ 404813 w 80"/>
                  <a:gd name="T45" fmla="*/ 63500 h 135"/>
                  <a:gd name="T46" fmla="*/ 317500 w 80"/>
                  <a:gd name="T47" fmla="*/ 79375 h 135"/>
                  <a:gd name="T48" fmla="*/ 277813 w 80"/>
                  <a:gd name="T49" fmla="*/ 150812 h 135"/>
                  <a:gd name="T50" fmla="*/ 277813 w 80"/>
                  <a:gd name="T51" fmla="*/ 214312 h 135"/>
                  <a:gd name="T52" fmla="*/ 230188 w 80"/>
                  <a:gd name="T53" fmla="*/ 246062 h 135"/>
                  <a:gd name="T54" fmla="*/ 150813 w 80"/>
                  <a:gd name="T55" fmla="*/ 285750 h 135"/>
                  <a:gd name="T56" fmla="*/ 127000 w 80"/>
                  <a:gd name="T57" fmla="*/ 309562 h 135"/>
                  <a:gd name="T58" fmla="*/ 79375 w 80"/>
                  <a:gd name="T59" fmla="*/ 373062 h 135"/>
                  <a:gd name="T60" fmla="*/ 7938 w 80"/>
                  <a:gd name="T61" fmla="*/ 404812 h 135"/>
                  <a:gd name="T62" fmla="*/ 0 w 80"/>
                  <a:gd name="T63" fmla="*/ 436562 h 135"/>
                  <a:gd name="T64" fmla="*/ 31750 w 80"/>
                  <a:gd name="T65" fmla="*/ 571500 h 135"/>
                  <a:gd name="T66" fmla="*/ 39688 w 80"/>
                  <a:gd name="T67" fmla="*/ 619125 h 135"/>
                  <a:gd name="T68" fmla="*/ 23813 w 80"/>
                  <a:gd name="T69" fmla="*/ 666750 h 135"/>
                  <a:gd name="T70" fmla="*/ 79375 w 80"/>
                  <a:gd name="T71" fmla="*/ 690562 h 135"/>
                  <a:gd name="T72" fmla="*/ 47625 w 80"/>
                  <a:gd name="T73" fmla="*/ 714375 h 135"/>
                  <a:gd name="T74" fmla="*/ 95250 w 80"/>
                  <a:gd name="T75" fmla="*/ 769937 h 135"/>
                  <a:gd name="T76" fmla="*/ 119063 w 80"/>
                  <a:gd name="T77" fmla="*/ 793750 h 135"/>
                  <a:gd name="T78" fmla="*/ 150813 w 80"/>
                  <a:gd name="T79" fmla="*/ 817562 h 135"/>
                  <a:gd name="T80" fmla="*/ 174625 w 80"/>
                  <a:gd name="T81" fmla="*/ 849312 h 135"/>
                  <a:gd name="T82" fmla="*/ 222250 w 80"/>
                  <a:gd name="T83" fmla="*/ 849312 h 135"/>
                  <a:gd name="T84" fmla="*/ 269875 w 80"/>
                  <a:gd name="T85" fmla="*/ 881062 h 135"/>
                  <a:gd name="T86" fmla="*/ 317500 w 80"/>
                  <a:gd name="T87" fmla="*/ 968375 h 135"/>
                  <a:gd name="T88" fmla="*/ 317500 w 80"/>
                  <a:gd name="T89" fmla="*/ 968375 h 135"/>
                  <a:gd name="T90" fmla="*/ 317500 w 80"/>
                  <a:gd name="T91" fmla="*/ 968375 h 13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80"/>
                  <a:gd name="T139" fmla="*/ 0 h 135"/>
                  <a:gd name="T140" fmla="*/ 80 w 80"/>
                  <a:gd name="T141" fmla="*/ 135 h 135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80" h="135">
                    <a:moveTo>
                      <a:pt x="40" y="122"/>
                    </a:moveTo>
                    <a:cubicBezTo>
                      <a:pt x="40" y="122"/>
                      <a:pt x="44" y="121"/>
                      <a:pt x="44" y="123"/>
                    </a:cubicBezTo>
                    <a:cubicBezTo>
                      <a:pt x="44" y="123"/>
                      <a:pt x="45" y="127"/>
                      <a:pt x="48" y="124"/>
                    </a:cubicBezTo>
                    <a:cubicBezTo>
                      <a:pt x="48" y="124"/>
                      <a:pt x="51" y="120"/>
                      <a:pt x="53" y="127"/>
                    </a:cubicBezTo>
                    <a:cubicBezTo>
                      <a:pt x="53" y="127"/>
                      <a:pt x="50" y="135"/>
                      <a:pt x="57" y="128"/>
                    </a:cubicBezTo>
                    <a:cubicBezTo>
                      <a:pt x="57" y="128"/>
                      <a:pt x="62" y="123"/>
                      <a:pt x="64" y="131"/>
                    </a:cubicBezTo>
                    <a:cubicBezTo>
                      <a:pt x="64" y="131"/>
                      <a:pt x="65" y="135"/>
                      <a:pt x="70" y="134"/>
                    </a:cubicBezTo>
                    <a:cubicBezTo>
                      <a:pt x="70" y="134"/>
                      <a:pt x="73" y="134"/>
                      <a:pt x="76" y="135"/>
                    </a:cubicBezTo>
                    <a:cubicBezTo>
                      <a:pt x="77" y="130"/>
                      <a:pt x="74" y="128"/>
                      <a:pt x="74" y="128"/>
                    </a:cubicBezTo>
                    <a:cubicBezTo>
                      <a:pt x="70" y="124"/>
                      <a:pt x="71" y="112"/>
                      <a:pt x="71" y="112"/>
                    </a:cubicBezTo>
                    <a:cubicBezTo>
                      <a:pt x="70" y="105"/>
                      <a:pt x="71" y="94"/>
                      <a:pt x="71" y="94"/>
                    </a:cubicBezTo>
                    <a:cubicBezTo>
                      <a:pt x="74" y="91"/>
                      <a:pt x="70" y="85"/>
                      <a:pt x="73" y="79"/>
                    </a:cubicBezTo>
                    <a:cubicBezTo>
                      <a:pt x="76" y="72"/>
                      <a:pt x="72" y="64"/>
                      <a:pt x="72" y="64"/>
                    </a:cubicBezTo>
                    <a:cubicBezTo>
                      <a:pt x="70" y="59"/>
                      <a:pt x="73" y="57"/>
                      <a:pt x="73" y="57"/>
                    </a:cubicBezTo>
                    <a:cubicBezTo>
                      <a:pt x="73" y="57"/>
                      <a:pt x="75" y="54"/>
                      <a:pt x="75" y="47"/>
                    </a:cubicBezTo>
                    <a:cubicBezTo>
                      <a:pt x="74" y="46"/>
                      <a:pt x="76" y="42"/>
                      <a:pt x="76" y="42"/>
                    </a:cubicBezTo>
                    <a:cubicBezTo>
                      <a:pt x="78" y="39"/>
                      <a:pt x="75" y="38"/>
                      <a:pt x="75" y="38"/>
                    </a:cubicBezTo>
                    <a:cubicBezTo>
                      <a:pt x="71" y="27"/>
                      <a:pt x="77" y="23"/>
                      <a:pt x="77" y="23"/>
                    </a:cubicBezTo>
                    <a:cubicBezTo>
                      <a:pt x="77" y="13"/>
                      <a:pt x="80" y="17"/>
                      <a:pt x="80" y="10"/>
                    </a:cubicBezTo>
                    <a:cubicBezTo>
                      <a:pt x="77" y="9"/>
                      <a:pt x="79" y="0"/>
                      <a:pt x="75" y="4"/>
                    </a:cubicBezTo>
                    <a:cubicBezTo>
                      <a:pt x="72" y="1"/>
                      <a:pt x="67" y="2"/>
                      <a:pt x="67" y="2"/>
                    </a:cubicBezTo>
                    <a:cubicBezTo>
                      <a:pt x="63" y="1"/>
                      <a:pt x="61" y="5"/>
                      <a:pt x="61" y="5"/>
                    </a:cubicBezTo>
                    <a:cubicBezTo>
                      <a:pt x="58" y="8"/>
                      <a:pt x="51" y="8"/>
                      <a:pt x="51" y="8"/>
                    </a:cubicBezTo>
                    <a:cubicBezTo>
                      <a:pt x="46" y="11"/>
                      <a:pt x="41" y="3"/>
                      <a:pt x="40" y="10"/>
                    </a:cubicBezTo>
                    <a:cubicBezTo>
                      <a:pt x="41" y="13"/>
                      <a:pt x="35" y="19"/>
                      <a:pt x="35" y="19"/>
                    </a:cubicBezTo>
                    <a:cubicBezTo>
                      <a:pt x="39" y="24"/>
                      <a:pt x="35" y="27"/>
                      <a:pt x="35" y="27"/>
                    </a:cubicBezTo>
                    <a:cubicBezTo>
                      <a:pt x="35" y="30"/>
                      <a:pt x="29" y="31"/>
                      <a:pt x="29" y="31"/>
                    </a:cubicBezTo>
                    <a:cubicBezTo>
                      <a:pt x="16" y="30"/>
                      <a:pt x="19" y="36"/>
                      <a:pt x="19" y="36"/>
                    </a:cubicBezTo>
                    <a:cubicBezTo>
                      <a:pt x="22" y="39"/>
                      <a:pt x="16" y="39"/>
                      <a:pt x="16" y="39"/>
                    </a:cubicBezTo>
                    <a:cubicBezTo>
                      <a:pt x="12" y="48"/>
                      <a:pt x="10" y="47"/>
                      <a:pt x="10" y="47"/>
                    </a:cubicBezTo>
                    <a:cubicBezTo>
                      <a:pt x="8" y="50"/>
                      <a:pt x="3" y="47"/>
                      <a:pt x="1" y="51"/>
                    </a:cubicBezTo>
                    <a:cubicBezTo>
                      <a:pt x="0" y="51"/>
                      <a:pt x="0" y="55"/>
                      <a:pt x="0" y="55"/>
                    </a:cubicBezTo>
                    <a:cubicBezTo>
                      <a:pt x="0" y="55"/>
                      <a:pt x="4" y="63"/>
                      <a:pt x="4" y="72"/>
                    </a:cubicBezTo>
                    <a:cubicBezTo>
                      <a:pt x="4" y="72"/>
                      <a:pt x="7" y="77"/>
                      <a:pt x="5" y="78"/>
                    </a:cubicBezTo>
                    <a:cubicBezTo>
                      <a:pt x="5" y="78"/>
                      <a:pt x="3" y="81"/>
                      <a:pt x="3" y="84"/>
                    </a:cubicBezTo>
                    <a:cubicBezTo>
                      <a:pt x="3" y="84"/>
                      <a:pt x="10" y="84"/>
                      <a:pt x="10" y="87"/>
                    </a:cubicBezTo>
                    <a:cubicBezTo>
                      <a:pt x="10" y="87"/>
                      <a:pt x="12" y="90"/>
                      <a:pt x="6" y="90"/>
                    </a:cubicBezTo>
                    <a:cubicBezTo>
                      <a:pt x="13" y="91"/>
                      <a:pt x="9" y="96"/>
                      <a:pt x="12" y="97"/>
                    </a:cubicBezTo>
                    <a:cubicBezTo>
                      <a:pt x="12" y="97"/>
                      <a:pt x="16" y="93"/>
                      <a:pt x="15" y="100"/>
                    </a:cubicBezTo>
                    <a:cubicBezTo>
                      <a:pt x="15" y="100"/>
                      <a:pt x="14" y="109"/>
                      <a:pt x="19" y="103"/>
                    </a:cubicBezTo>
                    <a:cubicBezTo>
                      <a:pt x="19" y="103"/>
                      <a:pt x="22" y="97"/>
                      <a:pt x="22" y="107"/>
                    </a:cubicBezTo>
                    <a:cubicBezTo>
                      <a:pt x="22" y="107"/>
                      <a:pt x="19" y="115"/>
                      <a:pt x="28" y="107"/>
                    </a:cubicBezTo>
                    <a:cubicBezTo>
                      <a:pt x="28" y="107"/>
                      <a:pt x="33" y="105"/>
                      <a:pt x="34" y="111"/>
                    </a:cubicBezTo>
                    <a:cubicBezTo>
                      <a:pt x="34" y="111"/>
                      <a:pt x="42" y="113"/>
                      <a:pt x="40" y="122"/>
                    </a:cubicBezTo>
                  </a:path>
                </a:pathLst>
              </a:custGeom>
              <a:solidFill>
                <a:schemeClr val="accent4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104" name="Freeform 1191">
                <a:extLst>
                  <a:ext uri="{FF2B5EF4-FFF2-40B4-BE49-F238E27FC236}">
                    <a16:creationId xmlns:a16="http://schemas.microsoft.com/office/drawing/2014/main" id="{D3162795-5AD8-4253-BE3C-387C6FE915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8462" y="3323770"/>
                <a:ext cx="741579" cy="988730"/>
              </a:xfrm>
              <a:custGeom>
                <a:avLst/>
                <a:gdLst>
                  <a:gd name="T0" fmla="*/ 0 w 105"/>
                  <a:gd name="T1" fmla="*/ 452438 h 140"/>
                  <a:gd name="T2" fmla="*/ 7937 w 105"/>
                  <a:gd name="T3" fmla="*/ 365125 h 140"/>
                  <a:gd name="T4" fmla="*/ 31750 w 105"/>
                  <a:gd name="T5" fmla="*/ 301625 h 140"/>
                  <a:gd name="T6" fmla="*/ 71437 w 105"/>
                  <a:gd name="T7" fmla="*/ 269875 h 140"/>
                  <a:gd name="T8" fmla="*/ 127000 w 105"/>
                  <a:gd name="T9" fmla="*/ 238125 h 140"/>
                  <a:gd name="T10" fmla="*/ 206375 w 105"/>
                  <a:gd name="T11" fmla="*/ 230188 h 140"/>
                  <a:gd name="T12" fmla="*/ 309562 w 105"/>
                  <a:gd name="T13" fmla="*/ 222250 h 140"/>
                  <a:gd name="T14" fmla="*/ 388937 w 105"/>
                  <a:gd name="T15" fmla="*/ 198438 h 140"/>
                  <a:gd name="T16" fmla="*/ 341312 w 105"/>
                  <a:gd name="T17" fmla="*/ 190500 h 140"/>
                  <a:gd name="T18" fmla="*/ 341312 w 105"/>
                  <a:gd name="T19" fmla="*/ 134938 h 140"/>
                  <a:gd name="T20" fmla="*/ 373062 w 105"/>
                  <a:gd name="T21" fmla="*/ 71438 h 140"/>
                  <a:gd name="T22" fmla="*/ 412750 w 105"/>
                  <a:gd name="T23" fmla="*/ 23813 h 140"/>
                  <a:gd name="T24" fmla="*/ 468312 w 105"/>
                  <a:gd name="T25" fmla="*/ 23813 h 140"/>
                  <a:gd name="T26" fmla="*/ 508000 w 105"/>
                  <a:gd name="T27" fmla="*/ 39688 h 140"/>
                  <a:gd name="T28" fmla="*/ 539750 w 105"/>
                  <a:gd name="T29" fmla="*/ 174625 h 140"/>
                  <a:gd name="T30" fmla="*/ 547687 w 105"/>
                  <a:gd name="T31" fmla="*/ 222250 h 140"/>
                  <a:gd name="T32" fmla="*/ 531812 w 105"/>
                  <a:gd name="T33" fmla="*/ 269875 h 140"/>
                  <a:gd name="T34" fmla="*/ 587375 w 105"/>
                  <a:gd name="T35" fmla="*/ 293688 h 140"/>
                  <a:gd name="T36" fmla="*/ 555625 w 105"/>
                  <a:gd name="T37" fmla="*/ 317500 h 140"/>
                  <a:gd name="T38" fmla="*/ 603250 w 105"/>
                  <a:gd name="T39" fmla="*/ 373063 h 140"/>
                  <a:gd name="T40" fmla="*/ 627062 w 105"/>
                  <a:gd name="T41" fmla="*/ 396875 h 140"/>
                  <a:gd name="T42" fmla="*/ 658812 w 105"/>
                  <a:gd name="T43" fmla="*/ 420688 h 140"/>
                  <a:gd name="T44" fmla="*/ 682625 w 105"/>
                  <a:gd name="T45" fmla="*/ 452438 h 140"/>
                  <a:gd name="T46" fmla="*/ 730250 w 105"/>
                  <a:gd name="T47" fmla="*/ 452438 h 140"/>
                  <a:gd name="T48" fmla="*/ 777875 w 105"/>
                  <a:gd name="T49" fmla="*/ 484188 h 140"/>
                  <a:gd name="T50" fmla="*/ 825500 w 105"/>
                  <a:gd name="T51" fmla="*/ 563563 h 140"/>
                  <a:gd name="T52" fmla="*/ 809625 w 105"/>
                  <a:gd name="T53" fmla="*/ 635000 h 140"/>
                  <a:gd name="T54" fmla="*/ 809625 w 105"/>
                  <a:gd name="T55" fmla="*/ 690563 h 140"/>
                  <a:gd name="T56" fmla="*/ 754062 w 105"/>
                  <a:gd name="T57" fmla="*/ 730250 h 140"/>
                  <a:gd name="T58" fmla="*/ 635000 w 105"/>
                  <a:gd name="T59" fmla="*/ 809625 h 140"/>
                  <a:gd name="T60" fmla="*/ 611187 w 105"/>
                  <a:gd name="T61" fmla="*/ 825500 h 140"/>
                  <a:gd name="T62" fmla="*/ 539750 w 105"/>
                  <a:gd name="T63" fmla="*/ 889000 h 140"/>
                  <a:gd name="T64" fmla="*/ 515937 w 105"/>
                  <a:gd name="T65" fmla="*/ 1016000 h 140"/>
                  <a:gd name="T66" fmla="*/ 492125 w 105"/>
                  <a:gd name="T67" fmla="*/ 1111250 h 140"/>
                  <a:gd name="T68" fmla="*/ 412750 w 105"/>
                  <a:gd name="T69" fmla="*/ 1031875 h 140"/>
                  <a:gd name="T70" fmla="*/ 373062 w 105"/>
                  <a:gd name="T71" fmla="*/ 960438 h 140"/>
                  <a:gd name="T72" fmla="*/ 373062 w 105"/>
                  <a:gd name="T73" fmla="*/ 865188 h 140"/>
                  <a:gd name="T74" fmla="*/ 357187 w 105"/>
                  <a:gd name="T75" fmla="*/ 801688 h 140"/>
                  <a:gd name="T76" fmla="*/ 301625 w 105"/>
                  <a:gd name="T77" fmla="*/ 730250 h 140"/>
                  <a:gd name="T78" fmla="*/ 261937 w 105"/>
                  <a:gd name="T79" fmla="*/ 714375 h 140"/>
                  <a:gd name="T80" fmla="*/ 206375 w 105"/>
                  <a:gd name="T81" fmla="*/ 674688 h 140"/>
                  <a:gd name="T82" fmla="*/ 198437 w 105"/>
                  <a:gd name="T83" fmla="*/ 603250 h 140"/>
                  <a:gd name="T84" fmla="*/ 150812 w 105"/>
                  <a:gd name="T85" fmla="*/ 627063 h 140"/>
                  <a:gd name="T86" fmla="*/ 127000 w 105"/>
                  <a:gd name="T87" fmla="*/ 595313 h 140"/>
                  <a:gd name="T88" fmla="*/ 103187 w 105"/>
                  <a:gd name="T89" fmla="*/ 571500 h 140"/>
                  <a:gd name="T90" fmla="*/ 39687 w 105"/>
                  <a:gd name="T91" fmla="*/ 515938 h 140"/>
                  <a:gd name="T92" fmla="*/ 0 w 105"/>
                  <a:gd name="T93" fmla="*/ 452438 h 140"/>
                  <a:gd name="T94" fmla="*/ 0 w 105"/>
                  <a:gd name="T95" fmla="*/ 452438 h 140"/>
                  <a:gd name="T96" fmla="*/ 0 w 105"/>
                  <a:gd name="T97" fmla="*/ 452438 h 14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05"/>
                  <a:gd name="T148" fmla="*/ 0 h 140"/>
                  <a:gd name="T149" fmla="*/ 105 w 105"/>
                  <a:gd name="T150" fmla="*/ 140 h 14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05" h="140">
                    <a:moveTo>
                      <a:pt x="0" y="57"/>
                    </a:moveTo>
                    <a:cubicBezTo>
                      <a:pt x="2" y="50"/>
                      <a:pt x="1" y="46"/>
                      <a:pt x="1" y="46"/>
                    </a:cubicBezTo>
                    <a:cubicBezTo>
                      <a:pt x="0" y="39"/>
                      <a:pt x="4" y="38"/>
                      <a:pt x="4" y="38"/>
                    </a:cubicBezTo>
                    <a:cubicBezTo>
                      <a:pt x="8" y="37"/>
                      <a:pt x="9" y="34"/>
                      <a:pt x="9" y="34"/>
                    </a:cubicBezTo>
                    <a:cubicBezTo>
                      <a:pt x="8" y="27"/>
                      <a:pt x="16" y="30"/>
                      <a:pt x="16" y="30"/>
                    </a:cubicBezTo>
                    <a:cubicBezTo>
                      <a:pt x="25" y="32"/>
                      <a:pt x="26" y="29"/>
                      <a:pt x="26" y="29"/>
                    </a:cubicBezTo>
                    <a:cubicBezTo>
                      <a:pt x="30" y="27"/>
                      <a:pt x="39" y="28"/>
                      <a:pt x="39" y="28"/>
                    </a:cubicBezTo>
                    <a:cubicBezTo>
                      <a:pt x="49" y="28"/>
                      <a:pt x="49" y="25"/>
                      <a:pt x="49" y="25"/>
                    </a:cubicBezTo>
                    <a:cubicBezTo>
                      <a:pt x="48" y="23"/>
                      <a:pt x="43" y="24"/>
                      <a:pt x="43" y="24"/>
                    </a:cubicBezTo>
                    <a:cubicBezTo>
                      <a:pt x="42" y="21"/>
                      <a:pt x="43" y="17"/>
                      <a:pt x="43" y="17"/>
                    </a:cubicBezTo>
                    <a:cubicBezTo>
                      <a:pt x="49" y="16"/>
                      <a:pt x="47" y="9"/>
                      <a:pt x="47" y="9"/>
                    </a:cubicBezTo>
                    <a:cubicBezTo>
                      <a:pt x="46" y="2"/>
                      <a:pt x="52" y="3"/>
                      <a:pt x="52" y="3"/>
                    </a:cubicBezTo>
                    <a:cubicBezTo>
                      <a:pt x="54" y="0"/>
                      <a:pt x="59" y="3"/>
                      <a:pt x="59" y="3"/>
                    </a:cubicBezTo>
                    <a:cubicBezTo>
                      <a:pt x="60" y="6"/>
                      <a:pt x="64" y="5"/>
                      <a:pt x="64" y="5"/>
                    </a:cubicBezTo>
                    <a:cubicBezTo>
                      <a:pt x="64" y="5"/>
                      <a:pt x="68" y="13"/>
                      <a:pt x="68" y="22"/>
                    </a:cubicBezTo>
                    <a:cubicBezTo>
                      <a:pt x="68" y="22"/>
                      <a:pt x="71" y="27"/>
                      <a:pt x="69" y="28"/>
                    </a:cubicBezTo>
                    <a:cubicBezTo>
                      <a:pt x="69" y="28"/>
                      <a:pt x="67" y="31"/>
                      <a:pt x="67" y="34"/>
                    </a:cubicBezTo>
                    <a:cubicBezTo>
                      <a:pt x="67" y="34"/>
                      <a:pt x="74" y="34"/>
                      <a:pt x="74" y="37"/>
                    </a:cubicBezTo>
                    <a:cubicBezTo>
                      <a:pt x="74" y="37"/>
                      <a:pt x="76" y="40"/>
                      <a:pt x="70" y="40"/>
                    </a:cubicBezTo>
                    <a:cubicBezTo>
                      <a:pt x="77" y="41"/>
                      <a:pt x="73" y="46"/>
                      <a:pt x="76" y="47"/>
                    </a:cubicBezTo>
                    <a:cubicBezTo>
                      <a:pt x="76" y="47"/>
                      <a:pt x="80" y="43"/>
                      <a:pt x="79" y="50"/>
                    </a:cubicBezTo>
                    <a:cubicBezTo>
                      <a:pt x="79" y="50"/>
                      <a:pt x="78" y="59"/>
                      <a:pt x="83" y="53"/>
                    </a:cubicBezTo>
                    <a:cubicBezTo>
                      <a:pt x="83" y="53"/>
                      <a:pt x="86" y="47"/>
                      <a:pt x="86" y="57"/>
                    </a:cubicBezTo>
                    <a:cubicBezTo>
                      <a:pt x="86" y="57"/>
                      <a:pt x="83" y="65"/>
                      <a:pt x="92" y="57"/>
                    </a:cubicBezTo>
                    <a:cubicBezTo>
                      <a:pt x="92" y="57"/>
                      <a:pt x="97" y="55"/>
                      <a:pt x="98" y="61"/>
                    </a:cubicBezTo>
                    <a:cubicBezTo>
                      <a:pt x="98" y="61"/>
                      <a:pt x="105" y="62"/>
                      <a:pt x="104" y="71"/>
                    </a:cubicBezTo>
                    <a:cubicBezTo>
                      <a:pt x="104" y="71"/>
                      <a:pt x="99" y="73"/>
                      <a:pt x="102" y="80"/>
                    </a:cubicBezTo>
                    <a:cubicBezTo>
                      <a:pt x="102" y="80"/>
                      <a:pt x="103" y="82"/>
                      <a:pt x="102" y="87"/>
                    </a:cubicBezTo>
                    <a:cubicBezTo>
                      <a:pt x="102" y="87"/>
                      <a:pt x="103" y="93"/>
                      <a:pt x="95" y="92"/>
                    </a:cubicBezTo>
                    <a:cubicBezTo>
                      <a:pt x="95" y="92"/>
                      <a:pt x="88" y="90"/>
                      <a:pt x="80" y="102"/>
                    </a:cubicBezTo>
                    <a:cubicBezTo>
                      <a:pt x="80" y="102"/>
                      <a:pt x="78" y="105"/>
                      <a:pt x="77" y="104"/>
                    </a:cubicBezTo>
                    <a:cubicBezTo>
                      <a:pt x="77" y="104"/>
                      <a:pt x="75" y="110"/>
                      <a:pt x="68" y="112"/>
                    </a:cubicBezTo>
                    <a:cubicBezTo>
                      <a:pt x="68" y="112"/>
                      <a:pt x="62" y="119"/>
                      <a:pt x="65" y="128"/>
                    </a:cubicBezTo>
                    <a:cubicBezTo>
                      <a:pt x="65" y="128"/>
                      <a:pt x="68" y="132"/>
                      <a:pt x="62" y="140"/>
                    </a:cubicBezTo>
                    <a:cubicBezTo>
                      <a:pt x="62" y="140"/>
                      <a:pt x="58" y="129"/>
                      <a:pt x="52" y="130"/>
                    </a:cubicBezTo>
                    <a:cubicBezTo>
                      <a:pt x="52" y="130"/>
                      <a:pt x="53" y="123"/>
                      <a:pt x="47" y="121"/>
                    </a:cubicBezTo>
                    <a:cubicBezTo>
                      <a:pt x="53" y="112"/>
                      <a:pt x="47" y="109"/>
                      <a:pt x="47" y="109"/>
                    </a:cubicBezTo>
                    <a:cubicBezTo>
                      <a:pt x="43" y="107"/>
                      <a:pt x="48" y="103"/>
                      <a:pt x="45" y="101"/>
                    </a:cubicBezTo>
                    <a:cubicBezTo>
                      <a:pt x="42" y="93"/>
                      <a:pt x="38" y="92"/>
                      <a:pt x="38" y="92"/>
                    </a:cubicBezTo>
                    <a:cubicBezTo>
                      <a:pt x="35" y="85"/>
                      <a:pt x="33" y="90"/>
                      <a:pt x="33" y="90"/>
                    </a:cubicBezTo>
                    <a:cubicBezTo>
                      <a:pt x="22" y="92"/>
                      <a:pt x="26" y="85"/>
                      <a:pt x="26" y="85"/>
                    </a:cubicBezTo>
                    <a:cubicBezTo>
                      <a:pt x="28" y="73"/>
                      <a:pt x="25" y="76"/>
                      <a:pt x="25" y="76"/>
                    </a:cubicBezTo>
                    <a:cubicBezTo>
                      <a:pt x="20" y="76"/>
                      <a:pt x="19" y="79"/>
                      <a:pt x="19" y="79"/>
                    </a:cubicBezTo>
                    <a:cubicBezTo>
                      <a:pt x="13" y="80"/>
                      <a:pt x="16" y="75"/>
                      <a:pt x="16" y="75"/>
                    </a:cubicBezTo>
                    <a:cubicBezTo>
                      <a:pt x="16" y="72"/>
                      <a:pt x="13" y="72"/>
                      <a:pt x="13" y="72"/>
                    </a:cubicBezTo>
                    <a:cubicBezTo>
                      <a:pt x="9" y="71"/>
                      <a:pt x="12" y="64"/>
                      <a:pt x="5" y="65"/>
                    </a:cubicBezTo>
                    <a:cubicBezTo>
                      <a:pt x="5" y="61"/>
                      <a:pt x="0" y="57"/>
                      <a:pt x="0" y="57"/>
                    </a:cubicBezTo>
                  </a:path>
                </a:pathLst>
              </a:custGeom>
              <a:solidFill>
                <a:schemeClr val="tx2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105" name="Freeform 1192">
                <a:extLst>
                  <a:ext uri="{FF2B5EF4-FFF2-40B4-BE49-F238E27FC236}">
                    <a16:creationId xmlns:a16="http://schemas.microsoft.com/office/drawing/2014/main" id="{A40A908F-8C93-4BAB-A060-E9D18305BB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1831" y="2730534"/>
                <a:ext cx="1024085" cy="995793"/>
              </a:xfrm>
              <a:custGeom>
                <a:avLst/>
                <a:gdLst>
                  <a:gd name="T0" fmla="*/ 87312 w 145"/>
                  <a:gd name="T1" fmla="*/ 896937 h 141"/>
                  <a:gd name="T2" fmla="*/ 63500 w 145"/>
                  <a:gd name="T3" fmla="*/ 833437 h 141"/>
                  <a:gd name="T4" fmla="*/ 47625 w 145"/>
                  <a:gd name="T5" fmla="*/ 762000 h 141"/>
                  <a:gd name="T6" fmla="*/ 55562 w 145"/>
                  <a:gd name="T7" fmla="*/ 666750 h 141"/>
                  <a:gd name="T8" fmla="*/ 47625 w 145"/>
                  <a:gd name="T9" fmla="*/ 603250 h 141"/>
                  <a:gd name="T10" fmla="*/ 158750 w 145"/>
                  <a:gd name="T11" fmla="*/ 452437 h 141"/>
                  <a:gd name="T12" fmla="*/ 492125 w 145"/>
                  <a:gd name="T13" fmla="*/ 150812 h 141"/>
                  <a:gd name="T14" fmla="*/ 571500 w 145"/>
                  <a:gd name="T15" fmla="*/ 111125 h 141"/>
                  <a:gd name="T16" fmla="*/ 635000 w 145"/>
                  <a:gd name="T17" fmla="*/ 79375 h 141"/>
                  <a:gd name="T18" fmla="*/ 674687 w 145"/>
                  <a:gd name="T19" fmla="*/ 47625 h 141"/>
                  <a:gd name="T20" fmla="*/ 674687 w 145"/>
                  <a:gd name="T21" fmla="*/ 0 h 141"/>
                  <a:gd name="T22" fmla="*/ 738187 w 145"/>
                  <a:gd name="T23" fmla="*/ 31750 h 141"/>
                  <a:gd name="T24" fmla="*/ 785812 w 145"/>
                  <a:gd name="T25" fmla="*/ 47625 h 141"/>
                  <a:gd name="T26" fmla="*/ 817562 w 145"/>
                  <a:gd name="T27" fmla="*/ 71437 h 141"/>
                  <a:gd name="T28" fmla="*/ 793750 w 145"/>
                  <a:gd name="T29" fmla="*/ 119062 h 141"/>
                  <a:gd name="T30" fmla="*/ 817562 w 145"/>
                  <a:gd name="T31" fmla="*/ 134937 h 141"/>
                  <a:gd name="T32" fmla="*/ 865187 w 145"/>
                  <a:gd name="T33" fmla="*/ 166687 h 141"/>
                  <a:gd name="T34" fmla="*/ 920750 w 145"/>
                  <a:gd name="T35" fmla="*/ 198437 h 141"/>
                  <a:gd name="T36" fmla="*/ 992187 w 145"/>
                  <a:gd name="T37" fmla="*/ 198437 h 141"/>
                  <a:gd name="T38" fmla="*/ 1016000 w 145"/>
                  <a:gd name="T39" fmla="*/ 230187 h 141"/>
                  <a:gd name="T40" fmla="*/ 1071562 w 145"/>
                  <a:gd name="T41" fmla="*/ 246062 h 141"/>
                  <a:gd name="T42" fmla="*/ 1055687 w 145"/>
                  <a:gd name="T43" fmla="*/ 285750 h 141"/>
                  <a:gd name="T44" fmla="*/ 1063625 w 145"/>
                  <a:gd name="T45" fmla="*/ 365125 h 141"/>
                  <a:gd name="T46" fmla="*/ 1063625 w 145"/>
                  <a:gd name="T47" fmla="*/ 365125 h 141"/>
                  <a:gd name="T48" fmla="*/ 1119187 w 145"/>
                  <a:gd name="T49" fmla="*/ 420687 h 141"/>
                  <a:gd name="T50" fmla="*/ 1119187 w 145"/>
                  <a:gd name="T51" fmla="*/ 420687 h 141"/>
                  <a:gd name="T52" fmla="*/ 1119187 w 145"/>
                  <a:gd name="T53" fmla="*/ 484187 h 141"/>
                  <a:gd name="T54" fmla="*/ 1071562 w 145"/>
                  <a:gd name="T55" fmla="*/ 515937 h 141"/>
                  <a:gd name="T56" fmla="*/ 992187 w 145"/>
                  <a:gd name="T57" fmla="*/ 555625 h 141"/>
                  <a:gd name="T58" fmla="*/ 968375 w 145"/>
                  <a:gd name="T59" fmla="*/ 579437 h 141"/>
                  <a:gd name="T60" fmla="*/ 920750 w 145"/>
                  <a:gd name="T61" fmla="*/ 642937 h 141"/>
                  <a:gd name="T62" fmla="*/ 849312 w 145"/>
                  <a:gd name="T63" fmla="*/ 674687 h 141"/>
                  <a:gd name="T64" fmla="*/ 841375 w 145"/>
                  <a:gd name="T65" fmla="*/ 706437 h 141"/>
                  <a:gd name="T66" fmla="*/ 801687 w 145"/>
                  <a:gd name="T67" fmla="*/ 690562 h 141"/>
                  <a:gd name="T68" fmla="*/ 746125 w 145"/>
                  <a:gd name="T69" fmla="*/ 690562 h 141"/>
                  <a:gd name="T70" fmla="*/ 706437 w 145"/>
                  <a:gd name="T71" fmla="*/ 738187 h 141"/>
                  <a:gd name="T72" fmla="*/ 674687 w 145"/>
                  <a:gd name="T73" fmla="*/ 801687 h 141"/>
                  <a:gd name="T74" fmla="*/ 674687 w 145"/>
                  <a:gd name="T75" fmla="*/ 857250 h 141"/>
                  <a:gd name="T76" fmla="*/ 722312 w 145"/>
                  <a:gd name="T77" fmla="*/ 865187 h 141"/>
                  <a:gd name="T78" fmla="*/ 642937 w 145"/>
                  <a:gd name="T79" fmla="*/ 889000 h 141"/>
                  <a:gd name="T80" fmla="*/ 539750 w 145"/>
                  <a:gd name="T81" fmla="*/ 896937 h 141"/>
                  <a:gd name="T82" fmla="*/ 460375 w 145"/>
                  <a:gd name="T83" fmla="*/ 904875 h 141"/>
                  <a:gd name="T84" fmla="*/ 404812 w 145"/>
                  <a:gd name="T85" fmla="*/ 936625 h 141"/>
                  <a:gd name="T86" fmla="*/ 365125 w 145"/>
                  <a:gd name="T87" fmla="*/ 968375 h 141"/>
                  <a:gd name="T88" fmla="*/ 341312 w 145"/>
                  <a:gd name="T89" fmla="*/ 1031875 h 141"/>
                  <a:gd name="T90" fmla="*/ 333375 w 145"/>
                  <a:gd name="T91" fmla="*/ 1119187 h 141"/>
                  <a:gd name="T92" fmla="*/ 333375 w 145"/>
                  <a:gd name="T93" fmla="*/ 1119187 h 141"/>
                  <a:gd name="T94" fmla="*/ 277812 w 145"/>
                  <a:gd name="T95" fmla="*/ 1119187 h 141"/>
                  <a:gd name="T96" fmla="*/ 277812 w 145"/>
                  <a:gd name="T97" fmla="*/ 1119187 h 141"/>
                  <a:gd name="T98" fmla="*/ 230187 w 145"/>
                  <a:gd name="T99" fmla="*/ 1087437 h 141"/>
                  <a:gd name="T100" fmla="*/ 182562 w 145"/>
                  <a:gd name="T101" fmla="*/ 1055687 h 141"/>
                  <a:gd name="T102" fmla="*/ 142875 w 145"/>
                  <a:gd name="T103" fmla="*/ 1023937 h 141"/>
                  <a:gd name="T104" fmla="*/ 103187 w 145"/>
                  <a:gd name="T105" fmla="*/ 992187 h 141"/>
                  <a:gd name="T106" fmla="*/ 87312 w 145"/>
                  <a:gd name="T107" fmla="*/ 896937 h 141"/>
                  <a:gd name="T108" fmla="*/ 87312 w 145"/>
                  <a:gd name="T109" fmla="*/ 896937 h 141"/>
                  <a:gd name="T110" fmla="*/ 87312 w 145"/>
                  <a:gd name="T111" fmla="*/ 896937 h 14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45"/>
                  <a:gd name="T169" fmla="*/ 0 h 141"/>
                  <a:gd name="T170" fmla="*/ 145 w 145"/>
                  <a:gd name="T171" fmla="*/ 141 h 14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45" h="141">
                    <a:moveTo>
                      <a:pt x="11" y="113"/>
                    </a:moveTo>
                    <a:cubicBezTo>
                      <a:pt x="11" y="113"/>
                      <a:pt x="13" y="108"/>
                      <a:pt x="8" y="105"/>
                    </a:cubicBezTo>
                    <a:cubicBezTo>
                      <a:pt x="8" y="105"/>
                      <a:pt x="2" y="103"/>
                      <a:pt x="6" y="96"/>
                    </a:cubicBezTo>
                    <a:cubicBezTo>
                      <a:pt x="6" y="96"/>
                      <a:pt x="9" y="93"/>
                      <a:pt x="7" y="84"/>
                    </a:cubicBezTo>
                    <a:cubicBezTo>
                      <a:pt x="7" y="84"/>
                      <a:pt x="5" y="84"/>
                      <a:pt x="6" y="76"/>
                    </a:cubicBezTo>
                    <a:cubicBezTo>
                      <a:pt x="6" y="76"/>
                      <a:pt x="0" y="75"/>
                      <a:pt x="20" y="57"/>
                    </a:cubicBezTo>
                    <a:cubicBezTo>
                      <a:pt x="20" y="57"/>
                      <a:pt x="41" y="31"/>
                      <a:pt x="62" y="19"/>
                    </a:cubicBezTo>
                    <a:cubicBezTo>
                      <a:pt x="62" y="19"/>
                      <a:pt x="61" y="13"/>
                      <a:pt x="72" y="14"/>
                    </a:cubicBezTo>
                    <a:cubicBezTo>
                      <a:pt x="72" y="14"/>
                      <a:pt x="81" y="15"/>
                      <a:pt x="80" y="10"/>
                    </a:cubicBezTo>
                    <a:cubicBezTo>
                      <a:pt x="80" y="10"/>
                      <a:pt x="78" y="5"/>
                      <a:pt x="85" y="6"/>
                    </a:cubicBezTo>
                    <a:cubicBezTo>
                      <a:pt x="85" y="6"/>
                      <a:pt x="85" y="3"/>
                      <a:pt x="85" y="0"/>
                    </a:cubicBezTo>
                    <a:cubicBezTo>
                      <a:pt x="89" y="5"/>
                      <a:pt x="93" y="4"/>
                      <a:pt x="93" y="4"/>
                    </a:cubicBezTo>
                    <a:cubicBezTo>
                      <a:pt x="97" y="3"/>
                      <a:pt x="99" y="6"/>
                      <a:pt x="99" y="6"/>
                    </a:cubicBezTo>
                    <a:cubicBezTo>
                      <a:pt x="103" y="6"/>
                      <a:pt x="103" y="9"/>
                      <a:pt x="103" y="9"/>
                    </a:cubicBezTo>
                    <a:cubicBezTo>
                      <a:pt x="104" y="12"/>
                      <a:pt x="97" y="13"/>
                      <a:pt x="100" y="15"/>
                    </a:cubicBezTo>
                    <a:cubicBezTo>
                      <a:pt x="101" y="19"/>
                      <a:pt x="103" y="17"/>
                      <a:pt x="103" y="17"/>
                    </a:cubicBezTo>
                    <a:cubicBezTo>
                      <a:pt x="108" y="18"/>
                      <a:pt x="109" y="21"/>
                      <a:pt x="109" y="21"/>
                    </a:cubicBezTo>
                    <a:cubicBezTo>
                      <a:pt x="111" y="27"/>
                      <a:pt x="116" y="25"/>
                      <a:pt x="116" y="25"/>
                    </a:cubicBezTo>
                    <a:cubicBezTo>
                      <a:pt x="120" y="23"/>
                      <a:pt x="125" y="25"/>
                      <a:pt x="125" y="25"/>
                    </a:cubicBezTo>
                    <a:cubicBezTo>
                      <a:pt x="129" y="26"/>
                      <a:pt x="128" y="29"/>
                      <a:pt x="128" y="29"/>
                    </a:cubicBezTo>
                    <a:cubicBezTo>
                      <a:pt x="127" y="32"/>
                      <a:pt x="135" y="31"/>
                      <a:pt x="135" y="31"/>
                    </a:cubicBezTo>
                    <a:cubicBezTo>
                      <a:pt x="136" y="33"/>
                      <a:pt x="133" y="36"/>
                      <a:pt x="133" y="36"/>
                    </a:cubicBezTo>
                    <a:cubicBezTo>
                      <a:pt x="132" y="43"/>
                      <a:pt x="134" y="46"/>
                      <a:pt x="134" y="46"/>
                    </a:cubicBezTo>
                    <a:lnTo>
                      <a:pt x="141" y="53"/>
                    </a:lnTo>
                    <a:cubicBezTo>
                      <a:pt x="145" y="58"/>
                      <a:pt x="141" y="61"/>
                      <a:pt x="141" y="61"/>
                    </a:cubicBezTo>
                    <a:cubicBezTo>
                      <a:pt x="141" y="64"/>
                      <a:pt x="135" y="65"/>
                      <a:pt x="135" y="65"/>
                    </a:cubicBezTo>
                    <a:cubicBezTo>
                      <a:pt x="122" y="64"/>
                      <a:pt x="125" y="70"/>
                      <a:pt x="125" y="70"/>
                    </a:cubicBezTo>
                    <a:cubicBezTo>
                      <a:pt x="128" y="73"/>
                      <a:pt x="122" y="73"/>
                      <a:pt x="122" y="73"/>
                    </a:cubicBezTo>
                    <a:cubicBezTo>
                      <a:pt x="118" y="82"/>
                      <a:pt x="116" y="81"/>
                      <a:pt x="116" y="81"/>
                    </a:cubicBezTo>
                    <a:cubicBezTo>
                      <a:pt x="114" y="84"/>
                      <a:pt x="109" y="81"/>
                      <a:pt x="107" y="85"/>
                    </a:cubicBezTo>
                    <a:cubicBezTo>
                      <a:pt x="106" y="85"/>
                      <a:pt x="106" y="89"/>
                      <a:pt x="106" y="89"/>
                    </a:cubicBezTo>
                    <a:cubicBezTo>
                      <a:pt x="106" y="89"/>
                      <a:pt x="102" y="90"/>
                      <a:pt x="101" y="87"/>
                    </a:cubicBezTo>
                    <a:cubicBezTo>
                      <a:pt x="101" y="87"/>
                      <a:pt x="96" y="84"/>
                      <a:pt x="94" y="87"/>
                    </a:cubicBezTo>
                    <a:cubicBezTo>
                      <a:pt x="94" y="87"/>
                      <a:pt x="88" y="86"/>
                      <a:pt x="89" y="93"/>
                    </a:cubicBezTo>
                    <a:cubicBezTo>
                      <a:pt x="89" y="93"/>
                      <a:pt x="91" y="100"/>
                      <a:pt x="85" y="101"/>
                    </a:cubicBezTo>
                    <a:cubicBezTo>
                      <a:pt x="85" y="101"/>
                      <a:pt x="84" y="105"/>
                      <a:pt x="85" y="108"/>
                    </a:cubicBezTo>
                    <a:cubicBezTo>
                      <a:pt x="85" y="108"/>
                      <a:pt x="90" y="107"/>
                      <a:pt x="91" y="109"/>
                    </a:cubicBezTo>
                    <a:cubicBezTo>
                      <a:pt x="91" y="109"/>
                      <a:pt x="91" y="112"/>
                      <a:pt x="81" y="112"/>
                    </a:cubicBezTo>
                    <a:cubicBezTo>
                      <a:pt x="81" y="112"/>
                      <a:pt x="72" y="111"/>
                      <a:pt x="68" y="113"/>
                    </a:cubicBezTo>
                    <a:cubicBezTo>
                      <a:pt x="68" y="113"/>
                      <a:pt x="67" y="116"/>
                      <a:pt x="58" y="114"/>
                    </a:cubicBezTo>
                    <a:cubicBezTo>
                      <a:pt x="58" y="114"/>
                      <a:pt x="50" y="111"/>
                      <a:pt x="51" y="118"/>
                    </a:cubicBezTo>
                    <a:cubicBezTo>
                      <a:pt x="51" y="118"/>
                      <a:pt x="50" y="121"/>
                      <a:pt x="46" y="122"/>
                    </a:cubicBezTo>
                    <a:cubicBezTo>
                      <a:pt x="46" y="122"/>
                      <a:pt x="42" y="123"/>
                      <a:pt x="43" y="130"/>
                    </a:cubicBezTo>
                    <a:cubicBezTo>
                      <a:pt x="43" y="130"/>
                      <a:pt x="45" y="134"/>
                      <a:pt x="42" y="141"/>
                    </a:cubicBezTo>
                    <a:lnTo>
                      <a:pt x="35" y="141"/>
                    </a:lnTo>
                    <a:cubicBezTo>
                      <a:pt x="35" y="141"/>
                      <a:pt x="34" y="137"/>
                      <a:pt x="29" y="137"/>
                    </a:cubicBezTo>
                    <a:cubicBezTo>
                      <a:pt x="29" y="137"/>
                      <a:pt x="24" y="138"/>
                      <a:pt x="23" y="133"/>
                    </a:cubicBezTo>
                    <a:cubicBezTo>
                      <a:pt x="23" y="133"/>
                      <a:pt x="23" y="126"/>
                      <a:pt x="18" y="129"/>
                    </a:cubicBezTo>
                    <a:cubicBezTo>
                      <a:pt x="18" y="129"/>
                      <a:pt x="13" y="128"/>
                      <a:pt x="13" y="125"/>
                    </a:cubicBezTo>
                    <a:cubicBezTo>
                      <a:pt x="13" y="125"/>
                      <a:pt x="10" y="124"/>
                      <a:pt x="11" y="113"/>
                    </a:cubicBezTo>
                  </a:path>
                </a:pathLst>
              </a:custGeom>
              <a:solidFill>
                <a:schemeClr val="tx2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106" name="Freeform 1193">
                <a:extLst>
                  <a:ext uri="{FF2B5EF4-FFF2-40B4-BE49-F238E27FC236}">
                    <a16:creationId xmlns:a16="http://schemas.microsoft.com/office/drawing/2014/main" id="{50DA0D1F-8087-445D-853C-608A1E718A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7966" y="2024299"/>
                <a:ext cx="840457" cy="911042"/>
              </a:xfrm>
              <a:custGeom>
                <a:avLst/>
                <a:gdLst>
                  <a:gd name="T0" fmla="*/ 150812 w 119"/>
                  <a:gd name="T1" fmla="*/ 793750 h 129"/>
                  <a:gd name="T2" fmla="*/ 119062 w 119"/>
                  <a:gd name="T3" fmla="*/ 690562 h 129"/>
                  <a:gd name="T4" fmla="*/ 119062 w 119"/>
                  <a:gd name="T5" fmla="*/ 650875 h 129"/>
                  <a:gd name="T6" fmla="*/ 174625 w 119"/>
                  <a:gd name="T7" fmla="*/ 650875 h 129"/>
                  <a:gd name="T8" fmla="*/ 95250 w 119"/>
                  <a:gd name="T9" fmla="*/ 500062 h 129"/>
                  <a:gd name="T10" fmla="*/ 63500 w 119"/>
                  <a:gd name="T11" fmla="*/ 428625 h 129"/>
                  <a:gd name="T12" fmla="*/ 23812 w 119"/>
                  <a:gd name="T13" fmla="*/ 357187 h 129"/>
                  <a:gd name="T14" fmla="*/ 39687 w 119"/>
                  <a:gd name="T15" fmla="*/ 293687 h 129"/>
                  <a:gd name="T16" fmla="*/ 39687 w 119"/>
                  <a:gd name="T17" fmla="*/ 293687 h 129"/>
                  <a:gd name="T18" fmla="*/ 15875 w 119"/>
                  <a:gd name="T19" fmla="*/ 214312 h 129"/>
                  <a:gd name="T20" fmla="*/ 15875 w 119"/>
                  <a:gd name="T21" fmla="*/ 214312 h 129"/>
                  <a:gd name="T22" fmla="*/ 55562 w 119"/>
                  <a:gd name="T23" fmla="*/ 158750 h 129"/>
                  <a:gd name="T24" fmla="*/ 142875 w 119"/>
                  <a:gd name="T25" fmla="*/ 174625 h 129"/>
                  <a:gd name="T26" fmla="*/ 198437 w 119"/>
                  <a:gd name="T27" fmla="*/ 166687 h 129"/>
                  <a:gd name="T28" fmla="*/ 277812 w 119"/>
                  <a:gd name="T29" fmla="*/ 111125 h 129"/>
                  <a:gd name="T30" fmla="*/ 309562 w 119"/>
                  <a:gd name="T31" fmla="*/ 47625 h 129"/>
                  <a:gd name="T32" fmla="*/ 428625 w 119"/>
                  <a:gd name="T33" fmla="*/ 31750 h 129"/>
                  <a:gd name="T34" fmla="*/ 595312 w 119"/>
                  <a:gd name="T35" fmla="*/ 23812 h 129"/>
                  <a:gd name="T36" fmla="*/ 690562 w 119"/>
                  <a:gd name="T37" fmla="*/ 39687 h 129"/>
                  <a:gd name="T38" fmla="*/ 754062 w 119"/>
                  <a:gd name="T39" fmla="*/ 47625 h 129"/>
                  <a:gd name="T40" fmla="*/ 762000 w 119"/>
                  <a:gd name="T41" fmla="*/ 87312 h 129"/>
                  <a:gd name="T42" fmla="*/ 754062 w 119"/>
                  <a:gd name="T43" fmla="*/ 134937 h 129"/>
                  <a:gd name="T44" fmla="*/ 730250 w 119"/>
                  <a:gd name="T45" fmla="*/ 182562 h 129"/>
                  <a:gd name="T46" fmla="*/ 746125 w 119"/>
                  <a:gd name="T47" fmla="*/ 246062 h 129"/>
                  <a:gd name="T48" fmla="*/ 746125 w 119"/>
                  <a:gd name="T49" fmla="*/ 285750 h 129"/>
                  <a:gd name="T50" fmla="*/ 730250 w 119"/>
                  <a:gd name="T51" fmla="*/ 381000 h 129"/>
                  <a:gd name="T52" fmla="*/ 769937 w 119"/>
                  <a:gd name="T53" fmla="*/ 388937 h 129"/>
                  <a:gd name="T54" fmla="*/ 833437 w 119"/>
                  <a:gd name="T55" fmla="*/ 420687 h 129"/>
                  <a:gd name="T56" fmla="*/ 873125 w 119"/>
                  <a:gd name="T57" fmla="*/ 484187 h 129"/>
                  <a:gd name="T58" fmla="*/ 896937 w 119"/>
                  <a:gd name="T59" fmla="*/ 547687 h 129"/>
                  <a:gd name="T60" fmla="*/ 865187 w 119"/>
                  <a:gd name="T61" fmla="*/ 587375 h 129"/>
                  <a:gd name="T62" fmla="*/ 912812 w 119"/>
                  <a:gd name="T63" fmla="*/ 627062 h 129"/>
                  <a:gd name="T64" fmla="*/ 865187 w 119"/>
                  <a:gd name="T65" fmla="*/ 658812 h 129"/>
                  <a:gd name="T66" fmla="*/ 873125 w 119"/>
                  <a:gd name="T67" fmla="*/ 706437 h 129"/>
                  <a:gd name="T68" fmla="*/ 833437 w 119"/>
                  <a:gd name="T69" fmla="*/ 746125 h 129"/>
                  <a:gd name="T70" fmla="*/ 825500 w 119"/>
                  <a:gd name="T71" fmla="*/ 793750 h 129"/>
                  <a:gd name="T72" fmla="*/ 777875 w 119"/>
                  <a:gd name="T73" fmla="*/ 833437 h 129"/>
                  <a:gd name="T74" fmla="*/ 730250 w 119"/>
                  <a:gd name="T75" fmla="*/ 801687 h 129"/>
                  <a:gd name="T76" fmla="*/ 666750 w 119"/>
                  <a:gd name="T77" fmla="*/ 817562 h 129"/>
                  <a:gd name="T78" fmla="*/ 611187 w 119"/>
                  <a:gd name="T79" fmla="*/ 833437 h 129"/>
                  <a:gd name="T80" fmla="*/ 571500 w 119"/>
                  <a:gd name="T81" fmla="*/ 873125 h 129"/>
                  <a:gd name="T82" fmla="*/ 523875 w 119"/>
                  <a:gd name="T83" fmla="*/ 944562 h 129"/>
                  <a:gd name="T84" fmla="*/ 523875 w 119"/>
                  <a:gd name="T85" fmla="*/ 992187 h 129"/>
                  <a:gd name="T86" fmla="*/ 500062 w 119"/>
                  <a:gd name="T87" fmla="*/ 1023937 h 129"/>
                  <a:gd name="T88" fmla="*/ 468312 w 119"/>
                  <a:gd name="T89" fmla="*/ 992187 h 129"/>
                  <a:gd name="T90" fmla="*/ 396875 w 119"/>
                  <a:gd name="T91" fmla="*/ 992187 h 129"/>
                  <a:gd name="T92" fmla="*/ 341312 w 119"/>
                  <a:gd name="T93" fmla="*/ 960437 h 129"/>
                  <a:gd name="T94" fmla="*/ 293687 w 119"/>
                  <a:gd name="T95" fmla="*/ 928687 h 129"/>
                  <a:gd name="T96" fmla="*/ 269875 w 119"/>
                  <a:gd name="T97" fmla="*/ 912812 h 129"/>
                  <a:gd name="T98" fmla="*/ 293687 w 119"/>
                  <a:gd name="T99" fmla="*/ 865187 h 129"/>
                  <a:gd name="T100" fmla="*/ 261937 w 119"/>
                  <a:gd name="T101" fmla="*/ 841375 h 129"/>
                  <a:gd name="T102" fmla="*/ 214312 w 119"/>
                  <a:gd name="T103" fmla="*/ 825500 h 129"/>
                  <a:gd name="T104" fmla="*/ 150812 w 119"/>
                  <a:gd name="T105" fmla="*/ 793750 h 129"/>
                  <a:gd name="T106" fmla="*/ 150812 w 119"/>
                  <a:gd name="T107" fmla="*/ 793750 h 129"/>
                  <a:gd name="T108" fmla="*/ 150812 w 119"/>
                  <a:gd name="T109" fmla="*/ 793750 h 129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19"/>
                  <a:gd name="T166" fmla="*/ 0 h 129"/>
                  <a:gd name="T167" fmla="*/ 119 w 119"/>
                  <a:gd name="T168" fmla="*/ 129 h 129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19" h="129">
                    <a:moveTo>
                      <a:pt x="19" y="100"/>
                    </a:moveTo>
                    <a:cubicBezTo>
                      <a:pt x="19" y="96"/>
                      <a:pt x="18" y="92"/>
                      <a:pt x="15" y="87"/>
                    </a:cubicBezTo>
                    <a:cubicBezTo>
                      <a:pt x="15" y="87"/>
                      <a:pt x="10" y="84"/>
                      <a:pt x="15" y="82"/>
                    </a:cubicBezTo>
                    <a:cubicBezTo>
                      <a:pt x="15" y="82"/>
                      <a:pt x="18" y="81"/>
                      <a:pt x="22" y="82"/>
                    </a:cubicBezTo>
                    <a:cubicBezTo>
                      <a:pt x="22" y="78"/>
                      <a:pt x="13" y="78"/>
                      <a:pt x="12" y="63"/>
                    </a:cubicBezTo>
                    <a:cubicBezTo>
                      <a:pt x="10" y="61"/>
                      <a:pt x="13" y="54"/>
                      <a:pt x="8" y="54"/>
                    </a:cubicBezTo>
                    <a:cubicBezTo>
                      <a:pt x="3" y="53"/>
                      <a:pt x="6" y="46"/>
                      <a:pt x="3" y="45"/>
                    </a:cubicBezTo>
                    <a:cubicBezTo>
                      <a:pt x="3" y="45"/>
                      <a:pt x="0" y="44"/>
                      <a:pt x="5" y="37"/>
                    </a:cubicBezTo>
                    <a:lnTo>
                      <a:pt x="2" y="27"/>
                    </a:lnTo>
                    <a:cubicBezTo>
                      <a:pt x="2" y="27"/>
                      <a:pt x="2" y="19"/>
                      <a:pt x="7" y="20"/>
                    </a:cubicBezTo>
                    <a:cubicBezTo>
                      <a:pt x="7" y="20"/>
                      <a:pt x="16" y="19"/>
                      <a:pt x="18" y="22"/>
                    </a:cubicBezTo>
                    <a:cubicBezTo>
                      <a:pt x="18" y="22"/>
                      <a:pt x="15" y="29"/>
                      <a:pt x="25" y="21"/>
                    </a:cubicBezTo>
                    <a:cubicBezTo>
                      <a:pt x="25" y="21"/>
                      <a:pt x="32" y="18"/>
                      <a:pt x="35" y="14"/>
                    </a:cubicBezTo>
                    <a:cubicBezTo>
                      <a:pt x="35" y="14"/>
                      <a:pt x="36" y="9"/>
                      <a:pt x="39" y="6"/>
                    </a:cubicBezTo>
                    <a:cubicBezTo>
                      <a:pt x="39" y="6"/>
                      <a:pt x="40" y="1"/>
                      <a:pt x="54" y="4"/>
                    </a:cubicBezTo>
                    <a:cubicBezTo>
                      <a:pt x="54" y="4"/>
                      <a:pt x="69" y="6"/>
                      <a:pt x="75" y="3"/>
                    </a:cubicBezTo>
                    <a:cubicBezTo>
                      <a:pt x="86" y="0"/>
                      <a:pt x="83" y="4"/>
                      <a:pt x="87" y="5"/>
                    </a:cubicBezTo>
                    <a:cubicBezTo>
                      <a:pt x="87" y="5"/>
                      <a:pt x="90" y="6"/>
                      <a:pt x="95" y="6"/>
                    </a:cubicBezTo>
                    <a:cubicBezTo>
                      <a:pt x="95" y="10"/>
                      <a:pt x="96" y="11"/>
                      <a:pt x="96" y="11"/>
                    </a:cubicBezTo>
                    <a:cubicBezTo>
                      <a:pt x="100" y="11"/>
                      <a:pt x="99" y="18"/>
                      <a:pt x="95" y="17"/>
                    </a:cubicBezTo>
                    <a:cubicBezTo>
                      <a:pt x="93" y="19"/>
                      <a:pt x="92" y="23"/>
                      <a:pt x="92" y="23"/>
                    </a:cubicBezTo>
                    <a:cubicBezTo>
                      <a:pt x="91" y="29"/>
                      <a:pt x="94" y="31"/>
                      <a:pt x="94" y="31"/>
                    </a:cubicBezTo>
                    <a:cubicBezTo>
                      <a:pt x="97" y="34"/>
                      <a:pt x="94" y="36"/>
                      <a:pt x="94" y="36"/>
                    </a:cubicBezTo>
                    <a:cubicBezTo>
                      <a:pt x="94" y="46"/>
                      <a:pt x="92" y="48"/>
                      <a:pt x="92" y="48"/>
                    </a:cubicBezTo>
                    <a:cubicBezTo>
                      <a:pt x="93" y="55"/>
                      <a:pt x="97" y="49"/>
                      <a:pt x="97" y="49"/>
                    </a:cubicBezTo>
                    <a:cubicBezTo>
                      <a:pt x="104" y="47"/>
                      <a:pt x="105" y="53"/>
                      <a:pt x="105" y="53"/>
                    </a:cubicBezTo>
                    <a:cubicBezTo>
                      <a:pt x="107" y="60"/>
                      <a:pt x="110" y="61"/>
                      <a:pt x="110" y="61"/>
                    </a:cubicBezTo>
                    <a:cubicBezTo>
                      <a:pt x="119" y="69"/>
                      <a:pt x="113" y="69"/>
                      <a:pt x="113" y="69"/>
                    </a:cubicBezTo>
                    <a:cubicBezTo>
                      <a:pt x="109" y="70"/>
                      <a:pt x="109" y="74"/>
                      <a:pt x="109" y="74"/>
                    </a:cubicBezTo>
                    <a:cubicBezTo>
                      <a:pt x="117" y="74"/>
                      <a:pt x="115" y="79"/>
                      <a:pt x="115" y="79"/>
                    </a:cubicBezTo>
                    <a:cubicBezTo>
                      <a:pt x="116" y="83"/>
                      <a:pt x="109" y="81"/>
                      <a:pt x="109" y="83"/>
                    </a:cubicBezTo>
                    <a:cubicBezTo>
                      <a:pt x="115" y="87"/>
                      <a:pt x="110" y="89"/>
                      <a:pt x="110" y="89"/>
                    </a:cubicBezTo>
                    <a:cubicBezTo>
                      <a:pt x="110" y="92"/>
                      <a:pt x="105" y="94"/>
                      <a:pt x="105" y="94"/>
                    </a:cubicBezTo>
                    <a:cubicBezTo>
                      <a:pt x="102" y="96"/>
                      <a:pt x="104" y="100"/>
                      <a:pt x="104" y="100"/>
                    </a:cubicBezTo>
                    <a:cubicBezTo>
                      <a:pt x="104" y="110"/>
                      <a:pt x="98" y="105"/>
                      <a:pt x="98" y="105"/>
                    </a:cubicBezTo>
                    <a:cubicBezTo>
                      <a:pt x="95" y="105"/>
                      <a:pt x="95" y="101"/>
                      <a:pt x="92" y="101"/>
                    </a:cubicBezTo>
                    <a:cubicBezTo>
                      <a:pt x="89" y="100"/>
                      <a:pt x="89" y="103"/>
                      <a:pt x="84" y="103"/>
                    </a:cubicBezTo>
                    <a:cubicBezTo>
                      <a:pt x="78" y="102"/>
                      <a:pt x="77" y="105"/>
                      <a:pt x="77" y="105"/>
                    </a:cubicBezTo>
                    <a:cubicBezTo>
                      <a:pt x="75" y="107"/>
                      <a:pt x="76" y="112"/>
                      <a:pt x="72" y="110"/>
                    </a:cubicBezTo>
                    <a:cubicBezTo>
                      <a:pt x="65" y="109"/>
                      <a:pt x="66" y="119"/>
                      <a:pt x="66" y="119"/>
                    </a:cubicBezTo>
                    <a:cubicBezTo>
                      <a:pt x="71" y="123"/>
                      <a:pt x="66" y="125"/>
                      <a:pt x="66" y="125"/>
                    </a:cubicBezTo>
                    <a:cubicBezTo>
                      <a:pt x="65" y="128"/>
                      <a:pt x="63" y="129"/>
                      <a:pt x="63" y="129"/>
                    </a:cubicBezTo>
                    <a:cubicBezTo>
                      <a:pt x="63" y="129"/>
                      <a:pt x="63" y="126"/>
                      <a:pt x="59" y="125"/>
                    </a:cubicBezTo>
                    <a:cubicBezTo>
                      <a:pt x="59" y="125"/>
                      <a:pt x="54" y="123"/>
                      <a:pt x="50" y="125"/>
                    </a:cubicBezTo>
                    <a:cubicBezTo>
                      <a:pt x="50" y="125"/>
                      <a:pt x="45" y="127"/>
                      <a:pt x="43" y="121"/>
                    </a:cubicBezTo>
                    <a:cubicBezTo>
                      <a:pt x="43" y="121"/>
                      <a:pt x="42" y="118"/>
                      <a:pt x="37" y="117"/>
                    </a:cubicBezTo>
                    <a:cubicBezTo>
                      <a:pt x="37" y="117"/>
                      <a:pt x="35" y="119"/>
                      <a:pt x="34" y="115"/>
                    </a:cubicBezTo>
                    <a:cubicBezTo>
                      <a:pt x="31" y="113"/>
                      <a:pt x="38" y="112"/>
                      <a:pt x="37" y="109"/>
                    </a:cubicBezTo>
                    <a:cubicBezTo>
                      <a:pt x="37" y="109"/>
                      <a:pt x="37" y="106"/>
                      <a:pt x="33" y="106"/>
                    </a:cubicBezTo>
                    <a:cubicBezTo>
                      <a:pt x="33" y="106"/>
                      <a:pt x="31" y="103"/>
                      <a:pt x="27" y="104"/>
                    </a:cubicBezTo>
                    <a:cubicBezTo>
                      <a:pt x="27" y="104"/>
                      <a:pt x="23" y="105"/>
                      <a:pt x="19" y="100"/>
                    </a:cubicBezTo>
                  </a:path>
                </a:pathLst>
              </a:custGeom>
              <a:solidFill>
                <a:schemeClr val="accent2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107" name="Freeform 1194">
                <a:extLst>
                  <a:ext uri="{FF2B5EF4-FFF2-40B4-BE49-F238E27FC236}">
                    <a16:creationId xmlns:a16="http://schemas.microsoft.com/office/drawing/2014/main" id="{DD082C7B-6CE7-472E-B38A-E14C3F5668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8788" y="2052548"/>
                <a:ext cx="967583" cy="1052291"/>
              </a:xfrm>
              <a:custGeom>
                <a:avLst/>
                <a:gdLst>
                  <a:gd name="T0" fmla="*/ 277812 w 137"/>
                  <a:gd name="T1" fmla="*/ 55562 h 149"/>
                  <a:gd name="T2" fmla="*/ 246062 w 137"/>
                  <a:gd name="T3" fmla="*/ 150812 h 149"/>
                  <a:gd name="T4" fmla="*/ 261937 w 137"/>
                  <a:gd name="T5" fmla="*/ 254000 h 149"/>
                  <a:gd name="T6" fmla="*/ 285750 w 137"/>
                  <a:gd name="T7" fmla="*/ 357187 h 149"/>
                  <a:gd name="T8" fmla="*/ 388937 w 137"/>
                  <a:gd name="T9" fmla="*/ 452437 h 149"/>
                  <a:gd name="T10" fmla="*/ 381000 w 137"/>
                  <a:gd name="T11" fmla="*/ 555625 h 149"/>
                  <a:gd name="T12" fmla="*/ 381000 w 137"/>
                  <a:gd name="T13" fmla="*/ 627062 h 149"/>
                  <a:gd name="T14" fmla="*/ 349250 w 137"/>
                  <a:gd name="T15" fmla="*/ 714375 h 149"/>
                  <a:gd name="T16" fmla="*/ 293687 w 137"/>
                  <a:gd name="T17" fmla="*/ 801687 h 149"/>
                  <a:gd name="T18" fmla="*/ 182562 w 137"/>
                  <a:gd name="T19" fmla="*/ 785812 h 149"/>
                  <a:gd name="T20" fmla="*/ 87312 w 137"/>
                  <a:gd name="T21" fmla="*/ 841375 h 149"/>
                  <a:gd name="T22" fmla="*/ 39687 w 137"/>
                  <a:gd name="T23" fmla="*/ 960437 h 149"/>
                  <a:gd name="T24" fmla="*/ 63500 w 137"/>
                  <a:gd name="T25" fmla="*/ 1008062 h 149"/>
                  <a:gd name="T26" fmla="*/ 55562 w 137"/>
                  <a:gd name="T27" fmla="*/ 1127125 h 149"/>
                  <a:gd name="T28" fmla="*/ 111125 w 137"/>
                  <a:gd name="T29" fmla="*/ 1182687 h 149"/>
                  <a:gd name="T30" fmla="*/ 150812 w 137"/>
                  <a:gd name="T31" fmla="*/ 1111250 h 149"/>
                  <a:gd name="T32" fmla="*/ 317500 w 137"/>
                  <a:gd name="T33" fmla="*/ 1071562 h 149"/>
                  <a:gd name="T34" fmla="*/ 428625 w 137"/>
                  <a:gd name="T35" fmla="*/ 1063625 h 149"/>
                  <a:gd name="T36" fmla="*/ 492125 w 137"/>
                  <a:gd name="T37" fmla="*/ 1095375 h 149"/>
                  <a:gd name="T38" fmla="*/ 595312 w 137"/>
                  <a:gd name="T39" fmla="*/ 1031875 h 149"/>
                  <a:gd name="T40" fmla="*/ 730250 w 137"/>
                  <a:gd name="T41" fmla="*/ 912812 h 149"/>
                  <a:gd name="T42" fmla="*/ 841375 w 137"/>
                  <a:gd name="T43" fmla="*/ 904875 h 149"/>
                  <a:gd name="T44" fmla="*/ 857250 w 137"/>
                  <a:gd name="T45" fmla="*/ 825500 h 149"/>
                  <a:gd name="T46" fmla="*/ 865187 w 137"/>
                  <a:gd name="T47" fmla="*/ 698500 h 149"/>
                  <a:gd name="T48" fmla="*/ 912812 w 137"/>
                  <a:gd name="T49" fmla="*/ 563562 h 149"/>
                  <a:gd name="T50" fmla="*/ 944562 w 137"/>
                  <a:gd name="T51" fmla="*/ 508000 h 149"/>
                  <a:gd name="T52" fmla="*/ 960437 w 137"/>
                  <a:gd name="T53" fmla="*/ 444500 h 149"/>
                  <a:gd name="T54" fmla="*/ 984250 w 137"/>
                  <a:gd name="T55" fmla="*/ 357187 h 149"/>
                  <a:gd name="T56" fmla="*/ 1031875 w 137"/>
                  <a:gd name="T57" fmla="*/ 341312 h 149"/>
                  <a:gd name="T58" fmla="*/ 1079500 w 137"/>
                  <a:gd name="T59" fmla="*/ 285750 h 149"/>
                  <a:gd name="T60" fmla="*/ 904875 w 137"/>
                  <a:gd name="T61" fmla="*/ 238125 h 149"/>
                  <a:gd name="T62" fmla="*/ 881062 w 137"/>
                  <a:gd name="T63" fmla="*/ 174625 h 149"/>
                  <a:gd name="T64" fmla="*/ 849312 w 137"/>
                  <a:gd name="T65" fmla="*/ 150812 h 149"/>
                  <a:gd name="T66" fmla="*/ 785812 w 137"/>
                  <a:gd name="T67" fmla="*/ 150812 h 149"/>
                  <a:gd name="T68" fmla="*/ 611187 w 137"/>
                  <a:gd name="T69" fmla="*/ 95250 h 149"/>
                  <a:gd name="T70" fmla="*/ 500062 w 137"/>
                  <a:gd name="T71" fmla="*/ 55562 h 149"/>
                  <a:gd name="T72" fmla="*/ 357187 w 137"/>
                  <a:gd name="T73" fmla="*/ 15875 h 149"/>
                  <a:gd name="T74" fmla="*/ 269875 w 137"/>
                  <a:gd name="T75" fmla="*/ 15875 h 14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37"/>
                  <a:gd name="T115" fmla="*/ 0 h 149"/>
                  <a:gd name="T116" fmla="*/ 137 w 137"/>
                  <a:gd name="T117" fmla="*/ 149 h 149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37" h="149">
                    <a:moveTo>
                      <a:pt x="34" y="2"/>
                    </a:moveTo>
                    <a:cubicBezTo>
                      <a:pt x="34" y="5"/>
                      <a:pt x="35" y="7"/>
                      <a:pt x="35" y="7"/>
                    </a:cubicBezTo>
                    <a:cubicBezTo>
                      <a:pt x="39" y="7"/>
                      <a:pt x="38" y="14"/>
                      <a:pt x="34" y="13"/>
                    </a:cubicBezTo>
                    <a:cubicBezTo>
                      <a:pt x="32" y="15"/>
                      <a:pt x="31" y="19"/>
                      <a:pt x="31" y="19"/>
                    </a:cubicBezTo>
                    <a:cubicBezTo>
                      <a:pt x="30" y="25"/>
                      <a:pt x="33" y="27"/>
                      <a:pt x="33" y="27"/>
                    </a:cubicBezTo>
                    <a:cubicBezTo>
                      <a:pt x="36" y="30"/>
                      <a:pt x="33" y="32"/>
                      <a:pt x="33" y="32"/>
                    </a:cubicBezTo>
                    <a:cubicBezTo>
                      <a:pt x="33" y="42"/>
                      <a:pt x="31" y="44"/>
                      <a:pt x="31" y="44"/>
                    </a:cubicBezTo>
                    <a:cubicBezTo>
                      <a:pt x="32" y="51"/>
                      <a:pt x="36" y="45"/>
                      <a:pt x="36" y="45"/>
                    </a:cubicBezTo>
                    <a:cubicBezTo>
                      <a:pt x="43" y="43"/>
                      <a:pt x="44" y="49"/>
                      <a:pt x="44" y="49"/>
                    </a:cubicBezTo>
                    <a:cubicBezTo>
                      <a:pt x="46" y="56"/>
                      <a:pt x="49" y="57"/>
                      <a:pt x="49" y="57"/>
                    </a:cubicBezTo>
                    <a:cubicBezTo>
                      <a:pt x="58" y="65"/>
                      <a:pt x="52" y="65"/>
                      <a:pt x="52" y="65"/>
                    </a:cubicBezTo>
                    <a:cubicBezTo>
                      <a:pt x="48" y="66"/>
                      <a:pt x="48" y="70"/>
                      <a:pt x="48" y="70"/>
                    </a:cubicBezTo>
                    <a:cubicBezTo>
                      <a:pt x="56" y="70"/>
                      <a:pt x="54" y="75"/>
                      <a:pt x="54" y="75"/>
                    </a:cubicBezTo>
                    <a:cubicBezTo>
                      <a:pt x="55" y="79"/>
                      <a:pt x="48" y="77"/>
                      <a:pt x="48" y="79"/>
                    </a:cubicBezTo>
                    <a:cubicBezTo>
                      <a:pt x="54" y="83"/>
                      <a:pt x="49" y="85"/>
                      <a:pt x="49" y="85"/>
                    </a:cubicBezTo>
                    <a:cubicBezTo>
                      <a:pt x="49" y="88"/>
                      <a:pt x="44" y="90"/>
                      <a:pt x="44" y="90"/>
                    </a:cubicBezTo>
                    <a:cubicBezTo>
                      <a:pt x="41" y="92"/>
                      <a:pt x="43" y="96"/>
                      <a:pt x="43" y="96"/>
                    </a:cubicBezTo>
                    <a:cubicBezTo>
                      <a:pt x="43" y="106"/>
                      <a:pt x="37" y="101"/>
                      <a:pt x="37" y="101"/>
                    </a:cubicBezTo>
                    <a:cubicBezTo>
                      <a:pt x="34" y="101"/>
                      <a:pt x="34" y="97"/>
                      <a:pt x="31" y="97"/>
                    </a:cubicBezTo>
                    <a:cubicBezTo>
                      <a:pt x="28" y="96"/>
                      <a:pt x="28" y="99"/>
                      <a:pt x="23" y="99"/>
                    </a:cubicBezTo>
                    <a:cubicBezTo>
                      <a:pt x="17" y="98"/>
                      <a:pt x="16" y="101"/>
                      <a:pt x="16" y="101"/>
                    </a:cubicBezTo>
                    <a:cubicBezTo>
                      <a:pt x="14" y="103"/>
                      <a:pt x="15" y="108"/>
                      <a:pt x="11" y="106"/>
                    </a:cubicBezTo>
                    <a:cubicBezTo>
                      <a:pt x="4" y="105"/>
                      <a:pt x="5" y="115"/>
                      <a:pt x="5" y="115"/>
                    </a:cubicBezTo>
                    <a:cubicBezTo>
                      <a:pt x="10" y="119"/>
                      <a:pt x="5" y="121"/>
                      <a:pt x="5" y="121"/>
                    </a:cubicBezTo>
                    <a:cubicBezTo>
                      <a:pt x="4" y="124"/>
                      <a:pt x="2" y="125"/>
                      <a:pt x="2" y="125"/>
                    </a:cubicBezTo>
                    <a:cubicBezTo>
                      <a:pt x="0" y="128"/>
                      <a:pt x="8" y="127"/>
                      <a:pt x="8" y="127"/>
                    </a:cubicBezTo>
                    <a:cubicBezTo>
                      <a:pt x="9" y="129"/>
                      <a:pt x="6" y="132"/>
                      <a:pt x="6" y="132"/>
                    </a:cubicBezTo>
                    <a:cubicBezTo>
                      <a:pt x="5" y="139"/>
                      <a:pt x="7" y="142"/>
                      <a:pt x="7" y="142"/>
                    </a:cubicBezTo>
                    <a:lnTo>
                      <a:pt x="14" y="149"/>
                    </a:lnTo>
                    <a:cubicBezTo>
                      <a:pt x="14" y="149"/>
                      <a:pt x="20" y="143"/>
                      <a:pt x="19" y="140"/>
                    </a:cubicBezTo>
                    <a:cubicBezTo>
                      <a:pt x="20" y="133"/>
                      <a:pt x="25" y="141"/>
                      <a:pt x="30" y="138"/>
                    </a:cubicBezTo>
                    <a:cubicBezTo>
                      <a:pt x="30" y="138"/>
                      <a:pt x="37" y="138"/>
                      <a:pt x="40" y="135"/>
                    </a:cubicBezTo>
                    <a:cubicBezTo>
                      <a:pt x="40" y="135"/>
                      <a:pt x="42" y="131"/>
                      <a:pt x="46" y="132"/>
                    </a:cubicBezTo>
                    <a:cubicBezTo>
                      <a:pt x="46" y="132"/>
                      <a:pt x="51" y="131"/>
                      <a:pt x="54" y="134"/>
                    </a:cubicBezTo>
                    <a:cubicBezTo>
                      <a:pt x="58" y="130"/>
                      <a:pt x="56" y="139"/>
                      <a:pt x="58" y="140"/>
                    </a:cubicBezTo>
                    <a:cubicBezTo>
                      <a:pt x="61" y="140"/>
                      <a:pt x="62" y="138"/>
                      <a:pt x="62" y="138"/>
                    </a:cubicBezTo>
                    <a:cubicBezTo>
                      <a:pt x="65" y="131"/>
                      <a:pt x="67" y="135"/>
                      <a:pt x="67" y="135"/>
                    </a:cubicBezTo>
                    <a:cubicBezTo>
                      <a:pt x="71" y="136"/>
                      <a:pt x="75" y="130"/>
                      <a:pt x="75" y="130"/>
                    </a:cubicBezTo>
                    <a:cubicBezTo>
                      <a:pt x="82" y="125"/>
                      <a:pt x="83" y="121"/>
                      <a:pt x="83" y="121"/>
                    </a:cubicBezTo>
                    <a:cubicBezTo>
                      <a:pt x="87" y="114"/>
                      <a:pt x="92" y="115"/>
                      <a:pt x="92" y="115"/>
                    </a:cubicBezTo>
                    <a:cubicBezTo>
                      <a:pt x="96" y="116"/>
                      <a:pt x="98" y="113"/>
                      <a:pt x="98" y="113"/>
                    </a:cubicBezTo>
                    <a:cubicBezTo>
                      <a:pt x="101" y="109"/>
                      <a:pt x="102" y="115"/>
                      <a:pt x="106" y="114"/>
                    </a:cubicBezTo>
                    <a:cubicBezTo>
                      <a:pt x="109" y="113"/>
                      <a:pt x="107" y="110"/>
                      <a:pt x="107" y="110"/>
                    </a:cubicBezTo>
                    <a:cubicBezTo>
                      <a:pt x="104" y="105"/>
                      <a:pt x="108" y="104"/>
                      <a:pt x="108" y="104"/>
                    </a:cubicBezTo>
                    <a:cubicBezTo>
                      <a:pt x="111" y="99"/>
                      <a:pt x="109" y="96"/>
                      <a:pt x="109" y="96"/>
                    </a:cubicBezTo>
                    <a:cubicBezTo>
                      <a:pt x="107" y="93"/>
                      <a:pt x="110" y="92"/>
                      <a:pt x="109" y="88"/>
                    </a:cubicBezTo>
                    <a:cubicBezTo>
                      <a:pt x="109" y="82"/>
                      <a:pt x="106" y="77"/>
                      <a:pt x="110" y="77"/>
                    </a:cubicBezTo>
                    <a:cubicBezTo>
                      <a:pt x="114" y="76"/>
                      <a:pt x="115" y="71"/>
                      <a:pt x="115" y="71"/>
                    </a:cubicBezTo>
                    <a:lnTo>
                      <a:pt x="119" y="64"/>
                    </a:lnTo>
                    <a:cubicBezTo>
                      <a:pt x="123" y="64"/>
                      <a:pt x="121" y="56"/>
                      <a:pt x="121" y="56"/>
                    </a:cubicBezTo>
                    <a:cubicBezTo>
                      <a:pt x="126" y="53"/>
                      <a:pt x="123" y="52"/>
                      <a:pt x="123" y="52"/>
                    </a:cubicBezTo>
                    <a:cubicBezTo>
                      <a:pt x="121" y="47"/>
                      <a:pt x="124" y="45"/>
                      <a:pt x="124" y="45"/>
                    </a:cubicBezTo>
                    <a:cubicBezTo>
                      <a:pt x="124" y="48"/>
                      <a:pt x="124" y="49"/>
                      <a:pt x="128" y="50"/>
                    </a:cubicBezTo>
                    <a:cubicBezTo>
                      <a:pt x="127" y="46"/>
                      <a:pt x="130" y="43"/>
                      <a:pt x="130" y="43"/>
                    </a:cubicBezTo>
                    <a:cubicBezTo>
                      <a:pt x="132" y="39"/>
                      <a:pt x="134" y="42"/>
                      <a:pt x="134" y="42"/>
                    </a:cubicBezTo>
                    <a:cubicBezTo>
                      <a:pt x="133" y="39"/>
                      <a:pt x="136" y="36"/>
                      <a:pt x="136" y="36"/>
                    </a:cubicBezTo>
                    <a:cubicBezTo>
                      <a:pt x="137" y="29"/>
                      <a:pt x="124" y="29"/>
                      <a:pt x="124" y="32"/>
                    </a:cubicBezTo>
                    <a:cubicBezTo>
                      <a:pt x="113" y="33"/>
                      <a:pt x="114" y="30"/>
                      <a:pt x="114" y="30"/>
                    </a:cubicBezTo>
                    <a:cubicBezTo>
                      <a:pt x="118" y="27"/>
                      <a:pt x="113" y="27"/>
                      <a:pt x="113" y="27"/>
                    </a:cubicBezTo>
                    <a:cubicBezTo>
                      <a:pt x="110" y="25"/>
                      <a:pt x="111" y="22"/>
                      <a:pt x="111" y="22"/>
                    </a:cubicBezTo>
                    <a:cubicBezTo>
                      <a:pt x="112" y="19"/>
                      <a:pt x="107" y="19"/>
                      <a:pt x="107" y="19"/>
                    </a:cubicBezTo>
                    <a:lnTo>
                      <a:pt x="99" y="19"/>
                    </a:lnTo>
                    <a:cubicBezTo>
                      <a:pt x="93" y="19"/>
                      <a:pt x="92" y="13"/>
                      <a:pt x="81" y="13"/>
                    </a:cubicBezTo>
                    <a:cubicBezTo>
                      <a:pt x="76" y="14"/>
                      <a:pt x="77" y="12"/>
                      <a:pt x="77" y="12"/>
                    </a:cubicBezTo>
                    <a:cubicBezTo>
                      <a:pt x="76" y="8"/>
                      <a:pt x="69" y="9"/>
                      <a:pt x="69" y="9"/>
                    </a:cubicBezTo>
                    <a:cubicBezTo>
                      <a:pt x="63" y="10"/>
                      <a:pt x="63" y="7"/>
                      <a:pt x="63" y="7"/>
                    </a:cubicBezTo>
                    <a:cubicBezTo>
                      <a:pt x="62" y="3"/>
                      <a:pt x="55" y="4"/>
                      <a:pt x="55" y="4"/>
                    </a:cubicBezTo>
                    <a:cubicBezTo>
                      <a:pt x="47" y="4"/>
                      <a:pt x="48" y="0"/>
                      <a:pt x="45" y="2"/>
                    </a:cubicBezTo>
                    <a:cubicBezTo>
                      <a:pt x="41" y="2"/>
                      <a:pt x="37" y="2"/>
                      <a:pt x="34" y="2"/>
                    </a:cubicBezTo>
                  </a:path>
                </a:pathLst>
              </a:custGeom>
              <a:solidFill>
                <a:schemeClr val="accent2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108" name="Freeform 1195">
                <a:extLst>
                  <a:ext uri="{FF2B5EF4-FFF2-40B4-BE49-F238E27FC236}">
                    <a16:creationId xmlns:a16="http://schemas.microsoft.com/office/drawing/2014/main" id="{C89CC094-B8D3-4E29-A150-E5B582A928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3304" y="2250294"/>
                <a:ext cx="889894" cy="1158224"/>
              </a:xfrm>
              <a:custGeom>
                <a:avLst/>
                <a:gdLst>
                  <a:gd name="T0" fmla="*/ 285750 w 126"/>
                  <a:gd name="T1" fmla="*/ 63500 h 164"/>
                  <a:gd name="T2" fmla="*/ 420688 w 126"/>
                  <a:gd name="T3" fmla="*/ 39688 h 164"/>
                  <a:gd name="T4" fmla="*/ 484188 w 126"/>
                  <a:gd name="T5" fmla="*/ 63500 h 164"/>
                  <a:gd name="T6" fmla="*/ 571500 w 126"/>
                  <a:gd name="T7" fmla="*/ 71438 h 164"/>
                  <a:gd name="T8" fmla="*/ 642938 w 126"/>
                  <a:gd name="T9" fmla="*/ 166688 h 164"/>
                  <a:gd name="T10" fmla="*/ 793750 w 126"/>
                  <a:gd name="T11" fmla="*/ 47625 h 164"/>
                  <a:gd name="T12" fmla="*/ 865188 w 126"/>
                  <a:gd name="T13" fmla="*/ 198438 h 164"/>
                  <a:gd name="T14" fmla="*/ 825500 w 126"/>
                  <a:gd name="T15" fmla="*/ 285750 h 164"/>
                  <a:gd name="T16" fmla="*/ 833438 w 126"/>
                  <a:gd name="T17" fmla="*/ 357188 h 164"/>
                  <a:gd name="T18" fmla="*/ 873125 w 126"/>
                  <a:gd name="T19" fmla="*/ 468313 h 164"/>
                  <a:gd name="T20" fmla="*/ 912813 w 126"/>
                  <a:gd name="T21" fmla="*/ 650875 h 164"/>
                  <a:gd name="T22" fmla="*/ 912813 w 126"/>
                  <a:gd name="T23" fmla="*/ 793750 h 164"/>
                  <a:gd name="T24" fmla="*/ 976313 w 126"/>
                  <a:gd name="T25" fmla="*/ 936625 h 164"/>
                  <a:gd name="T26" fmla="*/ 984250 w 126"/>
                  <a:gd name="T27" fmla="*/ 1071563 h 164"/>
                  <a:gd name="T28" fmla="*/ 873125 w 126"/>
                  <a:gd name="T29" fmla="*/ 1166813 h 164"/>
                  <a:gd name="T30" fmla="*/ 881063 w 126"/>
                  <a:gd name="T31" fmla="*/ 1254125 h 164"/>
                  <a:gd name="T32" fmla="*/ 706438 w 126"/>
                  <a:gd name="T33" fmla="*/ 1293813 h 164"/>
                  <a:gd name="T34" fmla="*/ 690563 w 126"/>
                  <a:gd name="T35" fmla="*/ 1174750 h 164"/>
                  <a:gd name="T36" fmla="*/ 595313 w 126"/>
                  <a:gd name="T37" fmla="*/ 1150938 h 164"/>
                  <a:gd name="T38" fmla="*/ 460375 w 126"/>
                  <a:gd name="T39" fmla="*/ 1166813 h 164"/>
                  <a:gd name="T40" fmla="*/ 246063 w 126"/>
                  <a:gd name="T41" fmla="*/ 1166813 h 164"/>
                  <a:gd name="T42" fmla="*/ 134938 w 126"/>
                  <a:gd name="T43" fmla="*/ 1071563 h 164"/>
                  <a:gd name="T44" fmla="*/ 174625 w 126"/>
                  <a:gd name="T45" fmla="*/ 944563 h 164"/>
                  <a:gd name="T46" fmla="*/ 103188 w 126"/>
                  <a:gd name="T47" fmla="*/ 857250 h 164"/>
                  <a:gd name="T48" fmla="*/ 39688 w 126"/>
                  <a:gd name="T49" fmla="*/ 746125 h 164"/>
                  <a:gd name="T50" fmla="*/ 23813 w 126"/>
                  <a:gd name="T51" fmla="*/ 650875 h 164"/>
                  <a:gd name="T52" fmla="*/ 39688 w 126"/>
                  <a:gd name="T53" fmla="*/ 539750 h 164"/>
                  <a:gd name="T54" fmla="*/ 47625 w 126"/>
                  <a:gd name="T55" fmla="*/ 388938 h 164"/>
                  <a:gd name="T56" fmla="*/ 87313 w 126"/>
                  <a:gd name="T57" fmla="*/ 341313 h 164"/>
                  <a:gd name="T58" fmla="*/ 119063 w 126"/>
                  <a:gd name="T59" fmla="*/ 285750 h 164"/>
                  <a:gd name="T60" fmla="*/ 150813 w 126"/>
                  <a:gd name="T61" fmla="*/ 190500 h 164"/>
                  <a:gd name="T62" fmla="*/ 190500 w 126"/>
                  <a:gd name="T63" fmla="*/ 174625 h 164"/>
                  <a:gd name="T64" fmla="*/ 238125 w 126"/>
                  <a:gd name="T65" fmla="*/ 111125 h 164"/>
                  <a:gd name="T66" fmla="*/ 238125 w 126"/>
                  <a:gd name="T67" fmla="*/ 111125 h 16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26"/>
                  <a:gd name="T103" fmla="*/ 0 h 164"/>
                  <a:gd name="T104" fmla="*/ 126 w 126"/>
                  <a:gd name="T105" fmla="*/ 164 h 16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26" h="164">
                    <a:moveTo>
                      <a:pt x="30" y="14"/>
                    </a:moveTo>
                    <a:cubicBezTo>
                      <a:pt x="30" y="14"/>
                      <a:pt x="36" y="17"/>
                      <a:pt x="36" y="8"/>
                    </a:cubicBezTo>
                    <a:cubicBezTo>
                      <a:pt x="36" y="8"/>
                      <a:pt x="37" y="0"/>
                      <a:pt x="42" y="6"/>
                    </a:cubicBezTo>
                    <a:cubicBezTo>
                      <a:pt x="42" y="6"/>
                      <a:pt x="47" y="11"/>
                      <a:pt x="53" y="5"/>
                    </a:cubicBezTo>
                    <a:cubicBezTo>
                      <a:pt x="53" y="5"/>
                      <a:pt x="52" y="3"/>
                      <a:pt x="58" y="0"/>
                    </a:cubicBezTo>
                    <a:cubicBezTo>
                      <a:pt x="60" y="2"/>
                      <a:pt x="57" y="7"/>
                      <a:pt x="61" y="8"/>
                    </a:cubicBezTo>
                    <a:cubicBezTo>
                      <a:pt x="61" y="8"/>
                      <a:pt x="61" y="12"/>
                      <a:pt x="65" y="10"/>
                    </a:cubicBezTo>
                    <a:cubicBezTo>
                      <a:pt x="65" y="10"/>
                      <a:pt x="66" y="6"/>
                      <a:pt x="72" y="9"/>
                    </a:cubicBezTo>
                    <a:cubicBezTo>
                      <a:pt x="72" y="9"/>
                      <a:pt x="75" y="8"/>
                      <a:pt x="75" y="13"/>
                    </a:cubicBezTo>
                    <a:cubicBezTo>
                      <a:pt x="75" y="13"/>
                      <a:pt x="73" y="18"/>
                      <a:pt x="81" y="21"/>
                    </a:cubicBezTo>
                    <a:cubicBezTo>
                      <a:pt x="81" y="21"/>
                      <a:pt x="81" y="9"/>
                      <a:pt x="92" y="9"/>
                    </a:cubicBezTo>
                    <a:cubicBezTo>
                      <a:pt x="92" y="9"/>
                      <a:pt x="97" y="2"/>
                      <a:pt x="100" y="6"/>
                    </a:cubicBezTo>
                    <a:cubicBezTo>
                      <a:pt x="100" y="6"/>
                      <a:pt x="104" y="10"/>
                      <a:pt x="104" y="15"/>
                    </a:cubicBezTo>
                    <a:cubicBezTo>
                      <a:pt x="104" y="15"/>
                      <a:pt x="105" y="24"/>
                      <a:pt x="109" y="25"/>
                    </a:cubicBezTo>
                    <a:cubicBezTo>
                      <a:pt x="109" y="25"/>
                      <a:pt x="114" y="34"/>
                      <a:pt x="104" y="36"/>
                    </a:cubicBezTo>
                    <a:lnTo>
                      <a:pt x="105" y="45"/>
                    </a:lnTo>
                    <a:cubicBezTo>
                      <a:pt x="105" y="45"/>
                      <a:pt x="110" y="42"/>
                      <a:pt x="114" y="50"/>
                    </a:cubicBezTo>
                    <a:cubicBezTo>
                      <a:pt x="113" y="57"/>
                      <a:pt x="109" y="57"/>
                      <a:pt x="110" y="59"/>
                    </a:cubicBezTo>
                    <a:cubicBezTo>
                      <a:pt x="110" y="59"/>
                      <a:pt x="116" y="62"/>
                      <a:pt x="115" y="72"/>
                    </a:cubicBezTo>
                    <a:cubicBezTo>
                      <a:pt x="115" y="72"/>
                      <a:pt x="120" y="74"/>
                      <a:pt x="115" y="82"/>
                    </a:cubicBezTo>
                    <a:cubicBezTo>
                      <a:pt x="115" y="82"/>
                      <a:pt x="112" y="84"/>
                      <a:pt x="114" y="92"/>
                    </a:cubicBezTo>
                    <a:cubicBezTo>
                      <a:pt x="113" y="97"/>
                      <a:pt x="109" y="98"/>
                      <a:pt x="115" y="100"/>
                    </a:cubicBezTo>
                    <a:cubicBezTo>
                      <a:pt x="115" y="100"/>
                      <a:pt x="119" y="100"/>
                      <a:pt x="119" y="108"/>
                    </a:cubicBezTo>
                    <a:cubicBezTo>
                      <a:pt x="119" y="108"/>
                      <a:pt x="124" y="109"/>
                      <a:pt x="123" y="118"/>
                    </a:cubicBezTo>
                    <a:cubicBezTo>
                      <a:pt x="123" y="118"/>
                      <a:pt x="126" y="122"/>
                      <a:pt x="122" y="125"/>
                    </a:cubicBezTo>
                    <a:cubicBezTo>
                      <a:pt x="122" y="125"/>
                      <a:pt x="120" y="132"/>
                      <a:pt x="124" y="135"/>
                    </a:cubicBezTo>
                    <a:cubicBezTo>
                      <a:pt x="124" y="135"/>
                      <a:pt x="126" y="137"/>
                      <a:pt x="118" y="143"/>
                    </a:cubicBezTo>
                    <a:cubicBezTo>
                      <a:pt x="118" y="143"/>
                      <a:pt x="115" y="146"/>
                      <a:pt x="110" y="147"/>
                    </a:cubicBezTo>
                    <a:cubicBezTo>
                      <a:pt x="110" y="147"/>
                      <a:pt x="109" y="149"/>
                      <a:pt x="110" y="153"/>
                    </a:cubicBezTo>
                    <a:cubicBezTo>
                      <a:pt x="110" y="153"/>
                      <a:pt x="113" y="155"/>
                      <a:pt x="111" y="158"/>
                    </a:cubicBezTo>
                    <a:cubicBezTo>
                      <a:pt x="108" y="161"/>
                      <a:pt x="103" y="158"/>
                      <a:pt x="101" y="162"/>
                    </a:cubicBezTo>
                    <a:cubicBezTo>
                      <a:pt x="99" y="164"/>
                      <a:pt x="89" y="163"/>
                      <a:pt x="89" y="163"/>
                    </a:cubicBezTo>
                    <a:cubicBezTo>
                      <a:pt x="84" y="160"/>
                      <a:pt x="87" y="155"/>
                      <a:pt x="87" y="155"/>
                    </a:cubicBezTo>
                    <a:cubicBezTo>
                      <a:pt x="89" y="153"/>
                      <a:pt x="87" y="148"/>
                      <a:pt x="87" y="148"/>
                    </a:cubicBezTo>
                    <a:cubicBezTo>
                      <a:pt x="83" y="147"/>
                      <a:pt x="88" y="138"/>
                      <a:pt x="80" y="141"/>
                    </a:cubicBezTo>
                    <a:cubicBezTo>
                      <a:pt x="77" y="141"/>
                      <a:pt x="75" y="141"/>
                      <a:pt x="75" y="145"/>
                    </a:cubicBezTo>
                    <a:cubicBezTo>
                      <a:pt x="70" y="148"/>
                      <a:pt x="66" y="146"/>
                      <a:pt x="66" y="146"/>
                    </a:cubicBezTo>
                    <a:cubicBezTo>
                      <a:pt x="66" y="146"/>
                      <a:pt x="61" y="143"/>
                      <a:pt x="58" y="147"/>
                    </a:cubicBezTo>
                    <a:cubicBezTo>
                      <a:pt x="57" y="150"/>
                      <a:pt x="55" y="144"/>
                      <a:pt x="46" y="147"/>
                    </a:cubicBezTo>
                    <a:cubicBezTo>
                      <a:pt x="42" y="150"/>
                      <a:pt x="38" y="145"/>
                      <a:pt x="31" y="147"/>
                    </a:cubicBezTo>
                    <a:cubicBezTo>
                      <a:pt x="29" y="144"/>
                      <a:pt x="22" y="144"/>
                      <a:pt x="22" y="144"/>
                    </a:cubicBezTo>
                    <a:cubicBezTo>
                      <a:pt x="17" y="139"/>
                      <a:pt x="17" y="135"/>
                      <a:pt x="17" y="135"/>
                    </a:cubicBezTo>
                    <a:cubicBezTo>
                      <a:pt x="16" y="128"/>
                      <a:pt x="20" y="128"/>
                      <a:pt x="20" y="128"/>
                    </a:cubicBezTo>
                    <a:cubicBezTo>
                      <a:pt x="25" y="126"/>
                      <a:pt x="19" y="124"/>
                      <a:pt x="22" y="119"/>
                    </a:cubicBezTo>
                    <a:cubicBezTo>
                      <a:pt x="22" y="111"/>
                      <a:pt x="20" y="110"/>
                      <a:pt x="20" y="110"/>
                    </a:cubicBezTo>
                    <a:cubicBezTo>
                      <a:pt x="17" y="114"/>
                      <a:pt x="13" y="108"/>
                      <a:pt x="13" y="108"/>
                    </a:cubicBezTo>
                    <a:cubicBezTo>
                      <a:pt x="10" y="108"/>
                      <a:pt x="11" y="104"/>
                      <a:pt x="6" y="100"/>
                    </a:cubicBezTo>
                    <a:cubicBezTo>
                      <a:pt x="1" y="97"/>
                      <a:pt x="5" y="94"/>
                      <a:pt x="5" y="94"/>
                    </a:cubicBezTo>
                    <a:cubicBezTo>
                      <a:pt x="8" y="89"/>
                      <a:pt x="3" y="90"/>
                      <a:pt x="3" y="86"/>
                    </a:cubicBezTo>
                    <a:cubicBezTo>
                      <a:pt x="6" y="86"/>
                      <a:pt x="3" y="82"/>
                      <a:pt x="3" y="82"/>
                    </a:cubicBezTo>
                    <a:cubicBezTo>
                      <a:pt x="0" y="77"/>
                      <a:pt x="4" y="76"/>
                      <a:pt x="4" y="76"/>
                    </a:cubicBezTo>
                    <a:cubicBezTo>
                      <a:pt x="7" y="71"/>
                      <a:pt x="5" y="68"/>
                      <a:pt x="5" y="68"/>
                    </a:cubicBezTo>
                    <a:cubicBezTo>
                      <a:pt x="3" y="65"/>
                      <a:pt x="6" y="64"/>
                      <a:pt x="5" y="60"/>
                    </a:cubicBezTo>
                    <a:cubicBezTo>
                      <a:pt x="5" y="54"/>
                      <a:pt x="2" y="49"/>
                      <a:pt x="6" y="49"/>
                    </a:cubicBezTo>
                    <a:cubicBezTo>
                      <a:pt x="10" y="48"/>
                      <a:pt x="11" y="43"/>
                      <a:pt x="11" y="43"/>
                    </a:cubicBezTo>
                    <a:lnTo>
                      <a:pt x="15" y="36"/>
                    </a:lnTo>
                    <a:cubicBezTo>
                      <a:pt x="19" y="36"/>
                      <a:pt x="17" y="28"/>
                      <a:pt x="17" y="28"/>
                    </a:cubicBezTo>
                    <a:cubicBezTo>
                      <a:pt x="22" y="25"/>
                      <a:pt x="19" y="24"/>
                      <a:pt x="19" y="24"/>
                    </a:cubicBezTo>
                    <a:cubicBezTo>
                      <a:pt x="17" y="19"/>
                      <a:pt x="20" y="17"/>
                      <a:pt x="20" y="17"/>
                    </a:cubicBezTo>
                    <a:cubicBezTo>
                      <a:pt x="20" y="20"/>
                      <a:pt x="20" y="21"/>
                      <a:pt x="24" y="22"/>
                    </a:cubicBezTo>
                    <a:cubicBezTo>
                      <a:pt x="23" y="18"/>
                      <a:pt x="26" y="15"/>
                      <a:pt x="26" y="15"/>
                    </a:cubicBezTo>
                    <a:cubicBezTo>
                      <a:pt x="28" y="11"/>
                      <a:pt x="30" y="14"/>
                      <a:pt x="30" y="14"/>
                    </a:cubicBezTo>
                  </a:path>
                </a:pathLst>
              </a:custGeom>
              <a:solidFill>
                <a:schemeClr val="accent3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</p:grpSp>
        <p:grpSp>
          <p:nvGrpSpPr>
            <p:cNvPr id="75" name="Групувати 74">
              <a:extLst>
                <a:ext uri="{FF2B5EF4-FFF2-40B4-BE49-F238E27FC236}">
                  <a16:creationId xmlns:a16="http://schemas.microsoft.com/office/drawing/2014/main" id="{B291C731-2869-4D1C-B5D2-7F12A71EA9B1}"/>
                </a:ext>
              </a:extLst>
            </p:cNvPr>
            <p:cNvGrpSpPr/>
            <p:nvPr/>
          </p:nvGrpSpPr>
          <p:grpSpPr>
            <a:xfrm>
              <a:off x="843349" y="2383665"/>
              <a:ext cx="3930095" cy="1979655"/>
              <a:chOff x="843349" y="2383665"/>
              <a:chExt cx="3930095" cy="1979655"/>
            </a:xfrm>
          </p:grpSpPr>
          <p:sp>
            <p:nvSpPr>
              <p:cNvPr id="76" name="Овал 75">
                <a:extLst>
                  <a:ext uri="{FF2B5EF4-FFF2-40B4-BE49-F238E27FC236}">
                    <a16:creationId xmlns:a16="http://schemas.microsoft.com/office/drawing/2014/main" id="{C56A8424-3485-467F-93C8-4199CCAB78C9}"/>
                  </a:ext>
                </a:extLst>
              </p:cNvPr>
              <p:cNvSpPr/>
              <p:nvPr/>
            </p:nvSpPr>
            <p:spPr>
              <a:xfrm>
                <a:off x="843349" y="3295670"/>
                <a:ext cx="288000" cy="288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uk-UA" sz="1200" b="1" dirty="0">
                    <a:solidFill>
                      <a:schemeClr val="tx1"/>
                    </a:solidFill>
                  </a:rPr>
                  <a:t>2</a:t>
                </a:r>
              </a:p>
            </p:txBody>
          </p:sp>
          <p:sp>
            <p:nvSpPr>
              <p:cNvPr id="77" name="Овал 76">
                <a:extLst>
                  <a:ext uri="{FF2B5EF4-FFF2-40B4-BE49-F238E27FC236}">
                    <a16:creationId xmlns:a16="http://schemas.microsoft.com/office/drawing/2014/main" id="{74F04015-94D4-4290-BB1A-249BC756ADE0}"/>
                  </a:ext>
                </a:extLst>
              </p:cNvPr>
              <p:cNvSpPr/>
              <p:nvPr/>
            </p:nvSpPr>
            <p:spPr>
              <a:xfrm>
                <a:off x="1471768" y="2383665"/>
                <a:ext cx="288000" cy="288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uk-UA" sz="1200" b="1" dirty="0">
                    <a:solidFill>
                      <a:schemeClr val="tx1"/>
                    </a:solidFill>
                  </a:rPr>
                  <a:t>8</a:t>
                </a:r>
              </a:p>
            </p:txBody>
          </p:sp>
          <p:sp>
            <p:nvSpPr>
              <p:cNvPr id="78" name="Овал 77">
                <a:extLst>
                  <a:ext uri="{FF2B5EF4-FFF2-40B4-BE49-F238E27FC236}">
                    <a16:creationId xmlns:a16="http://schemas.microsoft.com/office/drawing/2014/main" id="{2CC58895-FF36-4BB6-94DA-0BBF6D48C700}"/>
                  </a:ext>
                </a:extLst>
              </p:cNvPr>
              <p:cNvSpPr/>
              <p:nvPr/>
            </p:nvSpPr>
            <p:spPr>
              <a:xfrm>
                <a:off x="1744138" y="3154917"/>
                <a:ext cx="288000" cy="288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uk-UA" sz="1200" b="1" dirty="0">
                    <a:solidFill>
                      <a:schemeClr val="tx1"/>
                    </a:solidFill>
                  </a:rPr>
                  <a:t>6</a:t>
                </a:r>
              </a:p>
            </p:txBody>
          </p:sp>
          <p:sp>
            <p:nvSpPr>
              <p:cNvPr id="79" name="Овал 78">
                <a:extLst>
                  <a:ext uri="{FF2B5EF4-FFF2-40B4-BE49-F238E27FC236}">
                    <a16:creationId xmlns:a16="http://schemas.microsoft.com/office/drawing/2014/main" id="{5A39E0EF-F84F-4383-819B-DECE322E2A51}"/>
                  </a:ext>
                </a:extLst>
              </p:cNvPr>
              <p:cNvSpPr/>
              <p:nvPr/>
            </p:nvSpPr>
            <p:spPr>
              <a:xfrm>
                <a:off x="2807209" y="2784955"/>
                <a:ext cx="288000" cy="288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uk-UA" sz="1200" b="1" dirty="0">
                    <a:solidFill>
                      <a:schemeClr val="tx1"/>
                    </a:solidFill>
                  </a:rPr>
                  <a:t>3</a:t>
                </a:r>
              </a:p>
            </p:txBody>
          </p:sp>
          <p:sp>
            <p:nvSpPr>
              <p:cNvPr id="80" name="Овал 79">
                <a:extLst>
                  <a:ext uri="{FF2B5EF4-FFF2-40B4-BE49-F238E27FC236}">
                    <a16:creationId xmlns:a16="http://schemas.microsoft.com/office/drawing/2014/main" id="{DBCEF0AB-3B4D-4FE3-B3BF-73A3B505B1A2}"/>
                  </a:ext>
                </a:extLst>
              </p:cNvPr>
              <p:cNvSpPr/>
              <p:nvPr/>
            </p:nvSpPr>
            <p:spPr>
              <a:xfrm>
                <a:off x="3459799" y="3260678"/>
                <a:ext cx="288000" cy="288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uk-UA" sz="1200" b="1" dirty="0">
                    <a:solidFill>
                      <a:schemeClr val="tx1"/>
                    </a:solidFill>
                  </a:rPr>
                  <a:t>7</a:t>
                </a:r>
              </a:p>
            </p:txBody>
          </p:sp>
          <p:sp>
            <p:nvSpPr>
              <p:cNvPr id="81" name="Овал 80">
                <a:extLst>
                  <a:ext uri="{FF2B5EF4-FFF2-40B4-BE49-F238E27FC236}">
                    <a16:creationId xmlns:a16="http://schemas.microsoft.com/office/drawing/2014/main" id="{CBEFDBE4-41F5-46C2-B8BF-A4626DAAD346}"/>
                  </a:ext>
                </a:extLst>
              </p:cNvPr>
              <p:cNvSpPr/>
              <p:nvPr/>
            </p:nvSpPr>
            <p:spPr>
              <a:xfrm>
                <a:off x="3178305" y="4075320"/>
                <a:ext cx="288000" cy="288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uk-UA" sz="1200" b="1" dirty="0">
                    <a:solidFill>
                      <a:schemeClr val="tx1"/>
                    </a:solidFill>
                  </a:rPr>
                  <a:t>1</a:t>
                </a:r>
              </a:p>
            </p:txBody>
          </p:sp>
          <p:sp>
            <p:nvSpPr>
              <p:cNvPr id="82" name="Овал 81">
                <a:extLst>
                  <a:ext uri="{FF2B5EF4-FFF2-40B4-BE49-F238E27FC236}">
                    <a16:creationId xmlns:a16="http://schemas.microsoft.com/office/drawing/2014/main" id="{EFB95EE1-7067-4D4B-9751-7E79EBD0C0AE}"/>
                  </a:ext>
                </a:extLst>
              </p:cNvPr>
              <p:cNvSpPr/>
              <p:nvPr/>
            </p:nvSpPr>
            <p:spPr>
              <a:xfrm>
                <a:off x="4485444" y="3746680"/>
                <a:ext cx="288000" cy="288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uk-UA" sz="1200" b="1" dirty="0">
                    <a:solidFill>
                      <a:schemeClr val="tx1"/>
                    </a:solidFill>
                  </a:rPr>
                  <a:t>4</a:t>
                </a:r>
              </a:p>
            </p:txBody>
          </p:sp>
          <p:sp>
            <p:nvSpPr>
              <p:cNvPr id="83" name="Овал 82">
                <a:extLst>
                  <a:ext uri="{FF2B5EF4-FFF2-40B4-BE49-F238E27FC236}">
                    <a16:creationId xmlns:a16="http://schemas.microsoft.com/office/drawing/2014/main" id="{7595BC5E-4AC7-44D4-AB5B-01F0990559D3}"/>
                  </a:ext>
                </a:extLst>
              </p:cNvPr>
              <p:cNvSpPr/>
              <p:nvPr/>
            </p:nvSpPr>
            <p:spPr>
              <a:xfrm>
                <a:off x="4439381" y="2994789"/>
                <a:ext cx="288000" cy="288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uk-UA" sz="1200" b="1" dirty="0">
                    <a:solidFill>
                      <a:schemeClr val="tx1"/>
                    </a:solidFill>
                  </a:rPr>
                  <a:t>5</a:t>
                </a:r>
              </a:p>
            </p:txBody>
          </p:sp>
        </p:grpSp>
      </p:grpSp>
      <p:sp>
        <p:nvSpPr>
          <p:cNvPr id="109" name="TextBox 108">
            <a:extLst>
              <a:ext uri="{FF2B5EF4-FFF2-40B4-BE49-F238E27FC236}">
                <a16:creationId xmlns:a16="http://schemas.microsoft.com/office/drawing/2014/main" id="{7F343594-ECE2-4B76-AB83-7689E982C359}"/>
              </a:ext>
            </a:extLst>
          </p:cNvPr>
          <p:cNvSpPr txBox="1"/>
          <p:nvPr/>
        </p:nvSpPr>
        <p:spPr>
          <a:xfrm>
            <a:off x="515938" y="1269000"/>
            <a:ext cx="5400000" cy="300517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r>
              <a:rPr lang="uk-UA" sz="1200" b="1" i="0" u="none" strike="noStrike" dirty="0">
                <a:solidFill>
                  <a:srgbClr val="000000"/>
                </a:solidFill>
                <a:effectLst/>
              </a:rPr>
              <a:t>ПОДІЛ УКРАЇНИ НА МАКРОРЕГІОНИ</a:t>
            </a:r>
            <a:endParaRPr lang="uk-UA" sz="1200" b="1" dirty="0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EE867585-E195-452C-A98B-5EE1CD68D783}"/>
              </a:ext>
            </a:extLst>
          </p:cNvPr>
          <p:cNvSpPr txBox="1"/>
          <p:nvPr/>
        </p:nvSpPr>
        <p:spPr>
          <a:xfrm>
            <a:off x="6183313" y="1269000"/>
            <a:ext cx="5400675" cy="300517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r>
              <a:rPr lang="uk-UA" sz="1200" b="1" i="0" u="none" strike="noStrike" dirty="0">
                <a:solidFill>
                  <a:srgbClr val="000000"/>
                </a:solidFill>
                <a:effectLst/>
              </a:rPr>
              <a:t>ПОРІВНЯННЯ ІНДЕКСУ ТУРИСТИЧНОЇ ПРИВАБЛИВОСТІ МАКРОРЕГІОНІВ</a:t>
            </a:r>
            <a:endParaRPr lang="uk-UA" sz="1200" b="1" dirty="0"/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21F5A67D-35FA-4DF9-8954-D07EBC9BD432}"/>
              </a:ext>
            </a:extLst>
          </p:cNvPr>
          <p:cNvSpPr txBox="1"/>
          <p:nvPr/>
        </p:nvSpPr>
        <p:spPr>
          <a:xfrm>
            <a:off x="10585451" y="2948697"/>
            <a:ext cx="1090612" cy="329981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uk-UA" sz="800" b="1" i="0" u="none" strike="noStrike" dirty="0">
                <a:solidFill>
                  <a:srgbClr val="000000"/>
                </a:solidFill>
                <a:effectLst/>
              </a:rPr>
              <a:t>Середнє</a:t>
            </a:r>
            <a:r>
              <a:rPr lang="uk-UA" sz="800" b="0" i="0" u="none" strike="noStrike" dirty="0">
                <a:solidFill>
                  <a:srgbClr val="000000"/>
                </a:solidFill>
                <a:effectLst/>
              </a:rPr>
              <a:t> </a:t>
            </a:r>
            <a:endParaRPr lang="uk-UA" sz="800" b="1" u="sng" dirty="0"/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7173DA0E-50D5-4912-8E1A-D3C62158FC2E}"/>
              </a:ext>
            </a:extLst>
          </p:cNvPr>
          <p:cNvSpPr txBox="1"/>
          <p:nvPr/>
        </p:nvSpPr>
        <p:spPr>
          <a:xfrm>
            <a:off x="11037887" y="2376599"/>
            <a:ext cx="638176" cy="329981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uk-UA" sz="800" b="1" i="0" u="none" strike="noStrike" dirty="0">
                <a:solidFill>
                  <a:srgbClr val="619047"/>
                </a:solidFill>
                <a:effectLst/>
              </a:rPr>
              <a:t>Середнє + стандартне відхилення</a:t>
            </a:r>
            <a:endParaRPr lang="uk-UA" sz="800" b="1" u="sng" dirty="0">
              <a:solidFill>
                <a:srgbClr val="619047"/>
              </a:solidFill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D5E1D69D-0F78-4145-9236-916FA7D15C32}"/>
              </a:ext>
            </a:extLst>
          </p:cNvPr>
          <p:cNvSpPr txBox="1"/>
          <p:nvPr/>
        </p:nvSpPr>
        <p:spPr>
          <a:xfrm>
            <a:off x="11037887" y="3520012"/>
            <a:ext cx="638176" cy="329981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uk-UA" sz="800" b="1" i="0" u="none" strike="noStrike" dirty="0">
                <a:solidFill>
                  <a:schemeClr val="accent1"/>
                </a:solidFill>
                <a:effectLst/>
              </a:rPr>
              <a:t>Середнє – стандартне відхилення</a:t>
            </a:r>
            <a:endParaRPr lang="uk-UA" sz="800" b="1" u="sng" dirty="0">
              <a:solidFill>
                <a:schemeClr val="accent1"/>
              </a:solidFill>
            </a:endParaRPr>
          </a:p>
        </p:txBody>
      </p:sp>
      <p:graphicFrame>
        <p:nvGraphicFramePr>
          <p:cNvPr id="14" name="Chart 3">
            <a:extLst>
              <a:ext uri="{FF2B5EF4-FFF2-40B4-BE49-F238E27FC236}">
                <a16:creationId xmlns:a16="http://schemas.microsoft.com/office/drawing/2014/main" id="{6A37C810-4112-A964-0737-D84F251A8F8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51007659"/>
              </p:ext>
            </p:extLst>
          </p:nvPr>
        </p:nvGraphicFramePr>
        <p:xfrm>
          <a:off x="6091238" y="1871663"/>
          <a:ext cx="4875212" cy="2922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117" name="Місце для тексту 2">
            <a:extLst>
              <a:ext uri="{FF2B5EF4-FFF2-40B4-BE49-F238E27FC236}">
                <a16:creationId xmlns:a16="http://schemas.microsoft.com/office/drawing/2014/main" id="{84E28A71-80E6-4185-9AC8-49609026367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934200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3705A2-F4E4-4418-8772-6CEB46B5439F}" type="datetime'''''''''''''''''''''''''1'''''''''''''''''''''''''''''''''''''">
              <a:rPr lang="uk-UA" altLang="en-US" sz="1000" smtClean="0"/>
              <a:pPr/>
              <a:t>1</a:t>
            </a:fld>
            <a:endParaRPr lang="uk-UA" sz="1000" dirty="0"/>
          </a:p>
        </p:txBody>
      </p:sp>
      <p:sp>
        <p:nvSpPr>
          <p:cNvPr id="115" name="Місце для тексту 2">
            <a:extLst>
              <a:ext uri="{FF2B5EF4-FFF2-40B4-BE49-F238E27FC236}">
                <a16:creationId xmlns:a16="http://schemas.microsoft.com/office/drawing/2014/main" id="{DFD23BD6-B6CB-4565-B2BE-EAD88BA0116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9871075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1FAC20-D880-4988-900F-E8D2D552D063}" type="datetime'''''''7'''''''''''''''''''''''''''''''''''''''''''''''''">
              <a:rPr lang="uk-UA" altLang="en-US" sz="1000" smtClean="0"/>
              <a:pPr/>
              <a:t>7</a:t>
            </a:fld>
            <a:endParaRPr lang="uk-UA" sz="1000" dirty="0"/>
          </a:p>
        </p:txBody>
      </p:sp>
      <p:sp>
        <p:nvSpPr>
          <p:cNvPr id="122" name="Місце для тексту 2">
            <a:extLst>
              <a:ext uri="{FF2B5EF4-FFF2-40B4-BE49-F238E27FC236}">
                <a16:creationId xmlns:a16="http://schemas.microsoft.com/office/drawing/2014/main" id="{749326EB-C7FB-4439-B3CD-21EAC7D4119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380538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48376A-7467-421E-83B9-BEB7C95C0B73}" type="datetime'''''''''''''''''''''''''''''''''6'''''''''''''">
              <a:rPr lang="uk-UA" altLang="en-US" sz="1000" smtClean="0"/>
              <a:pPr/>
              <a:t>6</a:t>
            </a:fld>
            <a:endParaRPr lang="uk-UA" sz="1000" dirty="0"/>
          </a:p>
        </p:txBody>
      </p:sp>
      <p:sp>
        <p:nvSpPr>
          <p:cNvPr id="118" name="Місце для тексту 2">
            <a:extLst>
              <a:ext uri="{FF2B5EF4-FFF2-40B4-BE49-F238E27FC236}">
                <a16:creationId xmlns:a16="http://schemas.microsoft.com/office/drawing/2014/main" id="{30B864A3-5095-4200-BCAF-082BF32A2C6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423150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2CC7BE-C6B8-46FA-A110-7C69296B797E}" type="datetime'''''''''''''''''''''''''''''''2'''''''''''''''''''''''''''''''">
              <a:rPr lang="uk-UA" altLang="en-US" sz="1000" smtClean="0"/>
              <a:pPr/>
              <a:t>2</a:t>
            </a:fld>
            <a:endParaRPr lang="uk-UA" sz="1000" dirty="0"/>
          </a:p>
        </p:txBody>
      </p:sp>
      <p:sp>
        <p:nvSpPr>
          <p:cNvPr id="119" name="Місце для тексту 2">
            <a:extLst>
              <a:ext uri="{FF2B5EF4-FFF2-40B4-BE49-F238E27FC236}">
                <a16:creationId xmlns:a16="http://schemas.microsoft.com/office/drawing/2014/main" id="{E503EDFC-0B7C-4092-B712-DC73D41DED2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402638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D8737D-6491-4ED6-9C98-B34538A657FE}" type="datetime'''''''''''''''''''''''''4'''">
              <a:rPr lang="uk-UA" altLang="en-US" sz="1000" smtClean="0"/>
              <a:pPr/>
              <a:t>4</a:t>
            </a:fld>
            <a:endParaRPr lang="uk-UA" sz="1000" dirty="0"/>
          </a:p>
        </p:txBody>
      </p:sp>
      <p:sp>
        <p:nvSpPr>
          <p:cNvPr id="120" name="Місце для тексту 2">
            <a:extLst>
              <a:ext uri="{FF2B5EF4-FFF2-40B4-BE49-F238E27FC236}">
                <a16:creationId xmlns:a16="http://schemas.microsoft.com/office/drawing/2014/main" id="{1803875E-7828-4D4B-B6E7-DB9BBBFE911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913688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3A32DD-A84D-4185-8484-E53E6A95D12A}" type="datetime'''''''3'''''''''''''''''''''''''''''''''''''''''''''''''''''">
              <a:rPr lang="uk-UA" altLang="en-US" sz="1000" smtClean="0"/>
              <a:pPr/>
              <a:t>3</a:t>
            </a:fld>
            <a:endParaRPr lang="uk-UA" sz="1000" dirty="0"/>
          </a:p>
        </p:txBody>
      </p:sp>
      <p:sp>
        <p:nvSpPr>
          <p:cNvPr id="123" name="Місце для тексту 2">
            <a:extLst>
              <a:ext uri="{FF2B5EF4-FFF2-40B4-BE49-F238E27FC236}">
                <a16:creationId xmlns:a16="http://schemas.microsoft.com/office/drawing/2014/main" id="{3BF981B3-4992-49C7-A5FD-8DCE31870654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891588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4F65BD-0984-44FF-8F46-C2C43C381C22}" type="datetime'''5'''''''''''">
              <a:rPr lang="uk-UA" altLang="en-US" sz="1000" smtClean="0"/>
              <a:pPr/>
              <a:t>5</a:t>
            </a:fld>
            <a:endParaRPr lang="uk-UA" sz="1000" dirty="0"/>
          </a:p>
        </p:txBody>
      </p:sp>
      <p:sp>
        <p:nvSpPr>
          <p:cNvPr id="121" name="Місце для тексту 2">
            <a:extLst>
              <a:ext uri="{FF2B5EF4-FFF2-40B4-BE49-F238E27FC236}">
                <a16:creationId xmlns:a16="http://schemas.microsoft.com/office/drawing/2014/main" id="{ADF07291-C42D-4D83-B295-7F1F2C62034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0360025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105AED-7B39-482D-A112-2F1A90F6F1FF}" type="datetime'''''''''''''''''''8'''''''''''''''''''''">
              <a:rPr lang="uk-UA" altLang="en-US" sz="1000" smtClean="0"/>
              <a:pPr/>
              <a:t>8</a:t>
            </a:fld>
            <a:endParaRPr lang="uk-UA" sz="1000" dirty="0"/>
          </a:p>
        </p:txBody>
      </p:sp>
      <p:cxnSp>
        <p:nvCxnSpPr>
          <p:cNvPr id="126" name="Пряма сполучна лінія 125">
            <a:extLst>
              <a:ext uri="{FF2B5EF4-FFF2-40B4-BE49-F238E27FC236}">
                <a16:creationId xmlns:a16="http://schemas.microsoft.com/office/drawing/2014/main" id="{F98A1155-CA05-49ED-B439-2C97DFADD11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6480175" y="3025775"/>
            <a:ext cx="44037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Пряма сполучна лінія 124">
            <a:extLst>
              <a:ext uri="{FF2B5EF4-FFF2-40B4-BE49-F238E27FC236}">
                <a16:creationId xmlns:a16="http://schemas.microsoft.com/office/drawing/2014/main" id="{144B4D4A-D649-4B88-BB3D-7C9D9F5C493C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6480175" y="2498725"/>
            <a:ext cx="44037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Пряма сполучна лінія 123">
            <a:extLst>
              <a:ext uri="{FF2B5EF4-FFF2-40B4-BE49-F238E27FC236}">
                <a16:creationId xmlns:a16="http://schemas.microsoft.com/office/drawing/2014/main" id="{2EDB84D1-7A3C-4362-8B75-F910CA2BACD8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480175" y="3554413"/>
            <a:ext cx="44037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7" name="Місце для тексту 2">
            <a:extLst>
              <a:ext uri="{FF2B5EF4-FFF2-40B4-BE49-F238E27FC236}">
                <a16:creationId xmlns:a16="http://schemas.microsoft.com/office/drawing/2014/main" id="{23FBFD70-0C09-45E1-88D8-0847353A35F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183313" y="1668464"/>
            <a:ext cx="2039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2152341-C7D2-4A23-9B2A-AA4D7F46780F}" type="datetime'І''нд''''е''''кс'' турист''ичної ''при''в''аб''л''иво''''сті'">
              <a:rPr lang="ru-RU" altLang="en-US" sz="1000" smtClean="0"/>
              <a:pPr/>
              <a:t>Індекс туристичної привабливості</a:t>
            </a:fld>
            <a:endParaRPr lang="uk-UA" sz="1000" dirty="0"/>
          </a:p>
        </p:txBody>
      </p:sp>
      <p:sp>
        <p:nvSpPr>
          <p:cNvPr id="128" name="Стрілка: вправо 127">
            <a:extLst>
              <a:ext uri="{FF2B5EF4-FFF2-40B4-BE49-F238E27FC236}">
                <a16:creationId xmlns:a16="http://schemas.microsoft.com/office/drawing/2014/main" id="{38D29163-D72D-48CD-93B0-CB995DE4841D}"/>
              </a:ext>
            </a:extLst>
          </p:cNvPr>
          <p:cNvSpPr/>
          <p:nvPr/>
        </p:nvSpPr>
        <p:spPr>
          <a:xfrm>
            <a:off x="5493876" y="3099830"/>
            <a:ext cx="252000" cy="252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7464141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'єкт 6" hidden="1">
            <a:extLst>
              <a:ext uri="{FF2B5EF4-FFF2-40B4-BE49-F238E27FC236}">
                <a16:creationId xmlns:a16="http://schemas.microsoft.com/office/drawing/2014/main" id="{5E5FF50D-F96D-4904-A92C-F99C8A8081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230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7" name="Об'єкт 6" hidden="1">
                        <a:extLst>
                          <a:ext uri="{FF2B5EF4-FFF2-40B4-BE49-F238E27FC236}">
                            <a16:creationId xmlns:a16="http://schemas.microsoft.com/office/drawing/2014/main" id="{5E5FF50D-F96D-4904-A92C-F99C8A8081E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6" name="Прямокутник 355">
            <a:extLst>
              <a:ext uri="{FF2B5EF4-FFF2-40B4-BE49-F238E27FC236}">
                <a16:creationId xmlns:a16="http://schemas.microsoft.com/office/drawing/2014/main" id="{E130A6AA-FF2E-4488-B475-85F52ABB7C03}"/>
              </a:ext>
            </a:extLst>
          </p:cNvPr>
          <p:cNvSpPr/>
          <p:nvPr/>
        </p:nvSpPr>
        <p:spPr>
          <a:xfrm>
            <a:off x="6489784" y="3557032"/>
            <a:ext cx="4403725" cy="1046306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uk-UA" sz="1000" dirty="0">
                <a:solidFill>
                  <a:schemeClr val="tx1"/>
                </a:solidFill>
              </a:rPr>
              <a:t>Області з суттєво нижчим</a:t>
            </a:r>
          </a:p>
          <a:p>
            <a:pPr algn="r"/>
            <a:r>
              <a:rPr lang="uk-UA" sz="1000" dirty="0">
                <a:solidFill>
                  <a:schemeClr val="tx1"/>
                </a:solidFill>
              </a:rPr>
              <a:t>рівнем розвитку туризму</a:t>
            </a:r>
          </a:p>
        </p:txBody>
      </p:sp>
      <p:sp>
        <p:nvSpPr>
          <p:cNvPr id="355" name="Прямокутник 354">
            <a:extLst>
              <a:ext uri="{FF2B5EF4-FFF2-40B4-BE49-F238E27FC236}">
                <a16:creationId xmlns:a16="http://schemas.microsoft.com/office/drawing/2014/main" id="{0F8EC2FB-DF9F-49B8-98A1-B8BC071E805C}"/>
              </a:ext>
            </a:extLst>
          </p:cNvPr>
          <p:cNvSpPr/>
          <p:nvPr/>
        </p:nvSpPr>
        <p:spPr>
          <a:xfrm>
            <a:off x="6489784" y="1970088"/>
            <a:ext cx="4403725" cy="521929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uk-UA" sz="1000" b="0" i="0" u="none" strike="noStrike" dirty="0">
                <a:solidFill>
                  <a:srgbClr val="000000"/>
                </a:solidFill>
                <a:effectLst/>
              </a:rPr>
              <a:t>Області, в яких є сильний</a:t>
            </a:r>
          </a:p>
          <a:p>
            <a:pPr algn="r"/>
            <a:r>
              <a:rPr lang="uk-UA" sz="1000" b="0" i="0" u="none" strike="noStrike" dirty="0">
                <a:solidFill>
                  <a:srgbClr val="000000"/>
                </a:solidFill>
                <a:effectLst/>
              </a:rPr>
              <a:t>туристичний магніт</a:t>
            </a:r>
            <a:endParaRPr lang="uk-UA" sz="1000" b="1" u="sng" dirty="0"/>
          </a:p>
        </p:txBody>
      </p:sp>
      <p:sp>
        <p:nvSpPr>
          <p:cNvPr id="8" name="Прямокутник 7" hidden="1">
            <a:extLst>
              <a:ext uri="{FF2B5EF4-FFF2-40B4-BE49-F238E27FC236}">
                <a16:creationId xmlns:a16="http://schemas.microsoft.com/office/drawing/2014/main" id="{BA8A7333-567E-4D9F-BE90-59920FB8F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-Ukraine Head LOGO" panose="00000605000000000000" pitchFamily="50" charset="-52"/>
              <a:ea typeface="+mn-ea"/>
              <a:cs typeface="Arial" panose="020B0604020202020204" pitchFamily="34" charset="0"/>
              <a:sym typeface="e-Ukraine Head LOGO" panose="00000605000000000000" pitchFamily="50" charset="-52"/>
            </a:endParaRPr>
          </a:p>
        </p:txBody>
      </p:sp>
      <p:sp>
        <p:nvSpPr>
          <p:cNvPr id="71" name="Місце для тексту 3">
            <a:extLst>
              <a:ext uri="{FF2B5EF4-FFF2-40B4-BE49-F238E27FC236}">
                <a16:creationId xmlns:a16="http://schemas.microsoft.com/office/drawing/2014/main" id="{E57AD8F6-B769-4F9E-82F0-56EFACE37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7" y="189401"/>
            <a:ext cx="11160126" cy="647212"/>
          </a:xfrm>
          <a:ln>
            <a:noFill/>
          </a:ln>
        </p:spPr>
        <p:txBody>
          <a:bodyPr anchor="ctr"/>
          <a:lstStyle/>
          <a:p>
            <a:r>
              <a:rPr lang="uk-UA" dirty="0">
                <a:solidFill>
                  <a:schemeClr val="tx1"/>
                </a:solidFill>
              </a:rPr>
              <a:t>Базуючись на аналізі міжнародного досвіду було вирішено фокусуватися на кластерах, тож було визначено найбільш привабливий </a:t>
            </a:r>
            <a:r>
              <a:rPr lang="uk-UA" dirty="0" err="1">
                <a:solidFill>
                  <a:schemeClr val="tx1"/>
                </a:solidFill>
              </a:rPr>
              <a:t>макрорегіон</a:t>
            </a:r>
            <a:endParaRPr lang="uk-UA" dirty="0">
              <a:solidFill>
                <a:schemeClr val="tx1"/>
              </a:solidFill>
            </a:endParaRPr>
          </a:p>
        </p:txBody>
      </p:sp>
      <p:grpSp>
        <p:nvGrpSpPr>
          <p:cNvPr id="347" name="Групувати 346">
            <a:extLst>
              <a:ext uri="{FF2B5EF4-FFF2-40B4-BE49-F238E27FC236}">
                <a16:creationId xmlns:a16="http://schemas.microsoft.com/office/drawing/2014/main" id="{D21C95E2-EC8C-4BCC-AC2B-2AB27B614BD0}"/>
              </a:ext>
            </a:extLst>
          </p:cNvPr>
          <p:cNvGrpSpPr/>
          <p:nvPr/>
        </p:nvGrpSpPr>
        <p:grpSpPr>
          <a:xfrm>
            <a:off x="515938" y="1668464"/>
            <a:ext cx="4729162" cy="3206163"/>
            <a:chOff x="515938" y="1970314"/>
            <a:chExt cx="5165262" cy="3501820"/>
          </a:xfrm>
        </p:grpSpPr>
        <p:grpSp>
          <p:nvGrpSpPr>
            <p:cNvPr id="17" name="Групувати 16">
              <a:extLst>
                <a:ext uri="{FF2B5EF4-FFF2-40B4-BE49-F238E27FC236}">
                  <a16:creationId xmlns:a16="http://schemas.microsoft.com/office/drawing/2014/main" id="{3A47DA56-44D4-4A48-8AF3-D8FFD4B5D902}"/>
                </a:ext>
              </a:extLst>
            </p:cNvPr>
            <p:cNvGrpSpPr/>
            <p:nvPr/>
          </p:nvGrpSpPr>
          <p:grpSpPr>
            <a:xfrm>
              <a:off x="515938" y="1970314"/>
              <a:ext cx="5165262" cy="3501820"/>
              <a:chOff x="982889" y="1847740"/>
              <a:chExt cx="6448198" cy="4371595"/>
            </a:xfrm>
          </p:grpSpPr>
          <p:sp>
            <p:nvSpPr>
              <p:cNvPr id="18" name="Freeform 1159">
                <a:extLst>
                  <a:ext uri="{FF2B5EF4-FFF2-40B4-BE49-F238E27FC236}">
                    <a16:creationId xmlns:a16="http://schemas.microsoft.com/office/drawing/2014/main" id="{D57A8FA8-B4FE-4BBA-A910-5815191526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0544" y="4121818"/>
                <a:ext cx="1108836" cy="1031103"/>
              </a:xfrm>
              <a:custGeom>
                <a:avLst/>
                <a:gdLst>
                  <a:gd name="T0" fmla="*/ 47625 w 157"/>
                  <a:gd name="T1" fmla="*/ 436563 h 146"/>
                  <a:gd name="T2" fmla="*/ 198437 w 157"/>
                  <a:gd name="T3" fmla="*/ 396875 h 146"/>
                  <a:gd name="T4" fmla="*/ 277812 w 157"/>
                  <a:gd name="T5" fmla="*/ 357188 h 146"/>
                  <a:gd name="T6" fmla="*/ 261937 w 157"/>
                  <a:gd name="T7" fmla="*/ 222250 h 146"/>
                  <a:gd name="T8" fmla="*/ 261937 w 157"/>
                  <a:gd name="T9" fmla="*/ 142875 h 146"/>
                  <a:gd name="T10" fmla="*/ 230187 w 157"/>
                  <a:gd name="T11" fmla="*/ 87313 h 146"/>
                  <a:gd name="T12" fmla="*/ 341312 w 157"/>
                  <a:gd name="T13" fmla="*/ 39688 h 146"/>
                  <a:gd name="T14" fmla="*/ 373062 w 157"/>
                  <a:gd name="T15" fmla="*/ 39688 h 146"/>
                  <a:gd name="T16" fmla="*/ 523875 w 157"/>
                  <a:gd name="T17" fmla="*/ 39688 h 146"/>
                  <a:gd name="T18" fmla="*/ 650875 w 157"/>
                  <a:gd name="T19" fmla="*/ 47625 h 146"/>
                  <a:gd name="T20" fmla="*/ 722312 w 157"/>
                  <a:gd name="T21" fmla="*/ 55563 h 146"/>
                  <a:gd name="T22" fmla="*/ 746125 w 157"/>
                  <a:gd name="T23" fmla="*/ 158750 h 146"/>
                  <a:gd name="T24" fmla="*/ 825500 w 157"/>
                  <a:gd name="T25" fmla="*/ 182563 h 146"/>
                  <a:gd name="T26" fmla="*/ 904875 w 157"/>
                  <a:gd name="T27" fmla="*/ 182563 h 146"/>
                  <a:gd name="T28" fmla="*/ 976312 w 157"/>
                  <a:gd name="T29" fmla="*/ 198438 h 146"/>
                  <a:gd name="T30" fmla="*/ 1031875 w 157"/>
                  <a:gd name="T31" fmla="*/ 301625 h 146"/>
                  <a:gd name="T32" fmla="*/ 1135062 w 157"/>
                  <a:gd name="T33" fmla="*/ 341313 h 146"/>
                  <a:gd name="T34" fmla="*/ 1230312 w 157"/>
                  <a:gd name="T35" fmla="*/ 404813 h 146"/>
                  <a:gd name="T36" fmla="*/ 1190625 w 157"/>
                  <a:gd name="T37" fmla="*/ 452438 h 146"/>
                  <a:gd name="T38" fmla="*/ 1119187 w 157"/>
                  <a:gd name="T39" fmla="*/ 515938 h 146"/>
                  <a:gd name="T40" fmla="*/ 1166812 w 157"/>
                  <a:gd name="T41" fmla="*/ 627063 h 146"/>
                  <a:gd name="T42" fmla="*/ 1206500 w 157"/>
                  <a:gd name="T43" fmla="*/ 690563 h 146"/>
                  <a:gd name="T44" fmla="*/ 1103312 w 157"/>
                  <a:gd name="T45" fmla="*/ 825500 h 146"/>
                  <a:gd name="T46" fmla="*/ 785812 w 157"/>
                  <a:gd name="T47" fmla="*/ 896938 h 146"/>
                  <a:gd name="T48" fmla="*/ 595312 w 157"/>
                  <a:gd name="T49" fmla="*/ 1039813 h 146"/>
                  <a:gd name="T50" fmla="*/ 508000 w 157"/>
                  <a:gd name="T51" fmla="*/ 1119188 h 146"/>
                  <a:gd name="T52" fmla="*/ 484187 w 157"/>
                  <a:gd name="T53" fmla="*/ 1079500 h 146"/>
                  <a:gd name="T54" fmla="*/ 420687 w 157"/>
                  <a:gd name="T55" fmla="*/ 1150938 h 146"/>
                  <a:gd name="T56" fmla="*/ 333375 w 157"/>
                  <a:gd name="T57" fmla="*/ 1047750 h 146"/>
                  <a:gd name="T58" fmla="*/ 238125 w 157"/>
                  <a:gd name="T59" fmla="*/ 968375 h 146"/>
                  <a:gd name="T60" fmla="*/ 214312 w 157"/>
                  <a:gd name="T61" fmla="*/ 889000 h 146"/>
                  <a:gd name="T62" fmla="*/ 230187 w 157"/>
                  <a:gd name="T63" fmla="*/ 801688 h 146"/>
                  <a:gd name="T64" fmla="*/ 166687 w 157"/>
                  <a:gd name="T65" fmla="*/ 738188 h 146"/>
                  <a:gd name="T66" fmla="*/ 119062 w 157"/>
                  <a:gd name="T67" fmla="*/ 595313 h 146"/>
                  <a:gd name="T68" fmla="*/ 23812 w 157"/>
                  <a:gd name="T69" fmla="*/ 531813 h 146"/>
                  <a:gd name="T70" fmla="*/ 0 w 157"/>
                  <a:gd name="T71" fmla="*/ 452438 h 14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57"/>
                  <a:gd name="T109" fmla="*/ 0 h 146"/>
                  <a:gd name="T110" fmla="*/ 157 w 157"/>
                  <a:gd name="T111" fmla="*/ 146 h 14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57" h="146">
                    <a:moveTo>
                      <a:pt x="0" y="57"/>
                    </a:moveTo>
                    <a:cubicBezTo>
                      <a:pt x="0" y="57"/>
                      <a:pt x="2" y="54"/>
                      <a:pt x="6" y="55"/>
                    </a:cubicBezTo>
                    <a:cubicBezTo>
                      <a:pt x="6" y="55"/>
                      <a:pt x="11" y="53"/>
                      <a:pt x="13" y="51"/>
                    </a:cubicBezTo>
                    <a:cubicBezTo>
                      <a:pt x="13" y="51"/>
                      <a:pt x="18" y="47"/>
                      <a:pt x="25" y="50"/>
                    </a:cubicBezTo>
                    <a:cubicBezTo>
                      <a:pt x="25" y="50"/>
                      <a:pt x="26" y="52"/>
                      <a:pt x="32" y="51"/>
                    </a:cubicBezTo>
                    <a:cubicBezTo>
                      <a:pt x="32" y="51"/>
                      <a:pt x="36" y="53"/>
                      <a:pt x="35" y="45"/>
                    </a:cubicBezTo>
                    <a:cubicBezTo>
                      <a:pt x="35" y="45"/>
                      <a:pt x="34" y="41"/>
                      <a:pt x="35" y="39"/>
                    </a:cubicBezTo>
                    <a:cubicBezTo>
                      <a:pt x="39" y="34"/>
                      <a:pt x="31" y="37"/>
                      <a:pt x="33" y="28"/>
                    </a:cubicBezTo>
                    <a:cubicBezTo>
                      <a:pt x="33" y="28"/>
                      <a:pt x="28" y="25"/>
                      <a:pt x="28" y="23"/>
                    </a:cubicBezTo>
                    <a:cubicBezTo>
                      <a:pt x="28" y="19"/>
                      <a:pt x="36" y="20"/>
                      <a:pt x="33" y="18"/>
                    </a:cubicBezTo>
                    <a:cubicBezTo>
                      <a:pt x="33" y="18"/>
                      <a:pt x="30" y="15"/>
                      <a:pt x="27" y="15"/>
                    </a:cubicBezTo>
                    <a:cubicBezTo>
                      <a:pt x="27" y="15"/>
                      <a:pt x="30" y="13"/>
                      <a:pt x="29" y="11"/>
                    </a:cubicBezTo>
                    <a:cubicBezTo>
                      <a:pt x="29" y="11"/>
                      <a:pt x="28" y="7"/>
                      <a:pt x="36" y="8"/>
                    </a:cubicBezTo>
                    <a:cubicBezTo>
                      <a:pt x="36" y="8"/>
                      <a:pt x="37" y="3"/>
                      <a:pt x="43" y="5"/>
                    </a:cubicBezTo>
                    <a:cubicBezTo>
                      <a:pt x="44" y="4"/>
                      <a:pt x="44" y="4"/>
                      <a:pt x="45" y="4"/>
                    </a:cubicBezTo>
                    <a:cubicBezTo>
                      <a:pt x="46" y="5"/>
                      <a:pt x="46" y="5"/>
                      <a:pt x="47" y="5"/>
                    </a:cubicBezTo>
                    <a:cubicBezTo>
                      <a:pt x="47" y="5"/>
                      <a:pt x="50" y="3"/>
                      <a:pt x="58" y="5"/>
                    </a:cubicBezTo>
                    <a:cubicBezTo>
                      <a:pt x="58" y="5"/>
                      <a:pt x="62" y="8"/>
                      <a:pt x="66" y="5"/>
                    </a:cubicBezTo>
                    <a:cubicBezTo>
                      <a:pt x="66" y="5"/>
                      <a:pt x="70" y="0"/>
                      <a:pt x="75" y="4"/>
                    </a:cubicBezTo>
                    <a:cubicBezTo>
                      <a:pt x="75" y="4"/>
                      <a:pt x="77" y="7"/>
                      <a:pt x="82" y="6"/>
                    </a:cubicBezTo>
                    <a:cubicBezTo>
                      <a:pt x="82" y="6"/>
                      <a:pt x="87" y="2"/>
                      <a:pt x="87" y="8"/>
                    </a:cubicBezTo>
                    <a:cubicBezTo>
                      <a:pt x="87" y="8"/>
                      <a:pt x="88" y="10"/>
                      <a:pt x="91" y="7"/>
                    </a:cubicBezTo>
                    <a:cubicBezTo>
                      <a:pt x="91" y="7"/>
                      <a:pt x="89" y="10"/>
                      <a:pt x="93" y="15"/>
                    </a:cubicBezTo>
                    <a:cubicBezTo>
                      <a:pt x="93" y="15"/>
                      <a:pt x="100" y="16"/>
                      <a:pt x="94" y="20"/>
                    </a:cubicBezTo>
                    <a:cubicBezTo>
                      <a:pt x="94" y="20"/>
                      <a:pt x="94" y="24"/>
                      <a:pt x="98" y="22"/>
                    </a:cubicBezTo>
                    <a:cubicBezTo>
                      <a:pt x="98" y="22"/>
                      <a:pt x="99" y="19"/>
                      <a:pt x="104" y="23"/>
                    </a:cubicBezTo>
                    <a:cubicBezTo>
                      <a:pt x="104" y="23"/>
                      <a:pt x="104" y="27"/>
                      <a:pt x="109" y="22"/>
                    </a:cubicBezTo>
                    <a:cubicBezTo>
                      <a:pt x="109" y="22"/>
                      <a:pt x="112" y="25"/>
                      <a:pt x="114" y="23"/>
                    </a:cubicBezTo>
                    <a:cubicBezTo>
                      <a:pt x="114" y="23"/>
                      <a:pt x="115" y="20"/>
                      <a:pt x="120" y="22"/>
                    </a:cubicBezTo>
                    <a:cubicBezTo>
                      <a:pt x="120" y="26"/>
                      <a:pt x="123" y="25"/>
                      <a:pt x="123" y="25"/>
                    </a:cubicBezTo>
                    <a:cubicBezTo>
                      <a:pt x="126" y="25"/>
                      <a:pt x="126" y="30"/>
                      <a:pt x="126" y="30"/>
                    </a:cubicBezTo>
                    <a:cubicBezTo>
                      <a:pt x="128" y="33"/>
                      <a:pt x="130" y="38"/>
                      <a:pt x="130" y="38"/>
                    </a:cubicBezTo>
                    <a:cubicBezTo>
                      <a:pt x="135" y="37"/>
                      <a:pt x="137" y="41"/>
                      <a:pt x="137" y="41"/>
                    </a:cubicBezTo>
                    <a:cubicBezTo>
                      <a:pt x="138" y="43"/>
                      <a:pt x="140" y="38"/>
                      <a:pt x="143" y="43"/>
                    </a:cubicBezTo>
                    <a:cubicBezTo>
                      <a:pt x="146" y="43"/>
                      <a:pt x="150" y="47"/>
                      <a:pt x="150" y="47"/>
                    </a:cubicBezTo>
                    <a:cubicBezTo>
                      <a:pt x="157" y="47"/>
                      <a:pt x="155" y="51"/>
                      <a:pt x="155" y="51"/>
                    </a:cubicBezTo>
                    <a:cubicBezTo>
                      <a:pt x="147" y="53"/>
                      <a:pt x="152" y="55"/>
                      <a:pt x="152" y="55"/>
                    </a:cubicBezTo>
                    <a:cubicBezTo>
                      <a:pt x="152" y="55"/>
                      <a:pt x="156" y="56"/>
                      <a:pt x="150" y="57"/>
                    </a:cubicBezTo>
                    <a:cubicBezTo>
                      <a:pt x="147" y="57"/>
                      <a:pt x="151" y="62"/>
                      <a:pt x="146" y="60"/>
                    </a:cubicBezTo>
                    <a:cubicBezTo>
                      <a:pt x="137" y="61"/>
                      <a:pt x="141" y="65"/>
                      <a:pt x="141" y="65"/>
                    </a:cubicBezTo>
                    <a:cubicBezTo>
                      <a:pt x="143" y="69"/>
                      <a:pt x="139" y="71"/>
                      <a:pt x="139" y="71"/>
                    </a:cubicBezTo>
                    <a:cubicBezTo>
                      <a:pt x="147" y="72"/>
                      <a:pt x="147" y="79"/>
                      <a:pt x="147" y="79"/>
                    </a:cubicBezTo>
                    <a:cubicBezTo>
                      <a:pt x="156" y="79"/>
                      <a:pt x="154" y="83"/>
                      <a:pt x="154" y="83"/>
                    </a:cubicBezTo>
                    <a:cubicBezTo>
                      <a:pt x="155" y="86"/>
                      <a:pt x="152" y="87"/>
                      <a:pt x="152" y="87"/>
                    </a:cubicBezTo>
                    <a:cubicBezTo>
                      <a:pt x="144" y="88"/>
                      <a:pt x="151" y="93"/>
                      <a:pt x="151" y="93"/>
                    </a:cubicBezTo>
                    <a:cubicBezTo>
                      <a:pt x="144" y="98"/>
                      <a:pt x="139" y="104"/>
                      <a:pt x="139" y="104"/>
                    </a:cubicBezTo>
                    <a:cubicBezTo>
                      <a:pt x="125" y="98"/>
                      <a:pt x="113" y="115"/>
                      <a:pt x="113" y="115"/>
                    </a:cubicBezTo>
                    <a:cubicBezTo>
                      <a:pt x="106" y="109"/>
                      <a:pt x="99" y="113"/>
                      <a:pt x="99" y="113"/>
                    </a:cubicBezTo>
                    <a:cubicBezTo>
                      <a:pt x="86" y="115"/>
                      <a:pt x="82" y="124"/>
                      <a:pt x="82" y="124"/>
                    </a:cubicBezTo>
                    <a:cubicBezTo>
                      <a:pt x="81" y="128"/>
                      <a:pt x="75" y="131"/>
                      <a:pt x="75" y="131"/>
                    </a:cubicBezTo>
                    <a:lnTo>
                      <a:pt x="64" y="141"/>
                    </a:lnTo>
                    <a:cubicBezTo>
                      <a:pt x="59" y="143"/>
                      <a:pt x="61" y="136"/>
                      <a:pt x="61" y="136"/>
                    </a:cubicBezTo>
                    <a:cubicBezTo>
                      <a:pt x="60" y="131"/>
                      <a:pt x="57" y="137"/>
                      <a:pt x="57" y="137"/>
                    </a:cubicBezTo>
                    <a:cubicBezTo>
                      <a:pt x="56" y="141"/>
                      <a:pt x="55" y="143"/>
                      <a:pt x="53" y="145"/>
                    </a:cubicBezTo>
                    <a:cubicBezTo>
                      <a:pt x="46" y="146"/>
                      <a:pt x="48" y="142"/>
                      <a:pt x="48" y="142"/>
                    </a:cubicBezTo>
                    <a:cubicBezTo>
                      <a:pt x="48" y="130"/>
                      <a:pt x="42" y="132"/>
                      <a:pt x="42" y="132"/>
                    </a:cubicBezTo>
                    <a:cubicBezTo>
                      <a:pt x="37" y="131"/>
                      <a:pt x="37" y="127"/>
                      <a:pt x="37" y="127"/>
                    </a:cubicBezTo>
                    <a:cubicBezTo>
                      <a:pt x="29" y="126"/>
                      <a:pt x="30" y="122"/>
                      <a:pt x="30" y="122"/>
                    </a:cubicBezTo>
                    <a:cubicBezTo>
                      <a:pt x="31" y="119"/>
                      <a:pt x="27" y="117"/>
                      <a:pt x="27" y="117"/>
                    </a:cubicBezTo>
                    <a:cubicBezTo>
                      <a:pt x="20" y="117"/>
                      <a:pt x="27" y="112"/>
                      <a:pt x="27" y="112"/>
                    </a:cubicBezTo>
                    <a:cubicBezTo>
                      <a:pt x="31" y="111"/>
                      <a:pt x="29" y="107"/>
                      <a:pt x="29" y="107"/>
                    </a:cubicBezTo>
                    <a:cubicBezTo>
                      <a:pt x="36" y="103"/>
                      <a:pt x="29" y="101"/>
                      <a:pt x="29" y="101"/>
                    </a:cubicBezTo>
                    <a:cubicBezTo>
                      <a:pt x="29" y="96"/>
                      <a:pt x="24" y="97"/>
                      <a:pt x="24" y="97"/>
                    </a:cubicBezTo>
                    <a:cubicBezTo>
                      <a:pt x="22" y="97"/>
                      <a:pt x="21" y="93"/>
                      <a:pt x="21" y="93"/>
                    </a:cubicBezTo>
                    <a:cubicBezTo>
                      <a:pt x="16" y="92"/>
                      <a:pt x="18" y="86"/>
                      <a:pt x="18" y="86"/>
                    </a:cubicBezTo>
                    <a:cubicBezTo>
                      <a:pt x="13" y="83"/>
                      <a:pt x="15" y="75"/>
                      <a:pt x="15" y="75"/>
                    </a:cubicBezTo>
                    <a:cubicBezTo>
                      <a:pt x="12" y="64"/>
                      <a:pt x="9" y="72"/>
                      <a:pt x="9" y="72"/>
                    </a:cubicBezTo>
                    <a:cubicBezTo>
                      <a:pt x="3" y="75"/>
                      <a:pt x="3" y="67"/>
                      <a:pt x="3" y="67"/>
                    </a:cubicBezTo>
                    <a:cubicBezTo>
                      <a:pt x="0" y="63"/>
                      <a:pt x="0" y="57"/>
                      <a:pt x="0" y="57"/>
                    </a:cubicBezTo>
                  </a:path>
                </a:pathLst>
              </a:custGeom>
              <a:solidFill>
                <a:schemeClr val="accent6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19" name="Freeform 1155">
                <a:extLst>
                  <a:ext uri="{FF2B5EF4-FFF2-40B4-BE49-F238E27FC236}">
                    <a16:creationId xmlns:a16="http://schemas.microsoft.com/office/drawing/2014/main" id="{981F5C58-8F3A-40C4-A668-924B5F88B9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7843" y="5209419"/>
                <a:ext cx="1624410" cy="1009916"/>
              </a:xfrm>
              <a:custGeom>
                <a:avLst/>
                <a:gdLst>
                  <a:gd name="T0" fmla="*/ 571500 w 230"/>
                  <a:gd name="T1" fmla="*/ 63500 h 143"/>
                  <a:gd name="T2" fmla="*/ 642938 w 230"/>
                  <a:gd name="T3" fmla="*/ 103187 h 143"/>
                  <a:gd name="T4" fmla="*/ 730250 w 230"/>
                  <a:gd name="T5" fmla="*/ 111125 h 143"/>
                  <a:gd name="T6" fmla="*/ 738188 w 230"/>
                  <a:gd name="T7" fmla="*/ 158750 h 143"/>
                  <a:gd name="T8" fmla="*/ 762000 w 230"/>
                  <a:gd name="T9" fmla="*/ 134937 h 143"/>
                  <a:gd name="T10" fmla="*/ 833438 w 230"/>
                  <a:gd name="T11" fmla="*/ 158750 h 143"/>
                  <a:gd name="T12" fmla="*/ 912813 w 230"/>
                  <a:gd name="T13" fmla="*/ 174625 h 143"/>
                  <a:gd name="T14" fmla="*/ 873125 w 230"/>
                  <a:gd name="T15" fmla="*/ 142875 h 143"/>
                  <a:gd name="T16" fmla="*/ 920750 w 230"/>
                  <a:gd name="T17" fmla="*/ 190500 h 143"/>
                  <a:gd name="T18" fmla="*/ 936625 w 230"/>
                  <a:gd name="T19" fmla="*/ 222250 h 143"/>
                  <a:gd name="T20" fmla="*/ 968375 w 230"/>
                  <a:gd name="T21" fmla="*/ 246062 h 143"/>
                  <a:gd name="T22" fmla="*/ 1000125 w 230"/>
                  <a:gd name="T23" fmla="*/ 222250 h 143"/>
                  <a:gd name="T24" fmla="*/ 1008063 w 230"/>
                  <a:gd name="T25" fmla="*/ 285750 h 143"/>
                  <a:gd name="T26" fmla="*/ 1119188 w 230"/>
                  <a:gd name="T27" fmla="*/ 357187 h 143"/>
                  <a:gd name="T28" fmla="*/ 1150938 w 230"/>
                  <a:gd name="T29" fmla="*/ 396875 h 143"/>
                  <a:gd name="T30" fmla="*/ 1150938 w 230"/>
                  <a:gd name="T31" fmla="*/ 444500 h 143"/>
                  <a:gd name="T32" fmla="*/ 1214438 w 230"/>
                  <a:gd name="T33" fmla="*/ 523875 h 143"/>
                  <a:gd name="T34" fmla="*/ 1341438 w 230"/>
                  <a:gd name="T35" fmla="*/ 539750 h 143"/>
                  <a:gd name="T36" fmla="*/ 1150938 w 230"/>
                  <a:gd name="T37" fmla="*/ 349250 h 143"/>
                  <a:gd name="T38" fmla="*/ 1039813 w 230"/>
                  <a:gd name="T39" fmla="*/ 166687 h 143"/>
                  <a:gd name="T40" fmla="*/ 968375 w 230"/>
                  <a:gd name="T41" fmla="*/ 63500 h 143"/>
                  <a:gd name="T42" fmla="*/ 1008063 w 230"/>
                  <a:gd name="T43" fmla="*/ 55562 h 143"/>
                  <a:gd name="T44" fmla="*/ 1023938 w 230"/>
                  <a:gd name="T45" fmla="*/ 39687 h 143"/>
                  <a:gd name="T46" fmla="*/ 1111250 w 230"/>
                  <a:gd name="T47" fmla="*/ 277812 h 143"/>
                  <a:gd name="T48" fmla="*/ 1293813 w 230"/>
                  <a:gd name="T49" fmla="*/ 500062 h 143"/>
                  <a:gd name="T50" fmla="*/ 1484313 w 230"/>
                  <a:gd name="T51" fmla="*/ 412750 h 143"/>
                  <a:gd name="T52" fmla="*/ 1658938 w 230"/>
                  <a:gd name="T53" fmla="*/ 404812 h 143"/>
                  <a:gd name="T54" fmla="*/ 1825625 w 230"/>
                  <a:gd name="T55" fmla="*/ 444500 h 143"/>
                  <a:gd name="T56" fmla="*/ 1746250 w 230"/>
                  <a:gd name="T57" fmla="*/ 595312 h 143"/>
                  <a:gd name="T58" fmla="*/ 1674813 w 230"/>
                  <a:gd name="T59" fmla="*/ 682625 h 143"/>
                  <a:gd name="T60" fmla="*/ 1547813 w 230"/>
                  <a:gd name="T61" fmla="*/ 690562 h 143"/>
                  <a:gd name="T62" fmla="*/ 1444625 w 230"/>
                  <a:gd name="T63" fmla="*/ 650875 h 143"/>
                  <a:gd name="T64" fmla="*/ 1309688 w 230"/>
                  <a:gd name="T65" fmla="*/ 690562 h 143"/>
                  <a:gd name="T66" fmla="*/ 1198563 w 230"/>
                  <a:gd name="T67" fmla="*/ 833437 h 143"/>
                  <a:gd name="T68" fmla="*/ 1055688 w 230"/>
                  <a:gd name="T69" fmla="*/ 833437 h 143"/>
                  <a:gd name="T70" fmla="*/ 896938 w 230"/>
                  <a:gd name="T71" fmla="*/ 944562 h 143"/>
                  <a:gd name="T72" fmla="*/ 730250 w 230"/>
                  <a:gd name="T73" fmla="*/ 1119187 h 143"/>
                  <a:gd name="T74" fmla="*/ 547688 w 230"/>
                  <a:gd name="T75" fmla="*/ 1079500 h 143"/>
                  <a:gd name="T76" fmla="*/ 444500 w 230"/>
                  <a:gd name="T77" fmla="*/ 1000125 h 143"/>
                  <a:gd name="T78" fmla="*/ 539750 w 230"/>
                  <a:gd name="T79" fmla="*/ 833437 h 143"/>
                  <a:gd name="T80" fmla="*/ 428625 w 230"/>
                  <a:gd name="T81" fmla="*/ 627062 h 143"/>
                  <a:gd name="T82" fmla="*/ 277813 w 230"/>
                  <a:gd name="T83" fmla="*/ 579437 h 143"/>
                  <a:gd name="T84" fmla="*/ 79375 w 230"/>
                  <a:gd name="T85" fmla="*/ 563562 h 143"/>
                  <a:gd name="T86" fmla="*/ 158750 w 230"/>
                  <a:gd name="T87" fmla="*/ 412750 h 143"/>
                  <a:gd name="T88" fmla="*/ 325438 w 230"/>
                  <a:gd name="T89" fmla="*/ 277812 h 143"/>
                  <a:gd name="T90" fmla="*/ 428625 w 230"/>
                  <a:gd name="T91" fmla="*/ 238125 h 143"/>
                  <a:gd name="T92" fmla="*/ 492125 w 230"/>
                  <a:gd name="T93" fmla="*/ 214312 h 143"/>
                  <a:gd name="T94" fmla="*/ 555625 w 230"/>
                  <a:gd name="T95" fmla="*/ 198437 h 143"/>
                  <a:gd name="T96" fmla="*/ 571500 w 230"/>
                  <a:gd name="T97" fmla="*/ 158750 h 143"/>
                  <a:gd name="T98" fmla="*/ 531813 w 230"/>
                  <a:gd name="T99" fmla="*/ 103187 h 143"/>
                  <a:gd name="T100" fmla="*/ 515938 w 230"/>
                  <a:gd name="T101" fmla="*/ 71437 h 143"/>
                  <a:gd name="T102" fmla="*/ 508000 w 230"/>
                  <a:gd name="T103" fmla="*/ 7937 h 143"/>
                  <a:gd name="T104" fmla="*/ 563563 w 230"/>
                  <a:gd name="T105" fmla="*/ 23812 h 14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30"/>
                  <a:gd name="T160" fmla="*/ 0 h 143"/>
                  <a:gd name="T161" fmla="*/ 230 w 230"/>
                  <a:gd name="T162" fmla="*/ 143 h 14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30" h="143">
                    <a:moveTo>
                      <a:pt x="71" y="3"/>
                    </a:moveTo>
                    <a:cubicBezTo>
                      <a:pt x="71" y="6"/>
                      <a:pt x="72" y="8"/>
                      <a:pt x="72" y="8"/>
                    </a:cubicBezTo>
                    <a:cubicBezTo>
                      <a:pt x="75" y="5"/>
                      <a:pt x="78" y="10"/>
                      <a:pt x="78" y="10"/>
                    </a:cubicBezTo>
                    <a:cubicBezTo>
                      <a:pt x="78" y="15"/>
                      <a:pt x="81" y="13"/>
                      <a:pt x="81" y="13"/>
                    </a:cubicBezTo>
                    <a:cubicBezTo>
                      <a:pt x="81" y="8"/>
                      <a:pt x="84" y="9"/>
                      <a:pt x="84" y="9"/>
                    </a:cubicBezTo>
                    <a:cubicBezTo>
                      <a:pt x="90" y="7"/>
                      <a:pt x="92" y="14"/>
                      <a:pt x="92" y="14"/>
                    </a:cubicBezTo>
                    <a:lnTo>
                      <a:pt x="93" y="20"/>
                    </a:lnTo>
                    <a:cubicBezTo>
                      <a:pt x="94" y="16"/>
                      <a:pt x="96" y="17"/>
                      <a:pt x="96" y="17"/>
                    </a:cubicBezTo>
                    <a:cubicBezTo>
                      <a:pt x="96" y="14"/>
                      <a:pt x="100" y="15"/>
                      <a:pt x="100" y="15"/>
                    </a:cubicBezTo>
                    <a:cubicBezTo>
                      <a:pt x="104" y="14"/>
                      <a:pt x="105" y="20"/>
                      <a:pt x="105" y="20"/>
                    </a:cubicBezTo>
                    <a:cubicBezTo>
                      <a:pt x="105" y="26"/>
                      <a:pt x="110" y="26"/>
                      <a:pt x="110" y="26"/>
                    </a:cubicBezTo>
                    <a:cubicBezTo>
                      <a:pt x="113" y="26"/>
                      <a:pt x="115" y="22"/>
                      <a:pt x="115" y="22"/>
                    </a:cubicBezTo>
                    <a:cubicBezTo>
                      <a:pt x="115" y="19"/>
                      <a:pt x="112" y="19"/>
                      <a:pt x="112" y="19"/>
                    </a:cubicBezTo>
                    <a:cubicBezTo>
                      <a:pt x="111" y="19"/>
                      <a:pt x="110" y="18"/>
                      <a:pt x="110" y="18"/>
                    </a:cubicBezTo>
                    <a:cubicBezTo>
                      <a:pt x="112" y="13"/>
                      <a:pt x="118" y="18"/>
                      <a:pt x="118" y="18"/>
                    </a:cubicBezTo>
                    <a:cubicBezTo>
                      <a:pt x="118" y="23"/>
                      <a:pt x="116" y="24"/>
                      <a:pt x="116" y="24"/>
                    </a:cubicBezTo>
                    <a:cubicBezTo>
                      <a:pt x="112" y="29"/>
                      <a:pt x="113" y="32"/>
                      <a:pt x="113" y="32"/>
                    </a:cubicBezTo>
                    <a:cubicBezTo>
                      <a:pt x="116" y="33"/>
                      <a:pt x="118" y="28"/>
                      <a:pt x="118" y="28"/>
                    </a:cubicBezTo>
                    <a:cubicBezTo>
                      <a:pt x="121" y="23"/>
                      <a:pt x="124" y="22"/>
                      <a:pt x="124" y="22"/>
                    </a:cubicBezTo>
                    <a:cubicBezTo>
                      <a:pt x="122" y="27"/>
                      <a:pt x="122" y="31"/>
                      <a:pt x="122" y="31"/>
                    </a:cubicBezTo>
                    <a:lnTo>
                      <a:pt x="126" y="28"/>
                    </a:lnTo>
                    <a:cubicBezTo>
                      <a:pt x="128" y="30"/>
                      <a:pt x="127" y="36"/>
                      <a:pt x="127" y="36"/>
                    </a:cubicBezTo>
                    <a:cubicBezTo>
                      <a:pt x="133" y="36"/>
                      <a:pt x="135" y="39"/>
                      <a:pt x="135" y="39"/>
                    </a:cubicBezTo>
                    <a:cubicBezTo>
                      <a:pt x="139" y="40"/>
                      <a:pt x="141" y="45"/>
                      <a:pt x="141" y="45"/>
                    </a:cubicBezTo>
                    <a:cubicBezTo>
                      <a:pt x="145" y="47"/>
                      <a:pt x="145" y="50"/>
                      <a:pt x="145" y="50"/>
                    </a:cubicBezTo>
                    <a:lnTo>
                      <a:pt x="145" y="56"/>
                    </a:lnTo>
                    <a:cubicBezTo>
                      <a:pt x="143" y="60"/>
                      <a:pt x="146" y="63"/>
                      <a:pt x="146" y="63"/>
                    </a:cubicBezTo>
                    <a:cubicBezTo>
                      <a:pt x="150" y="63"/>
                      <a:pt x="153" y="66"/>
                      <a:pt x="153" y="66"/>
                    </a:cubicBezTo>
                    <a:cubicBezTo>
                      <a:pt x="160" y="67"/>
                      <a:pt x="165" y="71"/>
                      <a:pt x="165" y="71"/>
                    </a:cubicBezTo>
                    <a:cubicBezTo>
                      <a:pt x="166" y="69"/>
                      <a:pt x="169" y="68"/>
                      <a:pt x="169" y="68"/>
                    </a:cubicBezTo>
                    <a:cubicBezTo>
                      <a:pt x="163" y="68"/>
                      <a:pt x="158" y="61"/>
                      <a:pt x="158" y="61"/>
                    </a:cubicBezTo>
                    <a:cubicBezTo>
                      <a:pt x="152" y="54"/>
                      <a:pt x="145" y="44"/>
                      <a:pt x="145" y="44"/>
                    </a:cubicBezTo>
                    <a:cubicBezTo>
                      <a:pt x="138" y="36"/>
                      <a:pt x="135" y="28"/>
                      <a:pt x="135" y="28"/>
                    </a:cubicBezTo>
                    <a:cubicBezTo>
                      <a:pt x="129" y="32"/>
                      <a:pt x="131" y="21"/>
                      <a:pt x="131" y="21"/>
                    </a:cubicBezTo>
                    <a:cubicBezTo>
                      <a:pt x="128" y="20"/>
                      <a:pt x="130" y="14"/>
                      <a:pt x="130" y="14"/>
                    </a:cubicBezTo>
                    <a:cubicBezTo>
                      <a:pt x="125" y="14"/>
                      <a:pt x="122" y="8"/>
                      <a:pt x="122" y="8"/>
                    </a:cubicBezTo>
                    <a:cubicBezTo>
                      <a:pt x="121" y="6"/>
                      <a:pt x="127" y="7"/>
                      <a:pt x="127" y="7"/>
                    </a:cubicBezTo>
                    <a:lnTo>
                      <a:pt x="129" y="5"/>
                    </a:lnTo>
                    <a:cubicBezTo>
                      <a:pt x="129" y="11"/>
                      <a:pt x="132" y="15"/>
                      <a:pt x="132" y="15"/>
                    </a:cubicBezTo>
                    <a:cubicBezTo>
                      <a:pt x="132" y="22"/>
                      <a:pt x="140" y="35"/>
                      <a:pt x="140" y="35"/>
                    </a:cubicBezTo>
                    <a:cubicBezTo>
                      <a:pt x="142" y="37"/>
                      <a:pt x="150" y="49"/>
                      <a:pt x="150" y="49"/>
                    </a:cubicBezTo>
                    <a:cubicBezTo>
                      <a:pt x="156" y="57"/>
                      <a:pt x="163" y="63"/>
                      <a:pt x="163" y="63"/>
                    </a:cubicBezTo>
                    <a:cubicBezTo>
                      <a:pt x="166" y="69"/>
                      <a:pt x="179" y="63"/>
                      <a:pt x="179" y="63"/>
                    </a:cubicBezTo>
                    <a:cubicBezTo>
                      <a:pt x="182" y="61"/>
                      <a:pt x="187" y="52"/>
                      <a:pt x="187" y="52"/>
                    </a:cubicBezTo>
                    <a:cubicBezTo>
                      <a:pt x="192" y="62"/>
                      <a:pt x="199" y="56"/>
                      <a:pt x="199" y="56"/>
                    </a:cubicBezTo>
                    <a:cubicBezTo>
                      <a:pt x="201" y="50"/>
                      <a:pt x="209" y="51"/>
                      <a:pt x="209" y="51"/>
                    </a:cubicBezTo>
                    <a:cubicBezTo>
                      <a:pt x="217" y="49"/>
                      <a:pt x="223" y="51"/>
                      <a:pt x="223" y="51"/>
                    </a:cubicBezTo>
                    <a:cubicBezTo>
                      <a:pt x="229" y="52"/>
                      <a:pt x="230" y="56"/>
                      <a:pt x="230" y="56"/>
                    </a:cubicBezTo>
                    <a:cubicBezTo>
                      <a:pt x="229" y="61"/>
                      <a:pt x="221" y="65"/>
                      <a:pt x="221" y="65"/>
                    </a:cubicBezTo>
                    <a:cubicBezTo>
                      <a:pt x="219" y="68"/>
                      <a:pt x="220" y="75"/>
                      <a:pt x="220" y="75"/>
                    </a:cubicBezTo>
                    <a:cubicBezTo>
                      <a:pt x="227" y="81"/>
                      <a:pt x="217" y="82"/>
                      <a:pt x="217" y="82"/>
                    </a:cubicBezTo>
                    <a:cubicBezTo>
                      <a:pt x="212" y="81"/>
                      <a:pt x="211" y="86"/>
                      <a:pt x="211" y="86"/>
                    </a:cubicBezTo>
                    <a:cubicBezTo>
                      <a:pt x="208" y="87"/>
                      <a:pt x="200" y="84"/>
                      <a:pt x="200" y="84"/>
                    </a:cubicBezTo>
                    <a:cubicBezTo>
                      <a:pt x="199" y="88"/>
                      <a:pt x="195" y="87"/>
                      <a:pt x="195" y="87"/>
                    </a:cubicBezTo>
                    <a:cubicBezTo>
                      <a:pt x="191" y="91"/>
                      <a:pt x="187" y="85"/>
                      <a:pt x="187" y="85"/>
                    </a:cubicBezTo>
                    <a:cubicBezTo>
                      <a:pt x="185" y="82"/>
                      <a:pt x="182" y="82"/>
                      <a:pt x="182" y="82"/>
                    </a:cubicBezTo>
                    <a:cubicBezTo>
                      <a:pt x="178" y="76"/>
                      <a:pt x="169" y="80"/>
                      <a:pt x="169" y="80"/>
                    </a:cubicBezTo>
                    <a:cubicBezTo>
                      <a:pt x="165" y="85"/>
                      <a:pt x="165" y="87"/>
                      <a:pt x="165" y="87"/>
                    </a:cubicBezTo>
                    <a:cubicBezTo>
                      <a:pt x="163" y="92"/>
                      <a:pt x="158" y="95"/>
                      <a:pt x="158" y="95"/>
                    </a:cubicBezTo>
                    <a:cubicBezTo>
                      <a:pt x="150" y="96"/>
                      <a:pt x="151" y="105"/>
                      <a:pt x="151" y="105"/>
                    </a:cubicBezTo>
                    <a:cubicBezTo>
                      <a:pt x="148" y="109"/>
                      <a:pt x="143" y="102"/>
                      <a:pt x="143" y="102"/>
                    </a:cubicBezTo>
                    <a:cubicBezTo>
                      <a:pt x="138" y="106"/>
                      <a:pt x="133" y="105"/>
                      <a:pt x="133" y="105"/>
                    </a:cubicBezTo>
                    <a:cubicBezTo>
                      <a:pt x="128" y="105"/>
                      <a:pt x="125" y="110"/>
                      <a:pt x="125" y="110"/>
                    </a:cubicBezTo>
                    <a:cubicBezTo>
                      <a:pt x="121" y="108"/>
                      <a:pt x="113" y="119"/>
                      <a:pt x="113" y="119"/>
                    </a:cubicBezTo>
                    <a:cubicBezTo>
                      <a:pt x="109" y="121"/>
                      <a:pt x="113" y="129"/>
                      <a:pt x="105" y="128"/>
                    </a:cubicBezTo>
                    <a:cubicBezTo>
                      <a:pt x="101" y="134"/>
                      <a:pt x="97" y="139"/>
                      <a:pt x="92" y="141"/>
                    </a:cubicBezTo>
                    <a:cubicBezTo>
                      <a:pt x="82" y="143"/>
                      <a:pt x="74" y="141"/>
                      <a:pt x="74" y="141"/>
                    </a:cubicBezTo>
                    <a:cubicBezTo>
                      <a:pt x="72" y="138"/>
                      <a:pt x="69" y="136"/>
                      <a:pt x="69" y="136"/>
                    </a:cubicBezTo>
                    <a:cubicBezTo>
                      <a:pt x="69" y="132"/>
                      <a:pt x="62" y="134"/>
                      <a:pt x="62" y="134"/>
                    </a:cubicBezTo>
                    <a:cubicBezTo>
                      <a:pt x="58" y="132"/>
                      <a:pt x="56" y="126"/>
                      <a:pt x="56" y="126"/>
                    </a:cubicBezTo>
                    <a:cubicBezTo>
                      <a:pt x="56" y="124"/>
                      <a:pt x="60" y="126"/>
                      <a:pt x="65" y="121"/>
                    </a:cubicBezTo>
                    <a:cubicBezTo>
                      <a:pt x="65" y="116"/>
                      <a:pt x="59" y="114"/>
                      <a:pt x="68" y="105"/>
                    </a:cubicBezTo>
                    <a:cubicBezTo>
                      <a:pt x="70" y="96"/>
                      <a:pt x="64" y="87"/>
                      <a:pt x="64" y="87"/>
                    </a:cubicBezTo>
                    <a:cubicBezTo>
                      <a:pt x="61" y="81"/>
                      <a:pt x="54" y="79"/>
                      <a:pt x="54" y="79"/>
                    </a:cubicBezTo>
                    <a:cubicBezTo>
                      <a:pt x="46" y="86"/>
                      <a:pt x="43" y="81"/>
                      <a:pt x="43" y="81"/>
                    </a:cubicBezTo>
                    <a:cubicBezTo>
                      <a:pt x="42" y="78"/>
                      <a:pt x="35" y="73"/>
                      <a:pt x="35" y="73"/>
                    </a:cubicBezTo>
                    <a:cubicBezTo>
                      <a:pt x="26" y="66"/>
                      <a:pt x="22" y="68"/>
                      <a:pt x="22" y="68"/>
                    </a:cubicBezTo>
                    <a:cubicBezTo>
                      <a:pt x="18" y="67"/>
                      <a:pt x="15" y="74"/>
                      <a:pt x="10" y="71"/>
                    </a:cubicBezTo>
                    <a:cubicBezTo>
                      <a:pt x="0" y="65"/>
                      <a:pt x="10" y="59"/>
                      <a:pt x="10" y="59"/>
                    </a:cubicBezTo>
                    <a:cubicBezTo>
                      <a:pt x="11" y="56"/>
                      <a:pt x="20" y="52"/>
                      <a:pt x="20" y="52"/>
                    </a:cubicBezTo>
                    <a:cubicBezTo>
                      <a:pt x="23" y="47"/>
                      <a:pt x="32" y="43"/>
                      <a:pt x="32" y="43"/>
                    </a:cubicBezTo>
                    <a:cubicBezTo>
                      <a:pt x="35" y="38"/>
                      <a:pt x="41" y="35"/>
                      <a:pt x="41" y="35"/>
                    </a:cubicBezTo>
                    <a:cubicBezTo>
                      <a:pt x="50" y="35"/>
                      <a:pt x="54" y="30"/>
                      <a:pt x="54" y="30"/>
                    </a:cubicBezTo>
                    <a:lnTo>
                      <a:pt x="62" y="27"/>
                    </a:lnTo>
                    <a:cubicBezTo>
                      <a:pt x="71" y="29"/>
                      <a:pt x="70" y="25"/>
                      <a:pt x="70" y="25"/>
                    </a:cubicBezTo>
                    <a:lnTo>
                      <a:pt x="72" y="20"/>
                    </a:lnTo>
                    <a:cubicBezTo>
                      <a:pt x="62" y="26"/>
                      <a:pt x="67" y="13"/>
                      <a:pt x="67" y="13"/>
                    </a:cubicBezTo>
                    <a:lnTo>
                      <a:pt x="65" y="9"/>
                    </a:lnTo>
                    <a:cubicBezTo>
                      <a:pt x="65" y="7"/>
                      <a:pt x="64" y="7"/>
                      <a:pt x="63" y="6"/>
                    </a:cubicBezTo>
                    <a:cubicBezTo>
                      <a:pt x="65" y="4"/>
                      <a:pt x="64" y="1"/>
                      <a:pt x="64" y="1"/>
                    </a:cubicBezTo>
                    <a:cubicBezTo>
                      <a:pt x="68" y="0"/>
                      <a:pt x="71" y="3"/>
                      <a:pt x="71" y="3"/>
                    </a:cubicBezTo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20" name="Freeform 1156">
                <a:extLst>
                  <a:ext uri="{FF2B5EF4-FFF2-40B4-BE49-F238E27FC236}">
                    <a16:creationId xmlns:a16="http://schemas.microsoft.com/office/drawing/2014/main" id="{E6450110-AD38-4F84-BCB5-9DCE06C7FC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4620" y="4143005"/>
                <a:ext cx="1200652" cy="1631403"/>
              </a:xfrm>
              <a:custGeom>
                <a:avLst/>
                <a:gdLst>
                  <a:gd name="T0" fmla="*/ 396875 w 170"/>
                  <a:gd name="T1" fmla="*/ 63500 h 231"/>
                  <a:gd name="T2" fmla="*/ 523875 w 170"/>
                  <a:gd name="T3" fmla="*/ 79375 h 231"/>
                  <a:gd name="T4" fmla="*/ 658813 w 170"/>
                  <a:gd name="T5" fmla="*/ 55562 h 231"/>
                  <a:gd name="T6" fmla="*/ 754063 w 170"/>
                  <a:gd name="T7" fmla="*/ 0 h 231"/>
                  <a:gd name="T8" fmla="*/ 904875 w 170"/>
                  <a:gd name="T9" fmla="*/ 47625 h 231"/>
                  <a:gd name="T10" fmla="*/ 889000 w 170"/>
                  <a:gd name="T11" fmla="*/ 158750 h 231"/>
                  <a:gd name="T12" fmla="*/ 944563 w 170"/>
                  <a:gd name="T13" fmla="*/ 309562 h 231"/>
                  <a:gd name="T14" fmla="*/ 1119188 w 170"/>
                  <a:gd name="T15" fmla="*/ 396875 h 231"/>
                  <a:gd name="T16" fmla="*/ 1135063 w 170"/>
                  <a:gd name="T17" fmla="*/ 555625 h 231"/>
                  <a:gd name="T18" fmla="*/ 1238250 w 170"/>
                  <a:gd name="T19" fmla="*/ 635000 h 231"/>
                  <a:gd name="T20" fmla="*/ 1262063 w 170"/>
                  <a:gd name="T21" fmla="*/ 762000 h 231"/>
                  <a:gd name="T22" fmla="*/ 1238250 w 170"/>
                  <a:gd name="T23" fmla="*/ 825500 h 231"/>
                  <a:gd name="T24" fmla="*/ 1277938 w 170"/>
                  <a:gd name="T25" fmla="*/ 960437 h 231"/>
                  <a:gd name="T26" fmla="*/ 1135063 w 170"/>
                  <a:gd name="T27" fmla="*/ 1000125 h 231"/>
                  <a:gd name="T28" fmla="*/ 1071563 w 170"/>
                  <a:gd name="T29" fmla="*/ 1150937 h 231"/>
                  <a:gd name="T30" fmla="*/ 1000125 w 170"/>
                  <a:gd name="T31" fmla="*/ 1270000 h 231"/>
                  <a:gd name="T32" fmla="*/ 952500 w 170"/>
                  <a:gd name="T33" fmla="*/ 1198562 h 231"/>
                  <a:gd name="T34" fmla="*/ 920750 w 170"/>
                  <a:gd name="T35" fmla="*/ 1158875 h 231"/>
                  <a:gd name="T36" fmla="*/ 849313 w 170"/>
                  <a:gd name="T37" fmla="*/ 1174750 h 231"/>
                  <a:gd name="T38" fmla="*/ 896938 w 170"/>
                  <a:gd name="T39" fmla="*/ 1206500 h 231"/>
                  <a:gd name="T40" fmla="*/ 944563 w 170"/>
                  <a:gd name="T41" fmla="*/ 1270000 h 231"/>
                  <a:gd name="T42" fmla="*/ 936625 w 170"/>
                  <a:gd name="T43" fmla="*/ 1357312 h 231"/>
                  <a:gd name="T44" fmla="*/ 833438 w 170"/>
                  <a:gd name="T45" fmla="*/ 1428750 h 231"/>
                  <a:gd name="T46" fmla="*/ 785813 w 170"/>
                  <a:gd name="T47" fmla="*/ 1452562 h 231"/>
                  <a:gd name="T48" fmla="*/ 698500 w 170"/>
                  <a:gd name="T49" fmla="*/ 1508125 h 231"/>
                  <a:gd name="T50" fmla="*/ 642938 w 170"/>
                  <a:gd name="T51" fmla="*/ 1555750 h 231"/>
                  <a:gd name="T52" fmla="*/ 642938 w 170"/>
                  <a:gd name="T53" fmla="*/ 1508125 h 231"/>
                  <a:gd name="T54" fmla="*/ 635000 w 170"/>
                  <a:gd name="T55" fmla="*/ 1468437 h 231"/>
                  <a:gd name="T56" fmla="*/ 619125 w 170"/>
                  <a:gd name="T57" fmla="*/ 1627187 h 231"/>
                  <a:gd name="T58" fmla="*/ 674688 w 170"/>
                  <a:gd name="T59" fmla="*/ 1746250 h 231"/>
                  <a:gd name="T60" fmla="*/ 611188 w 170"/>
                  <a:gd name="T61" fmla="*/ 1738312 h 231"/>
                  <a:gd name="T62" fmla="*/ 404813 w 170"/>
                  <a:gd name="T63" fmla="*/ 1722437 h 231"/>
                  <a:gd name="T64" fmla="*/ 309563 w 170"/>
                  <a:gd name="T65" fmla="*/ 1785937 h 231"/>
                  <a:gd name="T66" fmla="*/ 269875 w 170"/>
                  <a:gd name="T67" fmla="*/ 1754187 h 231"/>
                  <a:gd name="T68" fmla="*/ 158750 w 170"/>
                  <a:gd name="T69" fmla="*/ 1793875 h 231"/>
                  <a:gd name="T70" fmla="*/ 23813 w 170"/>
                  <a:gd name="T71" fmla="*/ 1666875 h 231"/>
                  <a:gd name="T72" fmla="*/ 63500 w 170"/>
                  <a:gd name="T73" fmla="*/ 1627187 h 231"/>
                  <a:gd name="T74" fmla="*/ 142875 w 170"/>
                  <a:gd name="T75" fmla="*/ 1547812 h 231"/>
                  <a:gd name="T76" fmla="*/ 214313 w 170"/>
                  <a:gd name="T77" fmla="*/ 1444625 h 231"/>
                  <a:gd name="T78" fmla="*/ 301625 w 170"/>
                  <a:gd name="T79" fmla="*/ 1349375 h 231"/>
                  <a:gd name="T80" fmla="*/ 349250 w 170"/>
                  <a:gd name="T81" fmla="*/ 1254125 h 231"/>
                  <a:gd name="T82" fmla="*/ 325438 w 170"/>
                  <a:gd name="T83" fmla="*/ 1166812 h 231"/>
                  <a:gd name="T84" fmla="*/ 365125 w 170"/>
                  <a:gd name="T85" fmla="*/ 1039812 h 231"/>
                  <a:gd name="T86" fmla="*/ 452438 w 170"/>
                  <a:gd name="T87" fmla="*/ 1071562 h 231"/>
                  <a:gd name="T88" fmla="*/ 508000 w 170"/>
                  <a:gd name="T89" fmla="*/ 1071562 h 231"/>
                  <a:gd name="T90" fmla="*/ 603250 w 170"/>
                  <a:gd name="T91" fmla="*/ 1087437 h 231"/>
                  <a:gd name="T92" fmla="*/ 706438 w 170"/>
                  <a:gd name="T93" fmla="*/ 1111250 h 231"/>
                  <a:gd name="T94" fmla="*/ 833438 w 170"/>
                  <a:gd name="T95" fmla="*/ 1103312 h 231"/>
                  <a:gd name="T96" fmla="*/ 738188 w 170"/>
                  <a:gd name="T97" fmla="*/ 1016000 h 231"/>
                  <a:gd name="T98" fmla="*/ 762000 w 170"/>
                  <a:gd name="T99" fmla="*/ 889000 h 231"/>
                  <a:gd name="T100" fmla="*/ 619125 w 170"/>
                  <a:gd name="T101" fmla="*/ 762000 h 231"/>
                  <a:gd name="T102" fmla="*/ 627063 w 170"/>
                  <a:gd name="T103" fmla="*/ 690562 h 231"/>
                  <a:gd name="T104" fmla="*/ 587375 w 170"/>
                  <a:gd name="T105" fmla="*/ 658812 h 231"/>
                  <a:gd name="T106" fmla="*/ 579438 w 170"/>
                  <a:gd name="T107" fmla="*/ 531812 h 231"/>
                  <a:gd name="T108" fmla="*/ 444500 w 170"/>
                  <a:gd name="T109" fmla="*/ 460375 h 231"/>
                  <a:gd name="T110" fmla="*/ 460375 w 170"/>
                  <a:gd name="T111" fmla="*/ 317500 h 231"/>
                  <a:gd name="T112" fmla="*/ 468313 w 170"/>
                  <a:gd name="T113" fmla="*/ 238125 h 231"/>
                  <a:gd name="T114" fmla="*/ 404813 w 170"/>
                  <a:gd name="T115" fmla="*/ 134937 h 231"/>
                  <a:gd name="T116" fmla="*/ 341313 w 170"/>
                  <a:gd name="T117" fmla="*/ 119062 h 23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70"/>
                  <a:gd name="T178" fmla="*/ 0 h 231"/>
                  <a:gd name="T179" fmla="*/ 170 w 170"/>
                  <a:gd name="T180" fmla="*/ 231 h 23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70" h="231">
                    <a:moveTo>
                      <a:pt x="43" y="15"/>
                    </a:moveTo>
                    <a:cubicBezTo>
                      <a:pt x="48" y="13"/>
                      <a:pt x="50" y="8"/>
                      <a:pt x="50" y="8"/>
                    </a:cubicBezTo>
                    <a:cubicBezTo>
                      <a:pt x="51" y="0"/>
                      <a:pt x="54" y="7"/>
                      <a:pt x="54" y="7"/>
                    </a:cubicBezTo>
                    <a:cubicBezTo>
                      <a:pt x="59" y="11"/>
                      <a:pt x="66" y="10"/>
                      <a:pt x="66" y="10"/>
                    </a:cubicBezTo>
                    <a:cubicBezTo>
                      <a:pt x="71" y="5"/>
                      <a:pt x="74" y="10"/>
                      <a:pt x="74" y="10"/>
                    </a:cubicBezTo>
                    <a:cubicBezTo>
                      <a:pt x="83" y="11"/>
                      <a:pt x="83" y="7"/>
                      <a:pt x="83" y="7"/>
                    </a:cubicBezTo>
                    <a:cubicBezTo>
                      <a:pt x="82" y="2"/>
                      <a:pt x="89" y="2"/>
                      <a:pt x="89" y="2"/>
                    </a:cubicBezTo>
                    <a:cubicBezTo>
                      <a:pt x="94" y="3"/>
                      <a:pt x="95" y="0"/>
                      <a:pt x="95" y="0"/>
                    </a:cubicBezTo>
                    <a:cubicBezTo>
                      <a:pt x="100" y="0"/>
                      <a:pt x="102" y="8"/>
                      <a:pt x="107" y="6"/>
                    </a:cubicBezTo>
                    <a:cubicBezTo>
                      <a:pt x="111" y="7"/>
                      <a:pt x="114" y="6"/>
                      <a:pt x="114" y="6"/>
                    </a:cubicBezTo>
                    <a:cubicBezTo>
                      <a:pt x="116" y="10"/>
                      <a:pt x="113" y="10"/>
                      <a:pt x="113" y="10"/>
                    </a:cubicBezTo>
                    <a:cubicBezTo>
                      <a:pt x="107" y="13"/>
                      <a:pt x="112" y="20"/>
                      <a:pt x="112" y="20"/>
                    </a:cubicBezTo>
                    <a:cubicBezTo>
                      <a:pt x="117" y="22"/>
                      <a:pt x="116" y="32"/>
                      <a:pt x="116" y="32"/>
                    </a:cubicBezTo>
                    <a:cubicBezTo>
                      <a:pt x="120" y="32"/>
                      <a:pt x="119" y="39"/>
                      <a:pt x="119" y="39"/>
                    </a:cubicBezTo>
                    <a:cubicBezTo>
                      <a:pt x="118" y="50"/>
                      <a:pt x="129" y="46"/>
                      <a:pt x="129" y="46"/>
                    </a:cubicBezTo>
                    <a:cubicBezTo>
                      <a:pt x="136" y="47"/>
                      <a:pt x="141" y="44"/>
                      <a:pt x="141" y="50"/>
                    </a:cubicBezTo>
                    <a:cubicBezTo>
                      <a:pt x="146" y="56"/>
                      <a:pt x="142" y="60"/>
                      <a:pt x="142" y="60"/>
                    </a:cubicBezTo>
                    <a:cubicBezTo>
                      <a:pt x="141" y="64"/>
                      <a:pt x="143" y="70"/>
                      <a:pt x="143" y="70"/>
                    </a:cubicBezTo>
                    <a:cubicBezTo>
                      <a:pt x="144" y="75"/>
                      <a:pt x="152" y="74"/>
                      <a:pt x="152" y="74"/>
                    </a:cubicBezTo>
                    <a:cubicBezTo>
                      <a:pt x="163" y="73"/>
                      <a:pt x="156" y="79"/>
                      <a:pt x="156" y="80"/>
                    </a:cubicBezTo>
                    <a:cubicBezTo>
                      <a:pt x="157" y="83"/>
                      <a:pt x="164" y="83"/>
                      <a:pt x="165" y="86"/>
                    </a:cubicBezTo>
                    <a:cubicBezTo>
                      <a:pt x="170" y="95"/>
                      <a:pt x="159" y="96"/>
                      <a:pt x="159" y="96"/>
                    </a:cubicBezTo>
                    <a:cubicBezTo>
                      <a:pt x="150" y="97"/>
                      <a:pt x="152" y="100"/>
                      <a:pt x="152" y="100"/>
                    </a:cubicBezTo>
                    <a:cubicBezTo>
                      <a:pt x="151" y="103"/>
                      <a:pt x="156" y="104"/>
                      <a:pt x="156" y="104"/>
                    </a:cubicBezTo>
                    <a:cubicBezTo>
                      <a:pt x="160" y="108"/>
                      <a:pt x="159" y="113"/>
                      <a:pt x="159" y="113"/>
                    </a:cubicBezTo>
                    <a:cubicBezTo>
                      <a:pt x="157" y="121"/>
                      <a:pt x="161" y="121"/>
                      <a:pt x="161" y="121"/>
                    </a:cubicBezTo>
                    <a:cubicBezTo>
                      <a:pt x="158" y="124"/>
                      <a:pt x="153" y="124"/>
                      <a:pt x="153" y="124"/>
                    </a:cubicBezTo>
                    <a:cubicBezTo>
                      <a:pt x="151" y="126"/>
                      <a:pt x="143" y="126"/>
                      <a:pt x="143" y="126"/>
                    </a:cubicBezTo>
                    <a:cubicBezTo>
                      <a:pt x="138" y="125"/>
                      <a:pt x="141" y="135"/>
                      <a:pt x="141" y="135"/>
                    </a:cubicBezTo>
                    <a:cubicBezTo>
                      <a:pt x="141" y="142"/>
                      <a:pt x="135" y="145"/>
                      <a:pt x="135" y="145"/>
                    </a:cubicBezTo>
                    <a:cubicBezTo>
                      <a:pt x="136" y="149"/>
                      <a:pt x="131" y="153"/>
                      <a:pt x="131" y="153"/>
                    </a:cubicBezTo>
                    <a:cubicBezTo>
                      <a:pt x="129" y="160"/>
                      <a:pt x="126" y="160"/>
                      <a:pt x="126" y="160"/>
                    </a:cubicBezTo>
                    <a:cubicBezTo>
                      <a:pt x="121" y="157"/>
                      <a:pt x="120" y="151"/>
                      <a:pt x="120" y="151"/>
                    </a:cubicBezTo>
                    <a:lnTo>
                      <a:pt x="116" y="146"/>
                    </a:lnTo>
                    <a:cubicBezTo>
                      <a:pt x="115" y="142"/>
                      <a:pt x="111" y="139"/>
                      <a:pt x="106" y="142"/>
                    </a:cubicBezTo>
                    <a:cubicBezTo>
                      <a:pt x="101" y="146"/>
                      <a:pt x="107" y="148"/>
                      <a:pt x="107" y="148"/>
                    </a:cubicBezTo>
                    <a:lnTo>
                      <a:pt x="113" y="152"/>
                    </a:lnTo>
                    <a:cubicBezTo>
                      <a:pt x="118" y="155"/>
                      <a:pt x="119" y="160"/>
                      <a:pt x="119" y="160"/>
                    </a:cubicBezTo>
                    <a:cubicBezTo>
                      <a:pt x="124" y="168"/>
                      <a:pt x="118" y="171"/>
                      <a:pt x="118" y="171"/>
                    </a:cubicBezTo>
                    <a:lnTo>
                      <a:pt x="105" y="185"/>
                    </a:lnTo>
                    <a:lnTo>
                      <a:pt x="105" y="180"/>
                    </a:lnTo>
                    <a:lnTo>
                      <a:pt x="99" y="183"/>
                    </a:lnTo>
                    <a:cubicBezTo>
                      <a:pt x="93" y="184"/>
                      <a:pt x="94" y="189"/>
                      <a:pt x="94" y="189"/>
                    </a:cubicBezTo>
                    <a:cubicBezTo>
                      <a:pt x="92" y="192"/>
                      <a:pt x="88" y="190"/>
                      <a:pt x="88" y="190"/>
                    </a:cubicBezTo>
                    <a:cubicBezTo>
                      <a:pt x="86" y="193"/>
                      <a:pt x="91" y="193"/>
                      <a:pt x="89" y="197"/>
                    </a:cubicBezTo>
                    <a:cubicBezTo>
                      <a:pt x="85" y="201"/>
                      <a:pt x="81" y="196"/>
                      <a:pt x="81" y="196"/>
                    </a:cubicBezTo>
                    <a:lnTo>
                      <a:pt x="81" y="190"/>
                    </a:lnTo>
                    <a:lnTo>
                      <a:pt x="80" y="185"/>
                    </a:lnTo>
                    <a:cubicBezTo>
                      <a:pt x="76" y="187"/>
                      <a:pt x="78" y="194"/>
                      <a:pt x="78" y="194"/>
                    </a:cubicBezTo>
                    <a:cubicBezTo>
                      <a:pt x="74" y="201"/>
                      <a:pt x="78" y="205"/>
                      <a:pt x="78" y="205"/>
                    </a:cubicBezTo>
                    <a:cubicBezTo>
                      <a:pt x="76" y="214"/>
                      <a:pt x="80" y="211"/>
                      <a:pt x="80" y="211"/>
                    </a:cubicBezTo>
                    <a:cubicBezTo>
                      <a:pt x="86" y="211"/>
                      <a:pt x="85" y="220"/>
                      <a:pt x="85" y="220"/>
                    </a:cubicBezTo>
                    <a:cubicBezTo>
                      <a:pt x="84" y="230"/>
                      <a:pt x="79" y="230"/>
                      <a:pt x="79" y="230"/>
                    </a:cubicBezTo>
                    <a:cubicBezTo>
                      <a:pt x="79" y="230"/>
                      <a:pt x="81" y="222"/>
                      <a:pt x="77" y="219"/>
                    </a:cubicBezTo>
                    <a:cubicBezTo>
                      <a:pt x="77" y="219"/>
                      <a:pt x="76" y="214"/>
                      <a:pt x="67" y="213"/>
                    </a:cubicBezTo>
                    <a:cubicBezTo>
                      <a:pt x="67" y="213"/>
                      <a:pt x="56" y="211"/>
                      <a:pt x="51" y="217"/>
                    </a:cubicBezTo>
                    <a:cubicBezTo>
                      <a:pt x="51" y="217"/>
                      <a:pt x="42" y="217"/>
                      <a:pt x="39" y="225"/>
                    </a:cubicBezTo>
                    <a:lnTo>
                      <a:pt x="34" y="221"/>
                    </a:lnTo>
                    <a:cubicBezTo>
                      <a:pt x="34" y="221"/>
                      <a:pt x="30" y="222"/>
                      <a:pt x="31" y="225"/>
                    </a:cubicBezTo>
                    <a:cubicBezTo>
                      <a:pt x="31" y="225"/>
                      <a:pt x="31" y="231"/>
                      <a:pt x="20" y="226"/>
                    </a:cubicBezTo>
                    <a:cubicBezTo>
                      <a:pt x="15" y="221"/>
                      <a:pt x="11" y="224"/>
                      <a:pt x="8" y="220"/>
                    </a:cubicBezTo>
                    <a:cubicBezTo>
                      <a:pt x="8" y="220"/>
                      <a:pt x="3" y="218"/>
                      <a:pt x="3" y="210"/>
                    </a:cubicBezTo>
                    <a:cubicBezTo>
                      <a:pt x="3" y="210"/>
                      <a:pt x="1" y="211"/>
                      <a:pt x="0" y="208"/>
                    </a:cubicBezTo>
                    <a:cubicBezTo>
                      <a:pt x="0" y="208"/>
                      <a:pt x="4" y="202"/>
                      <a:pt x="8" y="205"/>
                    </a:cubicBezTo>
                    <a:cubicBezTo>
                      <a:pt x="8" y="205"/>
                      <a:pt x="11" y="204"/>
                      <a:pt x="14" y="205"/>
                    </a:cubicBezTo>
                    <a:cubicBezTo>
                      <a:pt x="14" y="205"/>
                      <a:pt x="20" y="207"/>
                      <a:pt x="18" y="195"/>
                    </a:cubicBezTo>
                    <a:cubicBezTo>
                      <a:pt x="18" y="195"/>
                      <a:pt x="12" y="194"/>
                      <a:pt x="22" y="188"/>
                    </a:cubicBezTo>
                    <a:cubicBezTo>
                      <a:pt x="22" y="188"/>
                      <a:pt x="27" y="186"/>
                      <a:pt x="27" y="182"/>
                    </a:cubicBezTo>
                    <a:cubicBezTo>
                      <a:pt x="27" y="182"/>
                      <a:pt x="32" y="183"/>
                      <a:pt x="31" y="176"/>
                    </a:cubicBezTo>
                    <a:cubicBezTo>
                      <a:pt x="31" y="176"/>
                      <a:pt x="28" y="171"/>
                      <a:pt x="38" y="170"/>
                    </a:cubicBezTo>
                    <a:cubicBezTo>
                      <a:pt x="38" y="170"/>
                      <a:pt x="44" y="170"/>
                      <a:pt x="43" y="165"/>
                    </a:cubicBezTo>
                    <a:cubicBezTo>
                      <a:pt x="43" y="165"/>
                      <a:pt x="40" y="161"/>
                      <a:pt x="44" y="158"/>
                    </a:cubicBezTo>
                    <a:cubicBezTo>
                      <a:pt x="44" y="158"/>
                      <a:pt x="50" y="155"/>
                      <a:pt x="44" y="151"/>
                    </a:cubicBezTo>
                    <a:cubicBezTo>
                      <a:pt x="44" y="151"/>
                      <a:pt x="41" y="151"/>
                      <a:pt x="41" y="147"/>
                    </a:cubicBezTo>
                    <a:cubicBezTo>
                      <a:pt x="41" y="147"/>
                      <a:pt x="45" y="145"/>
                      <a:pt x="41" y="139"/>
                    </a:cubicBezTo>
                    <a:cubicBezTo>
                      <a:pt x="41" y="139"/>
                      <a:pt x="40" y="135"/>
                      <a:pt x="46" y="131"/>
                    </a:cubicBezTo>
                    <a:cubicBezTo>
                      <a:pt x="46" y="131"/>
                      <a:pt x="50" y="131"/>
                      <a:pt x="53" y="128"/>
                    </a:cubicBezTo>
                    <a:cubicBezTo>
                      <a:pt x="53" y="128"/>
                      <a:pt x="58" y="124"/>
                      <a:pt x="57" y="135"/>
                    </a:cubicBezTo>
                    <a:cubicBezTo>
                      <a:pt x="55" y="142"/>
                      <a:pt x="62" y="140"/>
                      <a:pt x="61" y="137"/>
                    </a:cubicBezTo>
                    <a:cubicBezTo>
                      <a:pt x="61" y="137"/>
                      <a:pt x="62" y="131"/>
                      <a:pt x="64" y="135"/>
                    </a:cubicBezTo>
                    <a:cubicBezTo>
                      <a:pt x="64" y="135"/>
                      <a:pt x="65" y="137"/>
                      <a:pt x="68" y="134"/>
                    </a:cubicBezTo>
                    <a:cubicBezTo>
                      <a:pt x="72" y="129"/>
                      <a:pt x="71" y="137"/>
                      <a:pt x="76" y="137"/>
                    </a:cubicBezTo>
                    <a:cubicBezTo>
                      <a:pt x="76" y="142"/>
                      <a:pt x="81" y="142"/>
                      <a:pt x="81" y="138"/>
                    </a:cubicBezTo>
                    <a:cubicBezTo>
                      <a:pt x="81" y="138"/>
                      <a:pt x="86" y="131"/>
                      <a:pt x="89" y="140"/>
                    </a:cubicBezTo>
                    <a:cubicBezTo>
                      <a:pt x="89" y="140"/>
                      <a:pt x="89" y="147"/>
                      <a:pt x="94" y="140"/>
                    </a:cubicBezTo>
                    <a:cubicBezTo>
                      <a:pt x="94" y="140"/>
                      <a:pt x="104" y="142"/>
                      <a:pt x="105" y="139"/>
                    </a:cubicBezTo>
                    <a:cubicBezTo>
                      <a:pt x="105" y="139"/>
                      <a:pt x="102" y="134"/>
                      <a:pt x="99" y="135"/>
                    </a:cubicBezTo>
                    <a:cubicBezTo>
                      <a:pt x="99" y="132"/>
                      <a:pt x="92" y="130"/>
                      <a:pt x="93" y="128"/>
                    </a:cubicBezTo>
                    <a:cubicBezTo>
                      <a:pt x="93" y="128"/>
                      <a:pt x="97" y="128"/>
                      <a:pt x="96" y="121"/>
                    </a:cubicBezTo>
                    <a:cubicBezTo>
                      <a:pt x="96" y="121"/>
                      <a:pt x="98" y="114"/>
                      <a:pt x="96" y="112"/>
                    </a:cubicBezTo>
                    <a:cubicBezTo>
                      <a:pt x="96" y="112"/>
                      <a:pt x="98" y="105"/>
                      <a:pt x="86" y="103"/>
                    </a:cubicBezTo>
                    <a:cubicBezTo>
                      <a:pt x="82" y="98"/>
                      <a:pt x="79" y="100"/>
                      <a:pt x="78" y="96"/>
                    </a:cubicBezTo>
                    <a:lnTo>
                      <a:pt x="79" y="87"/>
                    </a:lnTo>
                    <a:cubicBezTo>
                      <a:pt x="79" y="87"/>
                      <a:pt x="70" y="85"/>
                      <a:pt x="74" y="83"/>
                    </a:cubicBezTo>
                    <a:cubicBezTo>
                      <a:pt x="78" y="84"/>
                      <a:pt x="75" y="76"/>
                      <a:pt x="77" y="74"/>
                    </a:cubicBezTo>
                    <a:cubicBezTo>
                      <a:pt x="77" y="74"/>
                      <a:pt x="80" y="65"/>
                      <a:pt x="73" y="67"/>
                    </a:cubicBezTo>
                    <a:cubicBezTo>
                      <a:pt x="73" y="70"/>
                      <a:pt x="66" y="74"/>
                      <a:pt x="66" y="66"/>
                    </a:cubicBezTo>
                    <a:cubicBezTo>
                      <a:pt x="66" y="66"/>
                      <a:pt x="64" y="58"/>
                      <a:pt x="56" y="58"/>
                    </a:cubicBezTo>
                    <a:cubicBezTo>
                      <a:pt x="56" y="58"/>
                      <a:pt x="53" y="56"/>
                      <a:pt x="55" y="48"/>
                    </a:cubicBezTo>
                    <a:cubicBezTo>
                      <a:pt x="55" y="48"/>
                      <a:pt x="59" y="46"/>
                      <a:pt x="58" y="40"/>
                    </a:cubicBezTo>
                    <a:cubicBezTo>
                      <a:pt x="58" y="40"/>
                      <a:pt x="57" y="36"/>
                      <a:pt x="59" y="35"/>
                    </a:cubicBezTo>
                    <a:cubicBezTo>
                      <a:pt x="59" y="35"/>
                      <a:pt x="63" y="34"/>
                      <a:pt x="59" y="30"/>
                    </a:cubicBezTo>
                    <a:cubicBezTo>
                      <a:pt x="57" y="27"/>
                      <a:pt x="64" y="29"/>
                      <a:pt x="58" y="21"/>
                    </a:cubicBezTo>
                    <a:cubicBezTo>
                      <a:pt x="58" y="21"/>
                      <a:pt x="57" y="14"/>
                      <a:pt x="51" y="17"/>
                    </a:cubicBezTo>
                    <a:cubicBezTo>
                      <a:pt x="51" y="17"/>
                      <a:pt x="50" y="25"/>
                      <a:pt x="43" y="15"/>
                    </a:cubicBezTo>
                  </a:path>
                </a:pathLst>
              </a:custGeom>
              <a:solidFill>
                <a:schemeClr val="accent1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21" name="Freeform 1157">
                <a:extLst>
                  <a:ext uri="{FF2B5EF4-FFF2-40B4-BE49-F238E27FC236}">
                    <a16:creationId xmlns:a16="http://schemas.microsoft.com/office/drawing/2014/main" id="{1C74C35D-8E64-4D5A-8E59-E669FF2B9A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9443" y="3005964"/>
                <a:ext cx="861644" cy="1165288"/>
              </a:xfrm>
              <a:custGeom>
                <a:avLst/>
                <a:gdLst>
                  <a:gd name="T0" fmla="*/ 15875 w 122"/>
                  <a:gd name="T1" fmla="*/ 539750 h 165"/>
                  <a:gd name="T2" fmla="*/ 15875 w 122"/>
                  <a:gd name="T3" fmla="*/ 476250 h 165"/>
                  <a:gd name="T4" fmla="*/ 15875 w 122"/>
                  <a:gd name="T5" fmla="*/ 373062 h 165"/>
                  <a:gd name="T6" fmla="*/ 31750 w 122"/>
                  <a:gd name="T7" fmla="*/ 317500 h 165"/>
                  <a:gd name="T8" fmla="*/ 39688 w 122"/>
                  <a:gd name="T9" fmla="*/ 261937 h 165"/>
                  <a:gd name="T10" fmla="*/ 31750 w 122"/>
                  <a:gd name="T11" fmla="*/ 214312 h 165"/>
                  <a:gd name="T12" fmla="*/ 55563 w 122"/>
                  <a:gd name="T13" fmla="*/ 150812 h 165"/>
                  <a:gd name="T14" fmla="*/ 47625 w 122"/>
                  <a:gd name="T15" fmla="*/ 103187 h 165"/>
                  <a:gd name="T16" fmla="*/ 71438 w 122"/>
                  <a:gd name="T17" fmla="*/ 95250 h 165"/>
                  <a:gd name="T18" fmla="*/ 103188 w 122"/>
                  <a:gd name="T19" fmla="*/ 47625 h 165"/>
                  <a:gd name="T20" fmla="*/ 127000 w 122"/>
                  <a:gd name="T21" fmla="*/ 7937 h 165"/>
                  <a:gd name="T22" fmla="*/ 190500 w 122"/>
                  <a:gd name="T23" fmla="*/ 47625 h 165"/>
                  <a:gd name="T24" fmla="*/ 246063 w 122"/>
                  <a:gd name="T25" fmla="*/ 55562 h 165"/>
                  <a:gd name="T26" fmla="*/ 325438 w 122"/>
                  <a:gd name="T27" fmla="*/ 87312 h 165"/>
                  <a:gd name="T28" fmla="*/ 388938 w 122"/>
                  <a:gd name="T29" fmla="*/ 111125 h 165"/>
                  <a:gd name="T30" fmla="*/ 460375 w 122"/>
                  <a:gd name="T31" fmla="*/ 111125 h 165"/>
                  <a:gd name="T32" fmla="*/ 515938 w 122"/>
                  <a:gd name="T33" fmla="*/ 119062 h 165"/>
                  <a:gd name="T34" fmla="*/ 587375 w 122"/>
                  <a:gd name="T35" fmla="*/ 150812 h 165"/>
                  <a:gd name="T36" fmla="*/ 642938 w 122"/>
                  <a:gd name="T37" fmla="*/ 150812 h 165"/>
                  <a:gd name="T38" fmla="*/ 674688 w 122"/>
                  <a:gd name="T39" fmla="*/ 190500 h 165"/>
                  <a:gd name="T40" fmla="*/ 738188 w 122"/>
                  <a:gd name="T41" fmla="*/ 222250 h 165"/>
                  <a:gd name="T42" fmla="*/ 809625 w 122"/>
                  <a:gd name="T43" fmla="*/ 230187 h 165"/>
                  <a:gd name="T44" fmla="*/ 873125 w 122"/>
                  <a:gd name="T45" fmla="*/ 190500 h 165"/>
                  <a:gd name="T46" fmla="*/ 873125 w 122"/>
                  <a:gd name="T47" fmla="*/ 238125 h 165"/>
                  <a:gd name="T48" fmla="*/ 889000 w 122"/>
                  <a:gd name="T49" fmla="*/ 325437 h 165"/>
                  <a:gd name="T50" fmla="*/ 865188 w 122"/>
                  <a:gd name="T51" fmla="*/ 484187 h 165"/>
                  <a:gd name="T52" fmla="*/ 785813 w 122"/>
                  <a:gd name="T53" fmla="*/ 555625 h 165"/>
                  <a:gd name="T54" fmla="*/ 777875 w 122"/>
                  <a:gd name="T55" fmla="*/ 611187 h 165"/>
                  <a:gd name="T56" fmla="*/ 841375 w 122"/>
                  <a:gd name="T57" fmla="*/ 635000 h 165"/>
                  <a:gd name="T58" fmla="*/ 881063 w 122"/>
                  <a:gd name="T59" fmla="*/ 650875 h 165"/>
                  <a:gd name="T60" fmla="*/ 904875 w 122"/>
                  <a:gd name="T61" fmla="*/ 674687 h 165"/>
                  <a:gd name="T62" fmla="*/ 849313 w 122"/>
                  <a:gd name="T63" fmla="*/ 682625 h 165"/>
                  <a:gd name="T64" fmla="*/ 793750 w 122"/>
                  <a:gd name="T65" fmla="*/ 714375 h 165"/>
                  <a:gd name="T66" fmla="*/ 777875 w 122"/>
                  <a:gd name="T67" fmla="*/ 793750 h 165"/>
                  <a:gd name="T68" fmla="*/ 817563 w 122"/>
                  <a:gd name="T69" fmla="*/ 833437 h 165"/>
                  <a:gd name="T70" fmla="*/ 873125 w 122"/>
                  <a:gd name="T71" fmla="*/ 896937 h 165"/>
                  <a:gd name="T72" fmla="*/ 889000 w 122"/>
                  <a:gd name="T73" fmla="*/ 976312 h 165"/>
                  <a:gd name="T74" fmla="*/ 904875 w 122"/>
                  <a:gd name="T75" fmla="*/ 992187 h 165"/>
                  <a:gd name="T76" fmla="*/ 904875 w 122"/>
                  <a:gd name="T77" fmla="*/ 1071562 h 165"/>
                  <a:gd name="T78" fmla="*/ 881063 w 122"/>
                  <a:gd name="T79" fmla="*/ 1222375 h 165"/>
                  <a:gd name="T80" fmla="*/ 833438 w 122"/>
                  <a:gd name="T81" fmla="*/ 1293812 h 165"/>
                  <a:gd name="T82" fmla="*/ 650875 w 122"/>
                  <a:gd name="T83" fmla="*/ 1301750 h 165"/>
                  <a:gd name="T84" fmla="*/ 571500 w 122"/>
                  <a:gd name="T85" fmla="*/ 1309687 h 165"/>
                  <a:gd name="T86" fmla="*/ 571500 w 122"/>
                  <a:gd name="T87" fmla="*/ 1309687 h 165"/>
                  <a:gd name="T88" fmla="*/ 571500 w 122"/>
                  <a:gd name="T89" fmla="*/ 1270000 h 165"/>
                  <a:gd name="T90" fmla="*/ 571500 w 122"/>
                  <a:gd name="T91" fmla="*/ 1270000 h 165"/>
                  <a:gd name="T92" fmla="*/ 515938 w 122"/>
                  <a:gd name="T93" fmla="*/ 1214437 h 165"/>
                  <a:gd name="T94" fmla="*/ 460375 w 122"/>
                  <a:gd name="T95" fmla="*/ 1190625 h 165"/>
                  <a:gd name="T96" fmla="*/ 373063 w 122"/>
                  <a:gd name="T97" fmla="*/ 1150937 h 165"/>
                  <a:gd name="T98" fmla="*/ 301625 w 122"/>
                  <a:gd name="T99" fmla="*/ 1016000 h 165"/>
                  <a:gd name="T100" fmla="*/ 246063 w 122"/>
                  <a:gd name="T101" fmla="*/ 992187 h 165"/>
                  <a:gd name="T102" fmla="*/ 214313 w 122"/>
                  <a:gd name="T103" fmla="*/ 912812 h 165"/>
                  <a:gd name="T104" fmla="*/ 206375 w 122"/>
                  <a:gd name="T105" fmla="*/ 841375 h 165"/>
                  <a:gd name="T106" fmla="*/ 198438 w 122"/>
                  <a:gd name="T107" fmla="*/ 793750 h 165"/>
                  <a:gd name="T108" fmla="*/ 182563 w 122"/>
                  <a:gd name="T109" fmla="*/ 746125 h 165"/>
                  <a:gd name="T110" fmla="*/ 134938 w 122"/>
                  <a:gd name="T111" fmla="*/ 698500 h 165"/>
                  <a:gd name="T112" fmla="*/ 103188 w 122"/>
                  <a:gd name="T113" fmla="*/ 674687 h 165"/>
                  <a:gd name="T114" fmla="*/ 103188 w 122"/>
                  <a:gd name="T115" fmla="*/ 619125 h 165"/>
                  <a:gd name="T116" fmla="*/ 63500 w 122"/>
                  <a:gd name="T117" fmla="*/ 579437 h 165"/>
                  <a:gd name="T118" fmla="*/ 31750 w 122"/>
                  <a:gd name="T119" fmla="*/ 563562 h 165"/>
                  <a:gd name="T120" fmla="*/ 15875 w 122"/>
                  <a:gd name="T121" fmla="*/ 539750 h 165"/>
                  <a:gd name="T122" fmla="*/ 15875 w 122"/>
                  <a:gd name="T123" fmla="*/ 539750 h 165"/>
                  <a:gd name="T124" fmla="*/ 15875 w 122"/>
                  <a:gd name="T125" fmla="*/ 539750 h 16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22"/>
                  <a:gd name="T190" fmla="*/ 0 h 165"/>
                  <a:gd name="T191" fmla="*/ 122 w 122"/>
                  <a:gd name="T192" fmla="*/ 165 h 165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22" h="165">
                    <a:moveTo>
                      <a:pt x="2" y="68"/>
                    </a:moveTo>
                    <a:cubicBezTo>
                      <a:pt x="2" y="68"/>
                      <a:pt x="6" y="61"/>
                      <a:pt x="2" y="60"/>
                    </a:cubicBezTo>
                    <a:cubicBezTo>
                      <a:pt x="2" y="60"/>
                      <a:pt x="0" y="57"/>
                      <a:pt x="2" y="47"/>
                    </a:cubicBezTo>
                    <a:cubicBezTo>
                      <a:pt x="2" y="47"/>
                      <a:pt x="6" y="45"/>
                      <a:pt x="4" y="40"/>
                    </a:cubicBezTo>
                    <a:cubicBezTo>
                      <a:pt x="1" y="36"/>
                      <a:pt x="7" y="35"/>
                      <a:pt x="5" y="33"/>
                    </a:cubicBezTo>
                    <a:cubicBezTo>
                      <a:pt x="5" y="33"/>
                      <a:pt x="2" y="30"/>
                      <a:pt x="4" y="27"/>
                    </a:cubicBezTo>
                    <a:cubicBezTo>
                      <a:pt x="6" y="26"/>
                      <a:pt x="3" y="22"/>
                      <a:pt x="7" y="19"/>
                    </a:cubicBezTo>
                    <a:cubicBezTo>
                      <a:pt x="7" y="19"/>
                      <a:pt x="3" y="16"/>
                      <a:pt x="6" y="13"/>
                    </a:cubicBezTo>
                    <a:cubicBezTo>
                      <a:pt x="7" y="13"/>
                      <a:pt x="8" y="13"/>
                      <a:pt x="9" y="12"/>
                    </a:cubicBezTo>
                    <a:cubicBezTo>
                      <a:pt x="9" y="12"/>
                      <a:pt x="13" y="13"/>
                      <a:pt x="13" y="6"/>
                    </a:cubicBezTo>
                    <a:cubicBezTo>
                      <a:pt x="13" y="6"/>
                      <a:pt x="11" y="0"/>
                      <a:pt x="16" y="1"/>
                    </a:cubicBezTo>
                    <a:cubicBezTo>
                      <a:pt x="21" y="0"/>
                      <a:pt x="19" y="4"/>
                      <a:pt x="24" y="6"/>
                    </a:cubicBezTo>
                    <a:cubicBezTo>
                      <a:pt x="24" y="6"/>
                      <a:pt x="29" y="9"/>
                      <a:pt x="31" y="7"/>
                    </a:cubicBezTo>
                    <a:cubicBezTo>
                      <a:pt x="31" y="7"/>
                      <a:pt x="37" y="4"/>
                      <a:pt x="41" y="11"/>
                    </a:cubicBezTo>
                    <a:cubicBezTo>
                      <a:pt x="41" y="11"/>
                      <a:pt x="49" y="12"/>
                      <a:pt x="49" y="14"/>
                    </a:cubicBezTo>
                    <a:cubicBezTo>
                      <a:pt x="49" y="14"/>
                      <a:pt x="53" y="20"/>
                      <a:pt x="58" y="14"/>
                    </a:cubicBezTo>
                    <a:cubicBezTo>
                      <a:pt x="58" y="14"/>
                      <a:pt x="61" y="3"/>
                      <a:pt x="65" y="15"/>
                    </a:cubicBezTo>
                    <a:cubicBezTo>
                      <a:pt x="65" y="15"/>
                      <a:pt x="68" y="22"/>
                      <a:pt x="74" y="19"/>
                    </a:cubicBezTo>
                    <a:cubicBezTo>
                      <a:pt x="74" y="19"/>
                      <a:pt x="76" y="16"/>
                      <a:pt x="81" y="19"/>
                    </a:cubicBezTo>
                    <a:cubicBezTo>
                      <a:pt x="81" y="19"/>
                      <a:pt x="86" y="18"/>
                      <a:pt x="85" y="24"/>
                    </a:cubicBezTo>
                    <a:cubicBezTo>
                      <a:pt x="85" y="24"/>
                      <a:pt x="86" y="29"/>
                      <a:pt x="93" y="28"/>
                    </a:cubicBezTo>
                    <a:cubicBezTo>
                      <a:pt x="93" y="28"/>
                      <a:pt x="96" y="34"/>
                      <a:pt x="102" y="29"/>
                    </a:cubicBezTo>
                    <a:cubicBezTo>
                      <a:pt x="102" y="29"/>
                      <a:pt x="104" y="24"/>
                      <a:pt x="110" y="24"/>
                    </a:cubicBezTo>
                    <a:cubicBezTo>
                      <a:pt x="110" y="24"/>
                      <a:pt x="117" y="26"/>
                      <a:pt x="110" y="30"/>
                    </a:cubicBezTo>
                    <a:cubicBezTo>
                      <a:pt x="110" y="30"/>
                      <a:pt x="104" y="32"/>
                      <a:pt x="112" y="41"/>
                    </a:cubicBezTo>
                    <a:cubicBezTo>
                      <a:pt x="112" y="41"/>
                      <a:pt x="122" y="49"/>
                      <a:pt x="109" y="61"/>
                    </a:cubicBezTo>
                    <a:cubicBezTo>
                      <a:pt x="108" y="72"/>
                      <a:pt x="102" y="67"/>
                      <a:pt x="99" y="70"/>
                    </a:cubicBezTo>
                    <a:cubicBezTo>
                      <a:pt x="99" y="70"/>
                      <a:pt x="93" y="71"/>
                      <a:pt x="98" y="77"/>
                    </a:cubicBezTo>
                    <a:cubicBezTo>
                      <a:pt x="98" y="77"/>
                      <a:pt x="98" y="82"/>
                      <a:pt x="106" y="80"/>
                    </a:cubicBezTo>
                    <a:cubicBezTo>
                      <a:pt x="106" y="80"/>
                      <a:pt x="109" y="80"/>
                      <a:pt x="111" y="82"/>
                    </a:cubicBezTo>
                    <a:cubicBezTo>
                      <a:pt x="116" y="76"/>
                      <a:pt x="119" y="82"/>
                      <a:pt x="114" y="85"/>
                    </a:cubicBezTo>
                    <a:cubicBezTo>
                      <a:pt x="114" y="85"/>
                      <a:pt x="115" y="88"/>
                      <a:pt x="107" y="86"/>
                    </a:cubicBezTo>
                    <a:cubicBezTo>
                      <a:pt x="107" y="86"/>
                      <a:pt x="104" y="83"/>
                      <a:pt x="100" y="90"/>
                    </a:cubicBezTo>
                    <a:cubicBezTo>
                      <a:pt x="100" y="90"/>
                      <a:pt x="98" y="94"/>
                      <a:pt x="98" y="100"/>
                    </a:cubicBezTo>
                    <a:cubicBezTo>
                      <a:pt x="98" y="100"/>
                      <a:pt x="96" y="106"/>
                      <a:pt x="103" y="105"/>
                    </a:cubicBezTo>
                    <a:cubicBezTo>
                      <a:pt x="103" y="105"/>
                      <a:pt x="110" y="103"/>
                      <a:pt x="110" y="113"/>
                    </a:cubicBezTo>
                    <a:cubicBezTo>
                      <a:pt x="110" y="113"/>
                      <a:pt x="115" y="120"/>
                      <a:pt x="112" y="123"/>
                    </a:cubicBezTo>
                    <a:cubicBezTo>
                      <a:pt x="112" y="123"/>
                      <a:pt x="107" y="124"/>
                      <a:pt x="114" y="125"/>
                    </a:cubicBezTo>
                    <a:cubicBezTo>
                      <a:pt x="114" y="125"/>
                      <a:pt x="122" y="122"/>
                      <a:pt x="114" y="135"/>
                    </a:cubicBezTo>
                    <a:cubicBezTo>
                      <a:pt x="114" y="135"/>
                      <a:pt x="111" y="141"/>
                      <a:pt x="111" y="154"/>
                    </a:cubicBezTo>
                    <a:cubicBezTo>
                      <a:pt x="111" y="164"/>
                      <a:pt x="112" y="163"/>
                      <a:pt x="105" y="163"/>
                    </a:cubicBezTo>
                    <a:cubicBezTo>
                      <a:pt x="105" y="163"/>
                      <a:pt x="94" y="162"/>
                      <a:pt x="82" y="164"/>
                    </a:cubicBezTo>
                    <a:cubicBezTo>
                      <a:pt x="82" y="164"/>
                      <a:pt x="78" y="165"/>
                      <a:pt x="72" y="165"/>
                    </a:cubicBezTo>
                    <a:lnTo>
                      <a:pt x="72" y="160"/>
                    </a:lnTo>
                    <a:cubicBezTo>
                      <a:pt x="72" y="160"/>
                      <a:pt x="74" y="153"/>
                      <a:pt x="65" y="153"/>
                    </a:cubicBezTo>
                    <a:cubicBezTo>
                      <a:pt x="65" y="153"/>
                      <a:pt x="60" y="155"/>
                      <a:pt x="58" y="150"/>
                    </a:cubicBezTo>
                    <a:cubicBezTo>
                      <a:pt x="58" y="150"/>
                      <a:pt x="62" y="147"/>
                      <a:pt x="47" y="145"/>
                    </a:cubicBezTo>
                    <a:cubicBezTo>
                      <a:pt x="47" y="145"/>
                      <a:pt x="49" y="138"/>
                      <a:pt x="38" y="128"/>
                    </a:cubicBezTo>
                    <a:cubicBezTo>
                      <a:pt x="38" y="128"/>
                      <a:pt x="39" y="125"/>
                      <a:pt x="31" y="125"/>
                    </a:cubicBezTo>
                    <a:cubicBezTo>
                      <a:pt x="31" y="118"/>
                      <a:pt x="27" y="120"/>
                      <a:pt x="27" y="115"/>
                    </a:cubicBezTo>
                    <a:cubicBezTo>
                      <a:pt x="27" y="115"/>
                      <a:pt x="24" y="113"/>
                      <a:pt x="26" y="106"/>
                    </a:cubicBezTo>
                    <a:cubicBezTo>
                      <a:pt x="29" y="104"/>
                      <a:pt x="24" y="103"/>
                      <a:pt x="25" y="100"/>
                    </a:cubicBezTo>
                    <a:cubicBezTo>
                      <a:pt x="25" y="100"/>
                      <a:pt x="31" y="100"/>
                      <a:pt x="23" y="94"/>
                    </a:cubicBezTo>
                    <a:cubicBezTo>
                      <a:pt x="23" y="94"/>
                      <a:pt x="24" y="88"/>
                      <a:pt x="17" y="88"/>
                    </a:cubicBezTo>
                    <a:cubicBezTo>
                      <a:pt x="17" y="88"/>
                      <a:pt x="7" y="89"/>
                      <a:pt x="13" y="85"/>
                    </a:cubicBezTo>
                    <a:cubicBezTo>
                      <a:pt x="17" y="83"/>
                      <a:pt x="12" y="82"/>
                      <a:pt x="13" y="78"/>
                    </a:cubicBezTo>
                    <a:cubicBezTo>
                      <a:pt x="13" y="78"/>
                      <a:pt x="14" y="70"/>
                      <a:pt x="8" y="73"/>
                    </a:cubicBezTo>
                    <a:cubicBezTo>
                      <a:pt x="8" y="73"/>
                      <a:pt x="4" y="74"/>
                      <a:pt x="4" y="71"/>
                    </a:cubicBezTo>
                    <a:cubicBezTo>
                      <a:pt x="4" y="71"/>
                      <a:pt x="6" y="68"/>
                      <a:pt x="2" y="68"/>
                    </a:cubicBezTo>
                  </a:path>
                </a:pathLst>
              </a:custGeom>
              <a:solidFill>
                <a:schemeClr val="accent5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22" name="Freeform 1158">
                <a:extLst>
                  <a:ext uri="{FF2B5EF4-FFF2-40B4-BE49-F238E27FC236}">
                    <a16:creationId xmlns:a16="http://schemas.microsoft.com/office/drawing/2014/main" id="{AA7092A1-C02A-4A75-BDC3-B565645E33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5685" y="3465018"/>
                <a:ext cx="946396" cy="1313596"/>
              </a:xfrm>
              <a:custGeom>
                <a:avLst/>
                <a:gdLst>
                  <a:gd name="T0" fmla="*/ 87313 w 134"/>
                  <a:gd name="T1" fmla="*/ 452438 h 186"/>
                  <a:gd name="T2" fmla="*/ 142875 w 134"/>
                  <a:gd name="T3" fmla="*/ 452438 h 186"/>
                  <a:gd name="T4" fmla="*/ 134938 w 134"/>
                  <a:gd name="T5" fmla="*/ 611188 h 186"/>
                  <a:gd name="T6" fmla="*/ 158750 w 134"/>
                  <a:gd name="T7" fmla="*/ 690563 h 186"/>
                  <a:gd name="T8" fmla="*/ 111125 w 134"/>
                  <a:gd name="T9" fmla="*/ 777875 h 186"/>
                  <a:gd name="T10" fmla="*/ 47625 w 134"/>
                  <a:gd name="T11" fmla="*/ 825500 h 186"/>
                  <a:gd name="T12" fmla="*/ 47625 w 134"/>
                  <a:gd name="T13" fmla="*/ 912813 h 186"/>
                  <a:gd name="T14" fmla="*/ 95250 w 134"/>
                  <a:gd name="T15" fmla="*/ 976313 h 186"/>
                  <a:gd name="T16" fmla="*/ 182563 w 134"/>
                  <a:gd name="T17" fmla="*/ 1063625 h 186"/>
                  <a:gd name="T18" fmla="*/ 285750 w 134"/>
                  <a:gd name="T19" fmla="*/ 1111250 h 186"/>
                  <a:gd name="T20" fmla="*/ 301625 w 134"/>
                  <a:gd name="T21" fmla="*/ 1174750 h 186"/>
                  <a:gd name="T22" fmla="*/ 254000 w 134"/>
                  <a:gd name="T23" fmla="*/ 1214438 h 186"/>
                  <a:gd name="T24" fmla="*/ 198438 w 134"/>
                  <a:gd name="T25" fmla="*/ 1301750 h 186"/>
                  <a:gd name="T26" fmla="*/ 317500 w 134"/>
                  <a:gd name="T27" fmla="*/ 1397000 h 186"/>
                  <a:gd name="T28" fmla="*/ 293688 w 134"/>
                  <a:gd name="T29" fmla="*/ 1476375 h 186"/>
                  <a:gd name="T30" fmla="*/ 412750 w 134"/>
                  <a:gd name="T31" fmla="*/ 1460500 h 186"/>
                  <a:gd name="T32" fmla="*/ 738188 w 134"/>
                  <a:gd name="T33" fmla="*/ 1309688 h 186"/>
                  <a:gd name="T34" fmla="*/ 769938 w 134"/>
                  <a:gd name="T35" fmla="*/ 1206500 h 186"/>
                  <a:gd name="T36" fmla="*/ 769938 w 134"/>
                  <a:gd name="T37" fmla="*/ 1119188 h 186"/>
                  <a:gd name="T38" fmla="*/ 889000 w 134"/>
                  <a:gd name="T39" fmla="*/ 944563 h 186"/>
                  <a:gd name="T40" fmla="*/ 952500 w 134"/>
                  <a:gd name="T41" fmla="*/ 857250 h 186"/>
                  <a:gd name="T42" fmla="*/ 1047750 w 134"/>
                  <a:gd name="T43" fmla="*/ 793750 h 186"/>
                  <a:gd name="T44" fmla="*/ 1047750 w 134"/>
                  <a:gd name="T45" fmla="*/ 754063 h 186"/>
                  <a:gd name="T46" fmla="*/ 992188 w 134"/>
                  <a:gd name="T47" fmla="*/ 698500 h 186"/>
                  <a:gd name="T48" fmla="*/ 849313 w 134"/>
                  <a:gd name="T49" fmla="*/ 635000 h 186"/>
                  <a:gd name="T50" fmla="*/ 722313 w 134"/>
                  <a:gd name="T51" fmla="*/ 476250 h 186"/>
                  <a:gd name="T52" fmla="*/ 682625 w 134"/>
                  <a:gd name="T53" fmla="*/ 325438 h 186"/>
                  <a:gd name="T54" fmla="*/ 658813 w 134"/>
                  <a:gd name="T55" fmla="*/ 230188 h 186"/>
                  <a:gd name="T56" fmla="*/ 579438 w 134"/>
                  <a:gd name="T57" fmla="*/ 158750 h 186"/>
                  <a:gd name="T58" fmla="*/ 539750 w 134"/>
                  <a:gd name="T59" fmla="*/ 63500 h 186"/>
                  <a:gd name="T60" fmla="*/ 484188 w 134"/>
                  <a:gd name="T61" fmla="*/ 23813 h 186"/>
                  <a:gd name="T62" fmla="*/ 357188 w 134"/>
                  <a:gd name="T63" fmla="*/ 47625 h 186"/>
                  <a:gd name="T64" fmla="*/ 341313 w 134"/>
                  <a:gd name="T65" fmla="*/ 111125 h 186"/>
                  <a:gd name="T66" fmla="*/ 261938 w 134"/>
                  <a:gd name="T67" fmla="*/ 238125 h 186"/>
                  <a:gd name="T68" fmla="*/ 190500 w 134"/>
                  <a:gd name="T69" fmla="*/ 293688 h 186"/>
                  <a:gd name="T70" fmla="*/ 127000 w 134"/>
                  <a:gd name="T71" fmla="*/ 309563 h 186"/>
                  <a:gd name="T72" fmla="*/ 47625 w 134"/>
                  <a:gd name="T73" fmla="*/ 349250 h 186"/>
                  <a:gd name="T74" fmla="*/ 63500 w 134"/>
                  <a:gd name="T75" fmla="*/ 428625 h 1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34"/>
                  <a:gd name="T115" fmla="*/ 0 h 186"/>
                  <a:gd name="T116" fmla="*/ 134 w 134"/>
                  <a:gd name="T117" fmla="*/ 186 h 18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34" h="186">
                    <a:moveTo>
                      <a:pt x="8" y="54"/>
                    </a:moveTo>
                    <a:cubicBezTo>
                      <a:pt x="14" y="56"/>
                      <a:pt x="11" y="57"/>
                      <a:pt x="11" y="57"/>
                    </a:cubicBezTo>
                    <a:cubicBezTo>
                      <a:pt x="8" y="60"/>
                      <a:pt x="13" y="62"/>
                      <a:pt x="13" y="58"/>
                    </a:cubicBezTo>
                    <a:cubicBezTo>
                      <a:pt x="15" y="56"/>
                      <a:pt x="18" y="57"/>
                      <a:pt x="18" y="57"/>
                    </a:cubicBezTo>
                    <a:cubicBezTo>
                      <a:pt x="19" y="59"/>
                      <a:pt x="14" y="61"/>
                      <a:pt x="15" y="66"/>
                    </a:cubicBezTo>
                    <a:cubicBezTo>
                      <a:pt x="13" y="77"/>
                      <a:pt x="17" y="77"/>
                      <a:pt x="17" y="77"/>
                    </a:cubicBezTo>
                    <a:cubicBezTo>
                      <a:pt x="21" y="78"/>
                      <a:pt x="22" y="82"/>
                      <a:pt x="22" y="82"/>
                    </a:cubicBezTo>
                    <a:cubicBezTo>
                      <a:pt x="23" y="86"/>
                      <a:pt x="20" y="87"/>
                      <a:pt x="20" y="87"/>
                    </a:cubicBezTo>
                    <a:cubicBezTo>
                      <a:pt x="17" y="88"/>
                      <a:pt x="20" y="94"/>
                      <a:pt x="20" y="94"/>
                    </a:cubicBezTo>
                    <a:cubicBezTo>
                      <a:pt x="23" y="101"/>
                      <a:pt x="14" y="98"/>
                      <a:pt x="14" y="98"/>
                    </a:cubicBezTo>
                    <a:cubicBezTo>
                      <a:pt x="9" y="91"/>
                      <a:pt x="6" y="96"/>
                      <a:pt x="6" y="96"/>
                    </a:cubicBezTo>
                    <a:cubicBezTo>
                      <a:pt x="2" y="101"/>
                      <a:pt x="6" y="104"/>
                      <a:pt x="6" y="104"/>
                    </a:cubicBezTo>
                    <a:cubicBezTo>
                      <a:pt x="10" y="107"/>
                      <a:pt x="6" y="108"/>
                      <a:pt x="6" y="108"/>
                    </a:cubicBezTo>
                    <a:cubicBezTo>
                      <a:pt x="0" y="109"/>
                      <a:pt x="6" y="115"/>
                      <a:pt x="6" y="115"/>
                    </a:cubicBezTo>
                    <a:cubicBezTo>
                      <a:pt x="7" y="119"/>
                      <a:pt x="9" y="118"/>
                      <a:pt x="9" y="118"/>
                    </a:cubicBezTo>
                    <a:cubicBezTo>
                      <a:pt x="12" y="118"/>
                      <a:pt x="12" y="123"/>
                      <a:pt x="12" y="123"/>
                    </a:cubicBezTo>
                    <a:cubicBezTo>
                      <a:pt x="14" y="126"/>
                      <a:pt x="16" y="131"/>
                      <a:pt x="16" y="131"/>
                    </a:cubicBezTo>
                    <a:cubicBezTo>
                      <a:pt x="21" y="130"/>
                      <a:pt x="23" y="134"/>
                      <a:pt x="23" y="134"/>
                    </a:cubicBezTo>
                    <a:cubicBezTo>
                      <a:pt x="24" y="136"/>
                      <a:pt x="26" y="131"/>
                      <a:pt x="29" y="136"/>
                    </a:cubicBezTo>
                    <a:cubicBezTo>
                      <a:pt x="32" y="136"/>
                      <a:pt x="36" y="140"/>
                      <a:pt x="36" y="140"/>
                    </a:cubicBezTo>
                    <a:cubicBezTo>
                      <a:pt x="43" y="140"/>
                      <a:pt x="41" y="144"/>
                      <a:pt x="41" y="144"/>
                    </a:cubicBezTo>
                    <a:cubicBezTo>
                      <a:pt x="33" y="146"/>
                      <a:pt x="38" y="148"/>
                      <a:pt x="38" y="148"/>
                    </a:cubicBezTo>
                    <a:cubicBezTo>
                      <a:pt x="38" y="148"/>
                      <a:pt x="42" y="149"/>
                      <a:pt x="36" y="150"/>
                    </a:cubicBezTo>
                    <a:cubicBezTo>
                      <a:pt x="33" y="150"/>
                      <a:pt x="37" y="155"/>
                      <a:pt x="32" y="153"/>
                    </a:cubicBezTo>
                    <a:cubicBezTo>
                      <a:pt x="23" y="154"/>
                      <a:pt x="27" y="158"/>
                      <a:pt x="27" y="158"/>
                    </a:cubicBezTo>
                    <a:cubicBezTo>
                      <a:pt x="29" y="162"/>
                      <a:pt x="25" y="164"/>
                      <a:pt x="25" y="164"/>
                    </a:cubicBezTo>
                    <a:cubicBezTo>
                      <a:pt x="33" y="165"/>
                      <a:pt x="33" y="172"/>
                      <a:pt x="33" y="172"/>
                    </a:cubicBezTo>
                    <a:cubicBezTo>
                      <a:pt x="42" y="172"/>
                      <a:pt x="40" y="176"/>
                      <a:pt x="40" y="176"/>
                    </a:cubicBezTo>
                    <a:cubicBezTo>
                      <a:pt x="41" y="179"/>
                      <a:pt x="38" y="180"/>
                      <a:pt x="38" y="180"/>
                    </a:cubicBezTo>
                    <a:cubicBezTo>
                      <a:pt x="30" y="181"/>
                      <a:pt x="37" y="186"/>
                      <a:pt x="37" y="186"/>
                    </a:cubicBezTo>
                    <a:cubicBezTo>
                      <a:pt x="38" y="186"/>
                      <a:pt x="39" y="185"/>
                      <a:pt x="40" y="184"/>
                    </a:cubicBezTo>
                    <a:cubicBezTo>
                      <a:pt x="40" y="184"/>
                      <a:pt x="47" y="178"/>
                      <a:pt x="52" y="184"/>
                    </a:cubicBezTo>
                    <a:cubicBezTo>
                      <a:pt x="52" y="184"/>
                      <a:pt x="55" y="176"/>
                      <a:pt x="64" y="168"/>
                    </a:cubicBezTo>
                    <a:cubicBezTo>
                      <a:pt x="76" y="169"/>
                      <a:pt x="81" y="163"/>
                      <a:pt x="93" y="165"/>
                    </a:cubicBezTo>
                    <a:cubicBezTo>
                      <a:pt x="93" y="165"/>
                      <a:pt x="95" y="164"/>
                      <a:pt x="97" y="163"/>
                    </a:cubicBezTo>
                    <a:cubicBezTo>
                      <a:pt x="97" y="158"/>
                      <a:pt x="94" y="156"/>
                      <a:pt x="97" y="152"/>
                    </a:cubicBezTo>
                    <a:cubicBezTo>
                      <a:pt x="100" y="151"/>
                      <a:pt x="102" y="147"/>
                      <a:pt x="97" y="147"/>
                    </a:cubicBezTo>
                    <a:cubicBezTo>
                      <a:pt x="93" y="147"/>
                      <a:pt x="97" y="141"/>
                      <a:pt x="97" y="141"/>
                    </a:cubicBezTo>
                    <a:cubicBezTo>
                      <a:pt x="99" y="138"/>
                      <a:pt x="95" y="127"/>
                      <a:pt x="101" y="122"/>
                    </a:cubicBezTo>
                    <a:cubicBezTo>
                      <a:pt x="105" y="119"/>
                      <a:pt x="108" y="121"/>
                      <a:pt x="112" y="119"/>
                    </a:cubicBezTo>
                    <a:cubicBezTo>
                      <a:pt x="117" y="117"/>
                      <a:pt x="113" y="114"/>
                      <a:pt x="117" y="114"/>
                    </a:cubicBezTo>
                    <a:cubicBezTo>
                      <a:pt x="122" y="115"/>
                      <a:pt x="120" y="108"/>
                      <a:pt x="120" y="108"/>
                    </a:cubicBezTo>
                    <a:cubicBezTo>
                      <a:pt x="120" y="98"/>
                      <a:pt x="128" y="100"/>
                      <a:pt x="128" y="100"/>
                    </a:cubicBezTo>
                    <a:cubicBezTo>
                      <a:pt x="129" y="100"/>
                      <a:pt x="131" y="100"/>
                      <a:pt x="132" y="100"/>
                    </a:cubicBezTo>
                    <a:lnTo>
                      <a:pt x="132" y="95"/>
                    </a:lnTo>
                    <a:cubicBezTo>
                      <a:pt x="132" y="95"/>
                      <a:pt x="134" y="88"/>
                      <a:pt x="125" y="88"/>
                    </a:cubicBezTo>
                    <a:cubicBezTo>
                      <a:pt x="125" y="88"/>
                      <a:pt x="120" y="90"/>
                      <a:pt x="118" y="85"/>
                    </a:cubicBezTo>
                    <a:cubicBezTo>
                      <a:pt x="118" y="85"/>
                      <a:pt x="122" y="82"/>
                      <a:pt x="107" y="80"/>
                    </a:cubicBezTo>
                    <a:cubicBezTo>
                      <a:pt x="107" y="80"/>
                      <a:pt x="109" y="73"/>
                      <a:pt x="98" y="63"/>
                    </a:cubicBezTo>
                    <a:cubicBezTo>
                      <a:pt x="98" y="63"/>
                      <a:pt x="99" y="60"/>
                      <a:pt x="91" y="60"/>
                    </a:cubicBezTo>
                    <a:cubicBezTo>
                      <a:pt x="91" y="53"/>
                      <a:pt x="87" y="55"/>
                      <a:pt x="87" y="50"/>
                    </a:cubicBezTo>
                    <a:cubicBezTo>
                      <a:pt x="87" y="50"/>
                      <a:pt x="84" y="48"/>
                      <a:pt x="86" y="41"/>
                    </a:cubicBezTo>
                    <a:cubicBezTo>
                      <a:pt x="89" y="39"/>
                      <a:pt x="84" y="38"/>
                      <a:pt x="85" y="35"/>
                    </a:cubicBezTo>
                    <a:cubicBezTo>
                      <a:pt x="85" y="35"/>
                      <a:pt x="91" y="35"/>
                      <a:pt x="83" y="29"/>
                    </a:cubicBezTo>
                    <a:cubicBezTo>
                      <a:pt x="83" y="29"/>
                      <a:pt x="84" y="23"/>
                      <a:pt x="77" y="23"/>
                    </a:cubicBezTo>
                    <a:cubicBezTo>
                      <a:pt x="77" y="23"/>
                      <a:pt x="67" y="24"/>
                      <a:pt x="73" y="20"/>
                    </a:cubicBezTo>
                    <a:cubicBezTo>
                      <a:pt x="77" y="18"/>
                      <a:pt x="72" y="17"/>
                      <a:pt x="73" y="13"/>
                    </a:cubicBezTo>
                    <a:cubicBezTo>
                      <a:pt x="73" y="13"/>
                      <a:pt x="74" y="5"/>
                      <a:pt x="68" y="8"/>
                    </a:cubicBezTo>
                    <a:cubicBezTo>
                      <a:pt x="68" y="8"/>
                      <a:pt x="64" y="9"/>
                      <a:pt x="65" y="6"/>
                    </a:cubicBezTo>
                    <a:cubicBezTo>
                      <a:pt x="65" y="6"/>
                      <a:pt x="66" y="3"/>
                      <a:pt x="61" y="3"/>
                    </a:cubicBezTo>
                    <a:cubicBezTo>
                      <a:pt x="58" y="5"/>
                      <a:pt x="52" y="4"/>
                      <a:pt x="52" y="4"/>
                    </a:cubicBezTo>
                    <a:cubicBezTo>
                      <a:pt x="47" y="0"/>
                      <a:pt x="45" y="6"/>
                      <a:pt x="45" y="6"/>
                    </a:cubicBezTo>
                    <a:cubicBezTo>
                      <a:pt x="44" y="9"/>
                      <a:pt x="49" y="5"/>
                      <a:pt x="49" y="8"/>
                    </a:cubicBezTo>
                    <a:cubicBezTo>
                      <a:pt x="49" y="12"/>
                      <a:pt x="43" y="14"/>
                      <a:pt x="43" y="14"/>
                    </a:cubicBezTo>
                    <a:cubicBezTo>
                      <a:pt x="35" y="20"/>
                      <a:pt x="35" y="24"/>
                      <a:pt x="35" y="24"/>
                    </a:cubicBezTo>
                    <a:cubicBezTo>
                      <a:pt x="38" y="28"/>
                      <a:pt x="33" y="30"/>
                      <a:pt x="33" y="30"/>
                    </a:cubicBezTo>
                    <a:cubicBezTo>
                      <a:pt x="27" y="33"/>
                      <a:pt x="29" y="37"/>
                      <a:pt x="29" y="37"/>
                    </a:cubicBezTo>
                    <a:cubicBezTo>
                      <a:pt x="27" y="34"/>
                      <a:pt x="24" y="37"/>
                      <a:pt x="24" y="37"/>
                    </a:cubicBezTo>
                    <a:cubicBezTo>
                      <a:pt x="20" y="39"/>
                      <a:pt x="22" y="41"/>
                      <a:pt x="22" y="41"/>
                    </a:cubicBezTo>
                    <a:cubicBezTo>
                      <a:pt x="18" y="41"/>
                      <a:pt x="16" y="39"/>
                      <a:pt x="16" y="39"/>
                    </a:cubicBezTo>
                    <a:cubicBezTo>
                      <a:pt x="14" y="39"/>
                      <a:pt x="14" y="43"/>
                      <a:pt x="12" y="42"/>
                    </a:cubicBezTo>
                    <a:cubicBezTo>
                      <a:pt x="5" y="39"/>
                      <a:pt x="6" y="44"/>
                      <a:pt x="6" y="44"/>
                    </a:cubicBezTo>
                    <a:cubicBezTo>
                      <a:pt x="6" y="48"/>
                      <a:pt x="9" y="47"/>
                      <a:pt x="8" y="54"/>
                    </a:cubicBezTo>
                  </a:path>
                </a:pathLst>
              </a:custGeom>
              <a:solidFill>
                <a:schemeClr val="accent6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23" name="Freeform 1160">
                <a:extLst>
                  <a:ext uri="{FF2B5EF4-FFF2-40B4-BE49-F238E27FC236}">
                    <a16:creationId xmlns:a16="http://schemas.microsoft.com/office/drawing/2014/main" id="{87AEA990-726F-4569-9A12-DA2A65D54B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0324" y="4114754"/>
                <a:ext cx="1101773" cy="911042"/>
              </a:xfrm>
              <a:custGeom>
                <a:avLst/>
                <a:gdLst>
                  <a:gd name="T0" fmla="*/ 412750 w 156"/>
                  <a:gd name="T1" fmla="*/ 928687 h 129"/>
                  <a:gd name="T2" fmla="*/ 357188 w 156"/>
                  <a:gd name="T3" fmla="*/ 825500 h 129"/>
                  <a:gd name="T4" fmla="*/ 460375 w 156"/>
                  <a:gd name="T5" fmla="*/ 714375 h 129"/>
                  <a:gd name="T6" fmla="*/ 357188 w 156"/>
                  <a:gd name="T7" fmla="*/ 619125 h 129"/>
                  <a:gd name="T8" fmla="*/ 277813 w 156"/>
                  <a:gd name="T9" fmla="*/ 508000 h 129"/>
                  <a:gd name="T10" fmla="*/ 174625 w 156"/>
                  <a:gd name="T11" fmla="*/ 396875 h 129"/>
                  <a:gd name="T12" fmla="*/ 71438 w 156"/>
                  <a:gd name="T13" fmla="*/ 285750 h 129"/>
                  <a:gd name="T14" fmla="*/ 47625 w 156"/>
                  <a:gd name="T15" fmla="*/ 111125 h 129"/>
                  <a:gd name="T16" fmla="*/ 166688 w 156"/>
                  <a:gd name="T17" fmla="*/ 71437 h 129"/>
                  <a:gd name="T18" fmla="*/ 325438 w 156"/>
                  <a:gd name="T19" fmla="*/ 55562 h 129"/>
                  <a:gd name="T20" fmla="*/ 492125 w 156"/>
                  <a:gd name="T21" fmla="*/ 95250 h 129"/>
                  <a:gd name="T22" fmla="*/ 611188 w 156"/>
                  <a:gd name="T23" fmla="*/ 111125 h 129"/>
                  <a:gd name="T24" fmla="*/ 666750 w 156"/>
                  <a:gd name="T25" fmla="*/ 198437 h 129"/>
                  <a:gd name="T26" fmla="*/ 730250 w 156"/>
                  <a:gd name="T27" fmla="*/ 293687 h 129"/>
                  <a:gd name="T28" fmla="*/ 841375 w 156"/>
                  <a:gd name="T29" fmla="*/ 293687 h 129"/>
                  <a:gd name="T30" fmla="*/ 1023938 w 156"/>
                  <a:gd name="T31" fmla="*/ 230187 h 129"/>
                  <a:gd name="T32" fmla="*/ 1174750 w 156"/>
                  <a:gd name="T33" fmla="*/ 158750 h 129"/>
                  <a:gd name="T34" fmla="*/ 1182688 w 156"/>
                  <a:gd name="T35" fmla="*/ 254000 h 129"/>
                  <a:gd name="T36" fmla="*/ 1166813 w 156"/>
                  <a:gd name="T37" fmla="*/ 373062 h 129"/>
                  <a:gd name="T38" fmla="*/ 1214438 w 156"/>
                  <a:gd name="T39" fmla="*/ 476250 h 129"/>
                  <a:gd name="T40" fmla="*/ 1174750 w 156"/>
                  <a:gd name="T41" fmla="*/ 531812 h 129"/>
                  <a:gd name="T42" fmla="*/ 1214438 w 156"/>
                  <a:gd name="T43" fmla="*/ 611187 h 129"/>
                  <a:gd name="T44" fmla="*/ 1143000 w 156"/>
                  <a:gd name="T45" fmla="*/ 730250 h 129"/>
                  <a:gd name="T46" fmla="*/ 1150938 w 156"/>
                  <a:gd name="T47" fmla="*/ 785812 h 129"/>
                  <a:gd name="T48" fmla="*/ 1103313 w 156"/>
                  <a:gd name="T49" fmla="*/ 841375 h 129"/>
                  <a:gd name="T50" fmla="*/ 1047750 w 156"/>
                  <a:gd name="T51" fmla="*/ 873125 h 129"/>
                  <a:gd name="T52" fmla="*/ 904875 w 156"/>
                  <a:gd name="T53" fmla="*/ 896937 h 129"/>
                  <a:gd name="T54" fmla="*/ 754063 w 156"/>
                  <a:gd name="T55" fmla="*/ 944562 h 129"/>
                  <a:gd name="T56" fmla="*/ 722313 w 156"/>
                  <a:gd name="T57" fmla="*/ 920750 h 129"/>
                  <a:gd name="T58" fmla="*/ 642938 w 156"/>
                  <a:gd name="T59" fmla="*/ 992187 h 129"/>
                  <a:gd name="T60" fmla="*/ 563563 w 156"/>
                  <a:gd name="T61" fmla="*/ 1008062 h 129"/>
                  <a:gd name="T62" fmla="*/ 587375 w 156"/>
                  <a:gd name="T63" fmla="*/ 920750 h 129"/>
                  <a:gd name="T64" fmla="*/ 428625 w 156"/>
                  <a:gd name="T65" fmla="*/ 992187 h 129"/>
                  <a:gd name="T66" fmla="*/ 428625 w 156"/>
                  <a:gd name="T67" fmla="*/ 992187 h 12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56"/>
                  <a:gd name="T103" fmla="*/ 0 h 129"/>
                  <a:gd name="T104" fmla="*/ 156 w 156"/>
                  <a:gd name="T105" fmla="*/ 129 h 129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56" h="129">
                    <a:moveTo>
                      <a:pt x="54" y="125"/>
                    </a:moveTo>
                    <a:cubicBezTo>
                      <a:pt x="54" y="125"/>
                      <a:pt x="50" y="125"/>
                      <a:pt x="52" y="117"/>
                    </a:cubicBezTo>
                    <a:cubicBezTo>
                      <a:pt x="52" y="117"/>
                      <a:pt x="53" y="112"/>
                      <a:pt x="49" y="108"/>
                    </a:cubicBezTo>
                    <a:cubicBezTo>
                      <a:pt x="49" y="108"/>
                      <a:pt x="44" y="107"/>
                      <a:pt x="45" y="104"/>
                    </a:cubicBezTo>
                    <a:cubicBezTo>
                      <a:pt x="45" y="104"/>
                      <a:pt x="43" y="101"/>
                      <a:pt x="52" y="100"/>
                    </a:cubicBezTo>
                    <a:cubicBezTo>
                      <a:pt x="52" y="100"/>
                      <a:pt x="63" y="99"/>
                      <a:pt x="58" y="90"/>
                    </a:cubicBezTo>
                    <a:cubicBezTo>
                      <a:pt x="57" y="87"/>
                      <a:pt x="50" y="87"/>
                      <a:pt x="49" y="84"/>
                    </a:cubicBezTo>
                    <a:cubicBezTo>
                      <a:pt x="49" y="83"/>
                      <a:pt x="56" y="77"/>
                      <a:pt x="45" y="78"/>
                    </a:cubicBezTo>
                    <a:cubicBezTo>
                      <a:pt x="45" y="78"/>
                      <a:pt x="37" y="79"/>
                      <a:pt x="36" y="74"/>
                    </a:cubicBezTo>
                    <a:cubicBezTo>
                      <a:pt x="36" y="74"/>
                      <a:pt x="34" y="68"/>
                      <a:pt x="35" y="64"/>
                    </a:cubicBezTo>
                    <a:cubicBezTo>
                      <a:pt x="35" y="64"/>
                      <a:pt x="39" y="60"/>
                      <a:pt x="34" y="54"/>
                    </a:cubicBezTo>
                    <a:cubicBezTo>
                      <a:pt x="34" y="48"/>
                      <a:pt x="29" y="51"/>
                      <a:pt x="22" y="50"/>
                    </a:cubicBezTo>
                    <a:cubicBezTo>
                      <a:pt x="22" y="50"/>
                      <a:pt x="11" y="54"/>
                      <a:pt x="12" y="43"/>
                    </a:cubicBezTo>
                    <a:cubicBezTo>
                      <a:pt x="12" y="43"/>
                      <a:pt x="13" y="36"/>
                      <a:pt x="9" y="36"/>
                    </a:cubicBezTo>
                    <a:cubicBezTo>
                      <a:pt x="9" y="36"/>
                      <a:pt x="10" y="26"/>
                      <a:pt x="5" y="24"/>
                    </a:cubicBezTo>
                    <a:cubicBezTo>
                      <a:pt x="5" y="24"/>
                      <a:pt x="0" y="17"/>
                      <a:pt x="6" y="14"/>
                    </a:cubicBezTo>
                    <a:cubicBezTo>
                      <a:pt x="6" y="14"/>
                      <a:pt x="10" y="14"/>
                      <a:pt x="8" y="11"/>
                    </a:cubicBezTo>
                    <a:cubicBezTo>
                      <a:pt x="12" y="5"/>
                      <a:pt x="21" y="9"/>
                      <a:pt x="21" y="9"/>
                    </a:cubicBezTo>
                    <a:cubicBezTo>
                      <a:pt x="23" y="12"/>
                      <a:pt x="24" y="8"/>
                      <a:pt x="27" y="8"/>
                    </a:cubicBezTo>
                    <a:cubicBezTo>
                      <a:pt x="38" y="5"/>
                      <a:pt x="37" y="13"/>
                      <a:pt x="41" y="7"/>
                    </a:cubicBezTo>
                    <a:cubicBezTo>
                      <a:pt x="50" y="0"/>
                      <a:pt x="54" y="9"/>
                      <a:pt x="54" y="9"/>
                    </a:cubicBezTo>
                    <a:cubicBezTo>
                      <a:pt x="55" y="14"/>
                      <a:pt x="62" y="12"/>
                      <a:pt x="62" y="12"/>
                    </a:cubicBezTo>
                    <a:cubicBezTo>
                      <a:pt x="71" y="11"/>
                      <a:pt x="69" y="16"/>
                      <a:pt x="69" y="16"/>
                    </a:cubicBezTo>
                    <a:cubicBezTo>
                      <a:pt x="75" y="10"/>
                      <a:pt x="77" y="14"/>
                      <a:pt x="77" y="14"/>
                    </a:cubicBezTo>
                    <a:cubicBezTo>
                      <a:pt x="87" y="14"/>
                      <a:pt x="81" y="19"/>
                      <a:pt x="81" y="19"/>
                    </a:cubicBezTo>
                    <a:cubicBezTo>
                      <a:pt x="76" y="20"/>
                      <a:pt x="84" y="25"/>
                      <a:pt x="84" y="25"/>
                    </a:cubicBezTo>
                    <a:cubicBezTo>
                      <a:pt x="88" y="27"/>
                      <a:pt x="88" y="32"/>
                      <a:pt x="88" y="32"/>
                    </a:cubicBezTo>
                    <a:cubicBezTo>
                      <a:pt x="85" y="39"/>
                      <a:pt x="92" y="37"/>
                      <a:pt x="92" y="37"/>
                    </a:cubicBezTo>
                    <a:cubicBezTo>
                      <a:pt x="96" y="33"/>
                      <a:pt x="99" y="38"/>
                      <a:pt x="99" y="38"/>
                    </a:cubicBezTo>
                    <a:cubicBezTo>
                      <a:pt x="101" y="44"/>
                      <a:pt x="106" y="37"/>
                      <a:pt x="106" y="37"/>
                    </a:cubicBezTo>
                    <a:cubicBezTo>
                      <a:pt x="108" y="31"/>
                      <a:pt x="116" y="37"/>
                      <a:pt x="116" y="37"/>
                    </a:cubicBezTo>
                    <a:cubicBezTo>
                      <a:pt x="131" y="39"/>
                      <a:pt x="129" y="29"/>
                      <a:pt x="129" y="29"/>
                    </a:cubicBezTo>
                    <a:cubicBezTo>
                      <a:pt x="129" y="18"/>
                      <a:pt x="136" y="22"/>
                      <a:pt x="136" y="22"/>
                    </a:cubicBezTo>
                    <a:cubicBezTo>
                      <a:pt x="141" y="24"/>
                      <a:pt x="140" y="12"/>
                      <a:pt x="148" y="20"/>
                    </a:cubicBezTo>
                    <a:cubicBezTo>
                      <a:pt x="148" y="20"/>
                      <a:pt x="146" y="23"/>
                      <a:pt x="148" y="26"/>
                    </a:cubicBezTo>
                    <a:cubicBezTo>
                      <a:pt x="148" y="26"/>
                      <a:pt x="151" y="27"/>
                      <a:pt x="149" y="32"/>
                    </a:cubicBezTo>
                    <a:cubicBezTo>
                      <a:pt x="149" y="32"/>
                      <a:pt x="152" y="39"/>
                      <a:pt x="149" y="41"/>
                    </a:cubicBezTo>
                    <a:cubicBezTo>
                      <a:pt x="149" y="41"/>
                      <a:pt x="143" y="40"/>
                      <a:pt x="147" y="47"/>
                    </a:cubicBezTo>
                    <a:cubicBezTo>
                      <a:pt x="147" y="47"/>
                      <a:pt x="145" y="51"/>
                      <a:pt x="151" y="52"/>
                    </a:cubicBezTo>
                    <a:cubicBezTo>
                      <a:pt x="151" y="56"/>
                      <a:pt x="155" y="57"/>
                      <a:pt x="153" y="60"/>
                    </a:cubicBezTo>
                    <a:cubicBezTo>
                      <a:pt x="153" y="60"/>
                      <a:pt x="155" y="66"/>
                      <a:pt x="150" y="63"/>
                    </a:cubicBezTo>
                    <a:cubicBezTo>
                      <a:pt x="150" y="63"/>
                      <a:pt x="147" y="64"/>
                      <a:pt x="148" y="67"/>
                    </a:cubicBezTo>
                    <a:cubicBezTo>
                      <a:pt x="148" y="67"/>
                      <a:pt x="153" y="67"/>
                      <a:pt x="153" y="69"/>
                    </a:cubicBezTo>
                    <a:cubicBezTo>
                      <a:pt x="153" y="69"/>
                      <a:pt x="154" y="73"/>
                      <a:pt x="153" y="77"/>
                    </a:cubicBezTo>
                    <a:cubicBezTo>
                      <a:pt x="153" y="77"/>
                      <a:pt x="156" y="83"/>
                      <a:pt x="147" y="83"/>
                    </a:cubicBezTo>
                    <a:cubicBezTo>
                      <a:pt x="147" y="83"/>
                      <a:pt x="142" y="86"/>
                      <a:pt x="144" y="92"/>
                    </a:cubicBezTo>
                    <a:cubicBezTo>
                      <a:pt x="143" y="93"/>
                      <a:pt x="151" y="93"/>
                      <a:pt x="151" y="96"/>
                    </a:cubicBezTo>
                    <a:cubicBezTo>
                      <a:pt x="151" y="101"/>
                      <a:pt x="143" y="96"/>
                      <a:pt x="145" y="99"/>
                    </a:cubicBezTo>
                    <a:cubicBezTo>
                      <a:pt x="145" y="99"/>
                      <a:pt x="149" y="100"/>
                      <a:pt x="147" y="102"/>
                    </a:cubicBezTo>
                    <a:cubicBezTo>
                      <a:pt x="147" y="102"/>
                      <a:pt x="144" y="105"/>
                      <a:pt x="139" y="106"/>
                    </a:cubicBezTo>
                    <a:cubicBezTo>
                      <a:pt x="139" y="106"/>
                      <a:pt x="147" y="107"/>
                      <a:pt x="140" y="109"/>
                    </a:cubicBezTo>
                    <a:cubicBezTo>
                      <a:pt x="140" y="109"/>
                      <a:pt x="134" y="112"/>
                      <a:pt x="132" y="110"/>
                    </a:cubicBezTo>
                    <a:cubicBezTo>
                      <a:pt x="132" y="110"/>
                      <a:pt x="125" y="106"/>
                      <a:pt x="123" y="111"/>
                    </a:cubicBezTo>
                    <a:cubicBezTo>
                      <a:pt x="119" y="113"/>
                      <a:pt x="116" y="107"/>
                      <a:pt x="114" y="113"/>
                    </a:cubicBezTo>
                    <a:cubicBezTo>
                      <a:pt x="114" y="113"/>
                      <a:pt x="109" y="110"/>
                      <a:pt x="104" y="117"/>
                    </a:cubicBezTo>
                    <a:cubicBezTo>
                      <a:pt x="104" y="117"/>
                      <a:pt x="96" y="117"/>
                      <a:pt x="95" y="119"/>
                    </a:cubicBezTo>
                    <a:cubicBezTo>
                      <a:pt x="93" y="109"/>
                      <a:pt x="97" y="102"/>
                      <a:pt x="97" y="102"/>
                    </a:cubicBezTo>
                    <a:cubicBezTo>
                      <a:pt x="89" y="112"/>
                      <a:pt x="91" y="116"/>
                      <a:pt x="91" y="116"/>
                    </a:cubicBezTo>
                    <a:cubicBezTo>
                      <a:pt x="94" y="129"/>
                      <a:pt x="89" y="127"/>
                      <a:pt x="89" y="127"/>
                    </a:cubicBezTo>
                    <a:cubicBezTo>
                      <a:pt x="87" y="128"/>
                      <a:pt x="81" y="125"/>
                      <a:pt x="81" y="125"/>
                    </a:cubicBezTo>
                    <a:cubicBezTo>
                      <a:pt x="76" y="126"/>
                      <a:pt x="71" y="127"/>
                      <a:pt x="71" y="127"/>
                    </a:cubicBezTo>
                    <a:lnTo>
                      <a:pt x="74" y="116"/>
                    </a:lnTo>
                    <a:cubicBezTo>
                      <a:pt x="70" y="124"/>
                      <a:pt x="65" y="128"/>
                      <a:pt x="65" y="128"/>
                    </a:cubicBezTo>
                    <a:cubicBezTo>
                      <a:pt x="60" y="129"/>
                      <a:pt x="54" y="125"/>
                      <a:pt x="54" y="125"/>
                    </a:cubicBezTo>
                  </a:path>
                </a:pathLst>
              </a:custGeom>
              <a:solidFill>
                <a:schemeClr val="accent1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24" name="Freeform 1161">
                <a:extLst>
                  <a:ext uri="{FF2B5EF4-FFF2-40B4-BE49-F238E27FC236}">
                    <a16:creationId xmlns:a16="http://schemas.microsoft.com/office/drawing/2014/main" id="{B796800F-279D-4ACE-8581-9AAABFD09F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1381" y="3048341"/>
                <a:ext cx="1186524" cy="981666"/>
              </a:xfrm>
              <a:custGeom>
                <a:avLst/>
                <a:gdLst>
                  <a:gd name="T0" fmla="*/ 1309688 w 168"/>
                  <a:gd name="T1" fmla="*/ 690562 h 139"/>
                  <a:gd name="T2" fmla="*/ 1254125 w 168"/>
                  <a:gd name="T3" fmla="*/ 769937 h 139"/>
                  <a:gd name="T4" fmla="*/ 1150938 w 168"/>
                  <a:gd name="T5" fmla="*/ 722312 h 139"/>
                  <a:gd name="T6" fmla="*/ 1079500 w 168"/>
                  <a:gd name="T7" fmla="*/ 738187 h 139"/>
                  <a:gd name="T8" fmla="*/ 1016000 w 168"/>
                  <a:gd name="T9" fmla="*/ 809625 h 139"/>
                  <a:gd name="T10" fmla="*/ 928688 w 168"/>
                  <a:gd name="T11" fmla="*/ 809625 h 139"/>
                  <a:gd name="T12" fmla="*/ 801688 w 168"/>
                  <a:gd name="T13" fmla="*/ 841375 h 139"/>
                  <a:gd name="T14" fmla="*/ 706438 w 168"/>
                  <a:gd name="T15" fmla="*/ 920750 h 139"/>
                  <a:gd name="T16" fmla="*/ 603250 w 168"/>
                  <a:gd name="T17" fmla="*/ 912812 h 139"/>
                  <a:gd name="T18" fmla="*/ 428625 w 168"/>
                  <a:gd name="T19" fmla="*/ 960437 h 139"/>
                  <a:gd name="T20" fmla="*/ 388938 w 168"/>
                  <a:gd name="T21" fmla="*/ 1023937 h 139"/>
                  <a:gd name="T22" fmla="*/ 198438 w 168"/>
                  <a:gd name="T23" fmla="*/ 1103312 h 139"/>
                  <a:gd name="T24" fmla="*/ 174625 w 168"/>
                  <a:gd name="T25" fmla="*/ 1008062 h 139"/>
                  <a:gd name="T26" fmla="*/ 111125 w 168"/>
                  <a:gd name="T27" fmla="*/ 889000 h 139"/>
                  <a:gd name="T28" fmla="*/ 71438 w 168"/>
                  <a:gd name="T29" fmla="*/ 809625 h 139"/>
                  <a:gd name="T30" fmla="*/ 55563 w 168"/>
                  <a:gd name="T31" fmla="*/ 714375 h 139"/>
                  <a:gd name="T32" fmla="*/ 103188 w 168"/>
                  <a:gd name="T33" fmla="*/ 642937 h 139"/>
                  <a:gd name="T34" fmla="*/ 230188 w 168"/>
                  <a:gd name="T35" fmla="*/ 587375 h 139"/>
                  <a:gd name="T36" fmla="*/ 333375 w 168"/>
                  <a:gd name="T37" fmla="*/ 611187 h 139"/>
                  <a:gd name="T38" fmla="*/ 388938 w 168"/>
                  <a:gd name="T39" fmla="*/ 555625 h 139"/>
                  <a:gd name="T40" fmla="*/ 571500 w 168"/>
                  <a:gd name="T41" fmla="*/ 508000 h 139"/>
                  <a:gd name="T42" fmla="*/ 635000 w 168"/>
                  <a:gd name="T43" fmla="*/ 396875 h 139"/>
                  <a:gd name="T44" fmla="*/ 706438 w 168"/>
                  <a:gd name="T45" fmla="*/ 230187 h 139"/>
                  <a:gd name="T46" fmla="*/ 849313 w 168"/>
                  <a:gd name="T47" fmla="*/ 238125 h 139"/>
                  <a:gd name="T48" fmla="*/ 920750 w 168"/>
                  <a:gd name="T49" fmla="*/ 95250 h 139"/>
                  <a:gd name="T50" fmla="*/ 1016000 w 168"/>
                  <a:gd name="T51" fmla="*/ 0 h 139"/>
                  <a:gd name="T52" fmla="*/ 1095375 w 168"/>
                  <a:gd name="T53" fmla="*/ 119062 h 139"/>
                  <a:gd name="T54" fmla="*/ 1135063 w 168"/>
                  <a:gd name="T55" fmla="*/ 214312 h 139"/>
                  <a:gd name="T56" fmla="*/ 1206500 w 168"/>
                  <a:gd name="T57" fmla="*/ 325437 h 139"/>
                  <a:gd name="T58" fmla="*/ 1262063 w 168"/>
                  <a:gd name="T59" fmla="*/ 420687 h 139"/>
                  <a:gd name="T60" fmla="*/ 1293813 w 168"/>
                  <a:gd name="T61" fmla="*/ 587375 h 139"/>
                  <a:gd name="T62" fmla="*/ 1293813 w 168"/>
                  <a:gd name="T63" fmla="*/ 587375 h 13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68"/>
                  <a:gd name="T97" fmla="*/ 0 h 139"/>
                  <a:gd name="T98" fmla="*/ 168 w 168"/>
                  <a:gd name="T99" fmla="*/ 139 h 139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68" h="139">
                    <a:moveTo>
                      <a:pt x="163" y="74"/>
                    </a:moveTo>
                    <a:cubicBezTo>
                      <a:pt x="159" y="82"/>
                      <a:pt x="163" y="81"/>
                      <a:pt x="165" y="87"/>
                    </a:cubicBezTo>
                    <a:cubicBezTo>
                      <a:pt x="165" y="87"/>
                      <a:pt x="168" y="93"/>
                      <a:pt x="165" y="96"/>
                    </a:cubicBezTo>
                    <a:cubicBezTo>
                      <a:pt x="161" y="100"/>
                      <a:pt x="161" y="95"/>
                      <a:pt x="158" y="97"/>
                    </a:cubicBezTo>
                    <a:cubicBezTo>
                      <a:pt x="158" y="97"/>
                      <a:pt x="155" y="101"/>
                      <a:pt x="151" y="99"/>
                    </a:cubicBezTo>
                    <a:cubicBezTo>
                      <a:pt x="151" y="99"/>
                      <a:pt x="150" y="94"/>
                      <a:pt x="145" y="91"/>
                    </a:cubicBezTo>
                    <a:cubicBezTo>
                      <a:pt x="145" y="91"/>
                      <a:pt x="142" y="91"/>
                      <a:pt x="141" y="88"/>
                    </a:cubicBezTo>
                    <a:cubicBezTo>
                      <a:pt x="141" y="88"/>
                      <a:pt x="138" y="92"/>
                      <a:pt x="136" y="93"/>
                    </a:cubicBezTo>
                    <a:cubicBezTo>
                      <a:pt x="136" y="93"/>
                      <a:pt x="132" y="94"/>
                      <a:pt x="132" y="98"/>
                    </a:cubicBezTo>
                    <a:cubicBezTo>
                      <a:pt x="132" y="98"/>
                      <a:pt x="133" y="105"/>
                      <a:pt x="128" y="102"/>
                    </a:cubicBezTo>
                    <a:cubicBezTo>
                      <a:pt x="128" y="102"/>
                      <a:pt x="126" y="98"/>
                      <a:pt x="122" y="103"/>
                    </a:cubicBezTo>
                    <a:cubicBezTo>
                      <a:pt x="122" y="103"/>
                      <a:pt x="119" y="109"/>
                      <a:pt x="117" y="102"/>
                    </a:cubicBezTo>
                    <a:cubicBezTo>
                      <a:pt x="117" y="102"/>
                      <a:pt x="110" y="99"/>
                      <a:pt x="106" y="101"/>
                    </a:cubicBezTo>
                    <a:cubicBezTo>
                      <a:pt x="106" y="101"/>
                      <a:pt x="99" y="99"/>
                      <a:pt x="101" y="106"/>
                    </a:cubicBezTo>
                    <a:cubicBezTo>
                      <a:pt x="101" y="106"/>
                      <a:pt x="97" y="110"/>
                      <a:pt x="98" y="114"/>
                    </a:cubicBezTo>
                    <a:cubicBezTo>
                      <a:pt x="98" y="114"/>
                      <a:pt x="90" y="119"/>
                      <a:pt x="89" y="116"/>
                    </a:cubicBezTo>
                    <a:cubicBezTo>
                      <a:pt x="89" y="116"/>
                      <a:pt x="87" y="112"/>
                      <a:pt x="82" y="115"/>
                    </a:cubicBezTo>
                    <a:cubicBezTo>
                      <a:pt x="82" y="115"/>
                      <a:pt x="77" y="119"/>
                      <a:pt x="76" y="115"/>
                    </a:cubicBezTo>
                    <a:cubicBezTo>
                      <a:pt x="76" y="115"/>
                      <a:pt x="68" y="113"/>
                      <a:pt x="59" y="115"/>
                    </a:cubicBezTo>
                    <a:cubicBezTo>
                      <a:pt x="59" y="115"/>
                      <a:pt x="55" y="113"/>
                      <a:pt x="54" y="121"/>
                    </a:cubicBezTo>
                    <a:cubicBezTo>
                      <a:pt x="54" y="121"/>
                      <a:pt x="50" y="125"/>
                      <a:pt x="52" y="127"/>
                    </a:cubicBezTo>
                    <a:cubicBezTo>
                      <a:pt x="52" y="127"/>
                      <a:pt x="54" y="131"/>
                      <a:pt x="49" y="129"/>
                    </a:cubicBezTo>
                    <a:cubicBezTo>
                      <a:pt x="49" y="129"/>
                      <a:pt x="43" y="128"/>
                      <a:pt x="37" y="135"/>
                    </a:cubicBezTo>
                    <a:cubicBezTo>
                      <a:pt x="35" y="137"/>
                      <a:pt x="32" y="131"/>
                      <a:pt x="25" y="139"/>
                    </a:cubicBezTo>
                    <a:cubicBezTo>
                      <a:pt x="19" y="137"/>
                      <a:pt x="24" y="134"/>
                      <a:pt x="24" y="134"/>
                    </a:cubicBezTo>
                    <a:cubicBezTo>
                      <a:pt x="26" y="128"/>
                      <a:pt x="22" y="127"/>
                      <a:pt x="22" y="127"/>
                    </a:cubicBezTo>
                    <a:cubicBezTo>
                      <a:pt x="20" y="127"/>
                      <a:pt x="25" y="120"/>
                      <a:pt x="19" y="121"/>
                    </a:cubicBezTo>
                    <a:cubicBezTo>
                      <a:pt x="15" y="119"/>
                      <a:pt x="19" y="116"/>
                      <a:pt x="14" y="112"/>
                    </a:cubicBezTo>
                    <a:cubicBezTo>
                      <a:pt x="9" y="111"/>
                      <a:pt x="13" y="106"/>
                      <a:pt x="10" y="107"/>
                    </a:cubicBezTo>
                    <a:cubicBezTo>
                      <a:pt x="7" y="106"/>
                      <a:pt x="9" y="102"/>
                      <a:pt x="9" y="102"/>
                    </a:cubicBezTo>
                    <a:cubicBezTo>
                      <a:pt x="4" y="101"/>
                      <a:pt x="7" y="94"/>
                      <a:pt x="7" y="94"/>
                    </a:cubicBezTo>
                    <a:cubicBezTo>
                      <a:pt x="0" y="94"/>
                      <a:pt x="5" y="89"/>
                      <a:pt x="7" y="90"/>
                    </a:cubicBezTo>
                    <a:cubicBezTo>
                      <a:pt x="11" y="84"/>
                      <a:pt x="9" y="79"/>
                      <a:pt x="9" y="79"/>
                    </a:cubicBezTo>
                    <a:cubicBezTo>
                      <a:pt x="13" y="77"/>
                      <a:pt x="10" y="82"/>
                      <a:pt x="13" y="81"/>
                    </a:cubicBezTo>
                    <a:cubicBezTo>
                      <a:pt x="17" y="82"/>
                      <a:pt x="20" y="78"/>
                      <a:pt x="20" y="78"/>
                    </a:cubicBezTo>
                    <a:cubicBezTo>
                      <a:pt x="22" y="74"/>
                      <a:pt x="29" y="74"/>
                      <a:pt x="29" y="74"/>
                    </a:cubicBezTo>
                    <a:cubicBezTo>
                      <a:pt x="31" y="68"/>
                      <a:pt x="35" y="74"/>
                      <a:pt x="35" y="74"/>
                    </a:cubicBezTo>
                    <a:cubicBezTo>
                      <a:pt x="40" y="74"/>
                      <a:pt x="42" y="77"/>
                      <a:pt x="42" y="77"/>
                    </a:cubicBezTo>
                    <a:cubicBezTo>
                      <a:pt x="45" y="79"/>
                      <a:pt x="44" y="73"/>
                      <a:pt x="44" y="73"/>
                    </a:cubicBezTo>
                    <a:cubicBezTo>
                      <a:pt x="44" y="65"/>
                      <a:pt x="49" y="70"/>
                      <a:pt x="49" y="70"/>
                    </a:cubicBezTo>
                    <a:cubicBezTo>
                      <a:pt x="58" y="67"/>
                      <a:pt x="61" y="70"/>
                      <a:pt x="61" y="70"/>
                    </a:cubicBezTo>
                    <a:cubicBezTo>
                      <a:pt x="71" y="70"/>
                      <a:pt x="72" y="64"/>
                      <a:pt x="72" y="64"/>
                    </a:cubicBezTo>
                    <a:cubicBezTo>
                      <a:pt x="72" y="60"/>
                      <a:pt x="80" y="57"/>
                      <a:pt x="80" y="57"/>
                    </a:cubicBezTo>
                    <a:cubicBezTo>
                      <a:pt x="80" y="53"/>
                      <a:pt x="80" y="50"/>
                      <a:pt x="80" y="50"/>
                    </a:cubicBezTo>
                    <a:cubicBezTo>
                      <a:pt x="83" y="45"/>
                      <a:pt x="83" y="38"/>
                      <a:pt x="83" y="38"/>
                    </a:cubicBezTo>
                    <a:cubicBezTo>
                      <a:pt x="82" y="27"/>
                      <a:pt x="89" y="29"/>
                      <a:pt x="89" y="29"/>
                    </a:cubicBezTo>
                    <a:cubicBezTo>
                      <a:pt x="92" y="24"/>
                      <a:pt x="96" y="29"/>
                      <a:pt x="96" y="29"/>
                    </a:cubicBezTo>
                    <a:cubicBezTo>
                      <a:pt x="99" y="32"/>
                      <a:pt x="107" y="30"/>
                      <a:pt x="107" y="30"/>
                    </a:cubicBezTo>
                    <a:cubicBezTo>
                      <a:pt x="113" y="31"/>
                      <a:pt x="114" y="19"/>
                      <a:pt x="114" y="19"/>
                    </a:cubicBezTo>
                    <a:cubicBezTo>
                      <a:pt x="118" y="18"/>
                      <a:pt x="116" y="12"/>
                      <a:pt x="116" y="12"/>
                    </a:cubicBezTo>
                    <a:cubicBezTo>
                      <a:pt x="116" y="9"/>
                      <a:pt x="122" y="9"/>
                      <a:pt x="121" y="7"/>
                    </a:cubicBezTo>
                    <a:cubicBezTo>
                      <a:pt x="120" y="2"/>
                      <a:pt x="128" y="0"/>
                      <a:pt x="128" y="0"/>
                    </a:cubicBezTo>
                    <a:cubicBezTo>
                      <a:pt x="128" y="6"/>
                      <a:pt x="134" y="7"/>
                      <a:pt x="134" y="7"/>
                    </a:cubicBezTo>
                    <a:cubicBezTo>
                      <a:pt x="134" y="16"/>
                      <a:pt x="138" y="15"/>
                      <a:pt x="138" y="15"/>
                    </a:cubicBezTo>
                    <a:cubicBezTo>
                      <a:pt x="142" y="15"/>
                      <a:pt x="142" y="20"/>
                      <a:pt x="142" y="20"/>
                    </a:cubicBezTo>
                    <a:cubicBezTo>
                      <a:pt x="145" y="22"/>
                      <a:pt x="143" y="27"/>
                      <a:pt x="143" y="27"/>
                    </a:cubicBezTo>
                    <a:cubicBezTo>
                      <a:pt x="138" y="28"/>
                      <a:pt x="146" y="34"/>
                      <a:pt x="146" y="34"/>
                    </a:cubicBezTo>
                    <a:cubicBezTo>
                      <a:pt x="152" y="36"/>
                      <a:pt x="152" y="41"/>
                      <a:pt x="152" y="41"/>
                    </a:cubicBezTo>
                    <a:cubicBezTo>
                      <a:pt x="160" y="42"/>
                      <a:pt x="159" y="47"/>
                      <a:pt x="159" y="47"/>
                    </a:cubicBezTo>
                    <a:cubicBezTo>
                      <a:pt x="165" y="52"/>
                      <a:pt x="159" y="53"/>
                      <a:pt x="159" y="53"/>
                    </a:cubicBezTo>
                    <a:cubicBezTo>
                      <a:pt x="155" y="57"/>
                      <a:pt x="160" y="62"/>
                      <a:pt x="160" y="62"/>
                    </a:cubicBezTo>
                    <a:cubicBezTo>
                      <a:pt x="164" y="67"/>
                      <a:pt x="163" y="74"/>
                      <a:pt x="163" y="74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25" name="Freeform 1170">
                <a:extLst>
                  <a:ext uri="{FF2B5EF4-FFF2-40B4-BE49-F238E27FC236}">
                    <a16:creationId xmlns:a16="http://schemas.microsoft.com/office/drawing/2014/main" id="{F811B820-DD94-4057-A4C0-E981838BBB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0650" y="4460812"/>
                <a:ext cx="1264215" cy="875731"/>
              </a:xfrm>
              <a:custGeom>
                <a:avLst/>
                <a:gdLst>
                  <a:gd name="T0" fmla="*/ 150812 w 179"/>
                  <a:gd name="T1" fmla="*/ 539750 h 124"/>
                  <a:gd name="T2" fmla="*/ 301625 w 179"/>
                  <a:gd name="T3" fmla="*/ 492125 h 124"/>
                  <a:gd name="T4" fmla="*/ 436562 w 179"/>
                  <a:gd name="T5" fmla="*/ 476250 h 124"/>
                  <a:gd name="T6" fmla="*/ 492125 w 179"/>
                  <a:gd name="T7" fmla="*/ 420688 h 124"/>
                  <a:gd name="T8" fmla="*/ 523875 w 179"/>
                  <a:gd name="T9" fmla="*/ 373063 h 124"/>
                  <a:gd name="T10" fmla="*/ 492125 w 179"/>
                  <a:gd name="T11" fmla="*/ 269875 h 124"/>
                  <a:gd name="T12" fmla="*/ 539750 w 179"/>
                  <a:gd name="T13" fmla="*/ 158750 h 124"/>
                  <a:gd name="T14" fmla="*/ 515937 w 179"/>
                  <a:gd name="T15" fmla="*/ 111125 h 124"/>
                  <a:gd name="T16" fmla="*/ 523875 w 179"/>
                  <a:gd name="T17" fmla="*/ 23813 h 124"/>
                  <a:gd name="T18" fmla="*/ 611187 w 179"/>
                  <a:gd name="T19" fmla="*/ 47625 h 124"/>
                  <a:gd name="T20" fmla="*/ 682625 w 179"/>
                  <a:gd name="T21" fmla="*/ 47625 h 124"/>
                  <a:gd name="T22" fmla="*/ 833437 w 179"/>
                  <a:gd name="T23" fmla="*/ 63500 h 124"/>
                  <a:gd name="T24" fmla="*/ 912812 w 179"/>
                  <a:gd name="T25" fmla="*/ 71438 h 124"/>
                  <a:gd name="T26" fmla="*/ 1023937 w 179"/>
                  <a:gd name="T27" fmla="*/ 150813 h 124"/>
                  <a:gd name="T28" fmla="*/ 1119187 w 179"/>
                  <a:gd name="T29" fmla="*/ 214313 h 124"/>
                  <a:gd name="T30" fmla="*/ 1166812 w 179"/>
                  <a:gd name="T31" fmla="*/ 357188 h 124"/>
                  <a:gd name="T32" fmla="*/ 1230312 w 179"/>
                  <a:gd name="T33" fmla="*/ 420688 h 124"/>
                  <a:gd name="T34" fmla="*/ 1214437 w 179"/>
                  <a:gd name="T35" fmla="*/ 508000 h 124"/>
                  <a:gd name="T36" fmla="*/ 1238250 w 179"/>
                  <a:gd name="T37" fmla="*/ 587375 h 124"/>
                  <a:gd name="T38" fmla="*/ 1333500 w 179"/>
                  <a:gd name="T39" fmla="*/ 666750 h 124"/>
                  <a:gd name="T40" fmla="*/ 1420812 w 179"/>
                  <a:gd name="T41" fmla="*/ 769938 h 124"/>
                  <a:gd name="T42" fmla="*/ 1301750 w 179"/>
                  <a:gd name="T43" fmla="*/ 881063 h 124"/>
                  <a:gd name="T44" fmla="*/ 1214437 w 179"/>
                  <a:gd name="T45" fmla="*/ 865188 h 124"/>
                  <a:gd name="T46" fmla="*/ 1063625 w 179"/>
                  <a:gd name="T47" fmla="*/ 833438 h 124"/>
                  <a:gd name="T48" fmla="*/ 984250 w 179"/>
                  <a:gd name="T49" fmla="*/ 849313 h 124"/>
                  <a:gd name="T50" fmla="*/ 936625 w 179"/>
                  <a:gd name="T51" fmla="*/ 833438 h 124"/>
                  <a:gd name="T52" fmla="*/ 841375 w 179"/>
                  <a:gd name="T53" fmla="*/ 849313 h 124"/>
                  <a:gd name="T54" fmla="*/ 785812 w 179"/>
                  <a:gd name="T55" fmla="*/ 849313 h 124"/>
                  <a:gd name="T56" fmla="*/ 762000 w 179"/>
                  <a:gd name="T57" fmla="*/ 920750 h 124"/>
                  <a:gd name="T58" fmla="*/ 619125 w 179"/>
                  <a:gd name="T59" fmla="*/ 849313 h 124"/>
                  <a:gd name="T60" fmla="*/ 428625 w 179"/>
                  <a:gd name="T61" fmla="*/ 912813 h 124"/>
                  <a:gd name="T62" fmla="*/ 214312 w 179"/>
                  <a:gd name="T63" fmla="*/ 873125 h 124"/>
                  <a:gd name="T64" fmla="*/ 55562 w 179"/>
                  <a:gd name="T65" fmla="*/ 817563 h 124"/>
                  <a:gd name="T66" fmla="*/ 0 w 179"/>
                  <a:gd name="T67" fmla="*/ 793750 h 124"/>
                  <a:gd name="T68" fmla="*/ 71437 w 179"/>
                  <a:gd name="T69" fmla="*/ 785813 h 124"/>
                  <a:gd name="T70" fmla="*/ 55562 w 179"/>
                  <a:gd name="T71" fmla="*/ 706438 h 124"/>
                  <a:gd name="T72" fmla="*/ 31750 w 179"/>
                  <a:gd name="T73" fmla="*/ 666750 h 124"/>
                  <a:gd name="T74" fmla="*/ 158750 w 179"/>
                  <a:gd name="T75" fmla="*/ 682625 h 124"/>
                  <a:gd name="T76" fmla="*/ 246062 w 179"/>
                  <a:gd name="T77" fmla="*/ 666750 h 124"/>
                  <a:gd name="T78" fmla="*/ 277812 w 179"/>
                  <a:gd name="T79" fmla="*/ 658813 h 124"/>
                  <a:gd name="T80" fmla="*/ 214312 w 179"/>
                  <a:gd name="T81" fmla="*/ 627063 h 124"/>
                  <a:gd name="T82" fmla="*/ 142875 w 179"/>
                  <a:gd name="T83" fmla="*/ 627063 h 124"/>
                  <a:gd name="T84" fmla="*/ 79375 w 179"/>
                  <a:gd name="T85" fmla="*/ 555625 h 12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79"/>
                  <a:gd name="T130" fmla="*/ 0 h 124"/>
                  <a:gd name="T131" fmla="*/ 179 w 179"/>
                  <a:gd name="T132" fmla="*/ 124 h 124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79" h="124">
                    <a:moveTo>
                      <a:pt x="10" y="70"/>
                    </a:moveTo>
                    <a:cubicBezTo>
                      <a:pt x="11" y="68"/>
                      <a:pt x="19" y="68"/>
                      <a:pt x="19" y="68"/>
                    </a:cubicBezTo>
                    <a:cubicBezTo>
                      <a:pt x="24" y="61"/>
                      <a:pt x="29" y="64"/>
                      <a:pt x="29" y="64"/>
                    </a:cubicBezTo>
                    <a:cubicBezTo>
                      <a:pt x="31" y="58"/>
                      <a:pt x="34" y="64"/>
                      <a:pt x="38" y="62"/>
                    </a:cubicBezTo>
                    <a:cubicBezTo>
                      <a:pt x="40" y="57"/>
                      <a:pt x="47" y="61"/>
                      <a:pt x="47" y="61"/>
                    </a:cubicBezTo>
                    <a:cubicBezTo>
                      <a:pt x="49" y="63"/>
                      <a:pt x="55" y="60"/>
                      <a:pt x="55" y="60"/>
                    </a:cubicBezTo>
                    <a:cubicBezTo>
                      <a:pt x="62" y="58"/>
                      <a:pt x="54" y="57"/>
                      <a:pt x="54" y="57"/>
                    </a:cubicBezTo>
                    <a:cubicBezTo>
                      <a:pt x="59" y="56"/>
                      <a:pt x="62" y="53"/>
                      <a:pt x="62" y="53"/>
                    </a:cubicBezTo>
                    <a:cubicBezTo>
                      <a:pt x="64" y="51"/>
                      <a:pt x="60" y="50"/>
                      <a:pt x="60" y="50"/>
                    </a:cubicBezTo>
                    <a:cubicBezTo>
                      <a:pt x="58" y="47"/>
                      <a:pt x="66" y="52"/>
                      <a:pt x="66" y="47"/>
                    </a:cubicBezTo>
                    <a:cubicBezTo>
                      <a:pt x="66" y="44"/>
                      <a:pt x="58" y="44"/>
                      <a:pt x="59" y="43"/>
                    </a:cubicBezTo>
                    <a:cubicBezTo>
                      <a:pt x="57" y="37"/>
                      <a:pt x="62" y="34"/>
                      <a:pt x="62" y="34"/>
                    </a:cubicBezTo>
                    <a:cubicBezTo>
                      <a:pt x="71" y="34"/>
                      <a:pt x="68" y="28"/>
                      <a:pt x="68" y="28"/>
                    </a:cubicBezTo>
                    <a:cubicBezTo>
                      <a:pt x="69" y="24"/>
                      <a:pt x="68" y="20"/>
                      <a:pt x="68" y="20"/>
                    </a:cubicBezTo>
                    <a:cubicBezTo>
                      <a:pt x="68" y="18"/>
                      <a:pt x="63" y="18"/>
                      <a:pt x="63" y="18"/>
                    </a:cubicBezTo>
                    <a:cubicBezTo>
                      <a:pt x="62" y="15"/>
                      <a:pt x="65" y="14"/>
                      <a:pt x="65" y="14"/>
                    </a:cubicBezTo>
                    <a:cubicBezTo>
                      <a:pt x="70" y="17"/>
                      <a:pt x="68" y="11"/>
                      <a:pt x="68" y="11"/>
                    </a:cubicBezTo>
                    <a:cubicBezTo>
                      <a:pt x="70" y="8"/>
                      <a:pt x="66" y="7"/>
                      <a:pt x="66" y="3"/>
                    </a:cubicBezTo>
                    <a:cubicBezTo>
                      <a:pt x="66" y="3"/>
                      <a:pt x="70" y="2"/>
                      <a:pt x="72" y="5"/>
                    </a:cubicBezTo>
                    <a:cubicBezTo>
                      <a:pt x="72" y="5"/>
                      <a:pt x="76" y="5"/>
                      <a:pt x="77" y="6"/>
                    </a:cubicBezTo>
                    <a:cubicBezTo>
                      <a:pt x="77" y="6"/>
                      <a:pt x="80" y="11"/>
                      <a:pt x="81" y="8"/>
                    </a:cubicBezTo>
                    <a:cubicBezTo>
                      <a:pt x="81" y="5"/>
                      <a:pt x="85" y="8"/>
                      <a:pt x="86" y="6"/>
                    </a:cubicBezTo>
                    <a:cubicBezTo>
                      <a:pt x="86" y="6"/>
                      <a:pt x="90" y="0"/>
                      <a:pt x="94" y="6"/>
                    </a:cubicBezTo>
                    <a:cubicBezTo>
                      <a:pt x="94" y="6"/>
                      <a:pt x="93" y="11"/>
                      <a:pt x="105" y="8"/>
                    </a:cubicBezTo>
                    <a:cubicBezTo>
                      <a:pt x="105" y="8"/>
                      <a:pt x="107" y="5"/>
                      <a:pt x="111" y="8"/>
                    </a:cubicBezTo>
                    <a:cubicBezTo>
                      <a:pt x="111" y="8"/>
                      <a:pt x="112" y="10"/>
                      <a:pt x="115" y="9"/>
                    </a:cubicBezTo>
                    <a:cubicBezTo>
                      <a:pt x="115" y="9"/>
                      <a:pt x="122" y="9"/>
                      <a:pt x="126" y="9"/>
                    </a:cubicBezTo>
                    <a:cubicBezTo>
                      <a:pt x="126" y="9"/>
                      <a:pt x="126" y="15"/>
                      <a:pt x="129" y="19"/>
                    </a:cubicBezTo>
                    <a:cubicBezTo>
                      <a:pt x="129" y="19"/>
                      <a:pt x="129" y="27"/>
                      <a:pt x="135" y="24"/>
                    </a:cubicBezTo>
                    <a:cubicBezTo>
                      <a:pt x="135" y="24"/>
                      <a:pt x="138" y="16"/>
                      <a:pt x="141" y="27"/>
                    </a:cubicBezTo>
                    <a:cubicBezTo>
                      <a:pt x="141" y="27"/>
                      <a:pt x="139" y="35"/>
                      <a:pt x="144" y="38"/>
                    </a:cubicBezTo>
                    <a:cubicBezTo>
                      <a:pt x="144" y="38"/>
                      <a:pt x="142" y="44"/>
                      <a:pt x="147" y="45"/>
                    </a:cubicBezTo>
                    <a:cubicBezTo>
                      <a:pt x="147" y="45"/>
                      <a:pt x="148" y="49"/>
                      <a:pt x="150" y="49"/>
                    </a:cubicBezTo>
                    <a:cubicBezTo>
                      <a:pt x="150" y="49"/>
                      <a:pt x="155" y="48"/>
                      <a:pt x="155" y="53"/>
                    </a:cubicBezTo>
                    <a:cubicBezTo>
                      <a:pt x="155" y="53"/>
                      <a:pt x="162" y="55"/>
                      <a:pt x="155" y="59"/>
                    </a:cubicBezTo>
                    <a:cubicBezTo>
                      <a:pt x="155" y="59"/>
                      <a:pt x="157" y="63"/>
                      <a:pt x="153" y="64"/>
                    </a:cubicBezTo>
                    <a:cubicBezTo>
                      <a:pt x="153" y="64"/>
                      <a:pt x="146" y="69"/>
                      <a:pt x="153" y="69"/>
                    </a:cubicBezTo>
                    <a:cubicBezTo>
                      <a:pt x="153" y="69"/>
                      <a:pt x="157" y="71"/>
                      <a:pt x="156" y="74"/>
                    </a:cubicBezTo>
                    <a:cubicBezTo>
                      <a:pt x="156" y="74"/>
                      <a:pt x="155" y="78"/>
                      <a:pt x="163" y="79"/>
                    </a:cubicBezTo>
                    <a:cubicBezTo>
                      <a:pt x="163" y="79"/>
                      <a:pt x="163" y="83"/>
                      <a:pt x="168" y="84"/>
                    </a:cubicBezTo>
                    <a:cubicBezTo>
                      <a:pt x="168" y="84"/>
                      <a:pt x="174" y="82"/>
                      <a:pt x="174" y="94"/>
                    </a:cubicBezTo>
                    <a:cubicBezTo>
                      <a:pt x="174" y="94"/>
                      <a:pt x="172" y="98"/>
                      <a:pt x="179" y="97"/>
                    </a:cubicBezTo>
                    <a:cubicBezTo>
                      <a:pt x="174" y="102"/>
                      <a:pt x="168" y="102"/>
                      <a:pt x="168" y="102"/>
                    </a:cubicBezTo>
                    <a:cubicBezTo>
                      <a:pt x="163" y="106"/>
                      <a:pt x="164" y="111"/>
                      <a:pt x="164" y="111"/>
                    </a:cubicBezTo>
                    <a:cubicBezTo>
                      <a:pt x="160" y="107"/>
                      <a:pt x="157" y="107"/>
                      <a:pt x="157" y="107"/>
                    </a:cubicBezTo>
                    <a:cubicBezTo>
                      <a:pt x="154" y="107"/>
                      <a:pt x="153" y="109"/>
                      <a:pt x="153" y="109"/>
                    </a:cubicBezTo>
                    <a:cubicBezTo>
                      <a:pt x="150" y="111"/>
                      <a:pt x="144" y="109"/>
                      <a:pt x="144" y="109"/>
                    </a:cubicBezTo>
                    <a:cubicBezTo>
                      <a:pt x="141" y="109"/>
                      <a:pt x="140" y="105"/>
                      <a:pt x="134" y="105"/>
                    </a:cubicBezTo>
                    <a:cubicBezTo>
                      <a:pt x="131" y="105"/>
                      <a:pt x="131" y="100"/>
                      <a:pt x="128" y="100"/>
                    </a:cubicBezTo>
                    <a:cubicBezTo>
                      <a:pt x="129" y="106"/>
                      <a:pt x="124" y="107"/>
                      <a:pt x="124" y="107"/>
                    </a:cubicBezTo>
                    <a:lnTo>
                      <a:pt x="118" y="105"/>
                    </a:lnTo>
                    <a:lnTo>
                      <a:pt x="106" y="107"/>
                    </a:lnTo>
                    <a:cubicBezTo>
                      <a:pt x="106" y="107"/>
                      <a:pt x="105" y="108"/>
                      <a:pt x="105" y="109"/>
                    </a:cubicBezTo>
                    <a:cubicBezTo>
                      <a:pt x="105" y="109"/>
                      <a:pt x="103" y="106"/>
                      <a:pt x="99" y="107"/>
                    </a:cubicBezTo>
                    <a:cubicBezTo>
                      <a:pt x="99" y="107"/>
                      <a:pt x="100" y="110"/>
                      <a:pt x="98" y="112"/>
                    </a:cubicBezTo>
                    <a:cubicBezTo>
                      <a:pt x="97" y="112"/>
                      <a:pt x="96" y="116"/>
                      <a:pt x="96" y="116"/>
                    </a:cubicBezTo>
                    <a:cubicBezTo>
                      <a:pt x="90" y="124"/>
                      <a:pt x="86" y="114"/>
                      <a:pt x="86" y="114"/>
                    </a:cubicBezTo>
                    <a:cubicBezTo>
                      <a:pt x="80" y="115"/>
                      <a:pt x="78" y="107"/>
                      <a:pt x="78" y="107"/>
                    </a:cubicBezTo>
                    <a:cubicBezTo>
                      <a:pt x="76" y="116"/>
                      <a:pt x="69" y="112"/>
                      <a:pt x="69" y="112"/>
                    </a:cubicBezTo>
                    <a:cubicBezTo>
                      <a:pt x="68" y="117"/>
                      <a:pt x="54" y="115"/>
                      <a:pt x="54" y="115"/>
                    </a:cubicBezTo>
                    <a:cubicBezTo>
                      <a:pt x="38" y="121"/>
                      <a:pt x="34" y="117"/>
                      <a:pt x="34" y="117"/>
                    </a:cubicBezTo>
                    <a:cubicBezTo>
                      <a:pt x="28" y="115"/>
                      <a:pt x="27" y="110"/>
                      <a:pt x="27" y="110"/>
                    </a:cubicBezTo>
                    <a:cubicBezTo>
                      <a:pt x="20" y="110"/>
                      <a:pt x="18" y="107"/>
                      <a:pt x="18" y="107"/>
                    </a:cubicBezTo>
                    <a:cubicBezTo>
                      <a:pt x="16" y="104"/>
                      <a:pt x="7" y="103"/>
                      <a:pt x="7" y="103"/>
                    </a:cubicBezTo>
                    <a:cubicBezTo>
                      <a:pt x="1" y="105"/>
                      <a:pt x="0" y="100"/>
                      <a:pt x="0" y="100"/>
                    </a:cubicBezTo>
                    <a:lnTo>
                      <a:pt x="9" y="99"/>
                    </a:lnTo>
                    <a:cubicBezTo>
                      <a:pt x="13" y="100"/>
                      <a:pt x="15" y="95"/>
                      <a:pt x="15" y="95"/>
                    </a:cubicBezTo>
                    <a:cubicBezTo>
                      <a:pt x="13" y="90"/>
                      <a:pt x="7" y="89"/>
                      <a:pt x="7" y="89"/>
                    </a:cubicBezTo>
                    <a:cubicBezTo>
                      <a:pt x="6" y="89"/>
                      <a:pt x="4" y="89"/>
                      <a:pt x="3" y="89"/>
                    </a:cubicBezTo>
                    <a:cubicBezTo>
                      <a:pt x="1" y="87"/>
                      <a:pt x="5" y="86"/>
                      <a:pt x="4" y="84"/>
                    </a:cubicBezTo>
                    <a:cubicBezTo>
                      <a:pt x="8" y="84"/>
                      <a:pt x="11" y="83"/>
                      <a:pt x="11" y="83"/>
                    </a:cubicBezTo>
                    <a:cubicBezTo>
                      <a:pt x="17" y="83"/>
                      <a:pt x="20" y="86"/>
                      <a:pt x="20" y="86"/>
                    </a:cubicBezTo>
                    <a:cubicBezTo>
                      <a:pt x="25" y="89"/>
                      <a:pt x="31" y="84"/>
                      <a:pt x="31" y="84"/>
                    </a:cubicBezTo>
                    <a:lnTo>
                      <a:pt x="35" y="83"/>
                    </a:lnTo>
                    <a:cubicBezTo>
                      <a:pt x="34" y="81"/>
                      <a:pt x="27" y="79"/>
                      <a:pt x="27" y="79"/>
                    </a:cubicBezTo>
                    <a:lnTo>
                      <a:pt x="18" y="79"/>
                    </a:lnTo>
                    <a:cubicBezTo>
                      <a:pt x="12" y="77"/>
                      <a:pt x="10" y="70"/>
                      <a:pt x="10" y="70"/>
                    </a:cubicBezTo>
                  </a:path>
                </a:pathLst>
              </a:custGeom>
              <a:solidFill>
                <a:schemeClr val="accent1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26" name="Freeform 1171">
                <a:extLst>
                  <a:ext uri="{FF2B5EF4-FFF2-40B4-BE49-F238E27FC236}">
                    <a16:creationId xmlns:a16="http://schemas.microsoft.com/office/drawing/2014/main" id="{E8259979-CC92-465E-9877-6DBE466EB4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7883" y="3570953"/>
                <a:ext cx="1504345" cy="854545"/>
              </a:xfrm>
              <a:custGeom>
                <a:avLst/>
                <a:gdLst>
                  <a:gd name="T0" fmla="*/ 1262062 w 213"/>
                  <a:gd name="T1" fmla="*/ 785812 h 121"/>
                  <a:gd name="T2" fmla="*/ 1103312 w 213"/>
                  <a:gd name="T3" fmla="*/ 904875 h 121"/>
                  <a:gd name="T4" fmla="*/ 968375 w 213"/>
                  <a:gd name="T5" fmla="*/ 912812 h 121"/>
                  <a:gd name="T6" fmla="*/ 881062 w 213"/>
                  <a:gd name="T7" fmla="*/ 865187 h 121"/>
                  <a:gd name="T8" fmla="*/ 825500 w 213"/>
                  <a:gd name="T9" fmla="*/ 762000 h 121"/>
                  <a:gd name="T10" fmla="*/ 730250 w 213"/>
                  <a:gd name="T11" fmla="*/ 738187 h 121"/>
                  <a:gd name="T12" fmla="*/ 611187 w 213"/>
                  <a:gd name="T13" fmla="*/ 682625 h 121"/>
                  <a:gd name="T14" fmla="*/ 396875 w 213"/>
                  <a:gd name="T15" fmla="*/ 674687 h 121"/>
                  <a:gd name="T16" fmla="*/ 246062 w 213"/>
                  <a:gd name="T17" fmla="*/ 690562 h 121"/>
                  <a:gd name="T18" fmla="*/ 87312 w 213"/>
                  <a:gd name="T19" fmla="*/ 642937 h 121"/>
                  <a:gd name="T20" fmla="*/ 31750 w 213"/>
                  <a:gd name="T21" fmla="*/ 563562 h 121"/>
                  <a:gd name="T22" fmla="*/ 134937 w 213"/>
                  <a:gd name="T23" fmla="*/ 523875 h 121"/>
                  <a:gd name="T24" fmla="*/ 325437 w 213"/>
                  <a:gd name="T25" fmla="*/ 436562 h 121"/>
                  <a:gd name="T26" fmla="*/ 365125 w 213"/>
                  <a:gd name="T27" fmla="*/ 373062 h 121"/>
                  <a:gd name="T28" fmla="*/ 539750 w 213"/>
                  <a:gd name="T29" fmla="*/ 325437 h 121"/>
                  <a:gd name="T30" fmla="*/ 642937 w 213"/>
                  <a:gd name="T31" fmla="*/ 333375 h 121"/>
                  <a:gd name="T32" fmla="*/ 738187 w 213"/>
                  <a:gd name="T33" fmla="*/ 254000 h 121"/>
                  <a:gd name="T34" fmla="*/ 865187 w 213"/>
                  <a:gd name="T35" fmla="*/ 222250 h 121"/>
                  <a:gd name="T36" fmla="*/ 952500 w 213"/>
                  <a:gd name="T37" fmla="*/ 222250 h 121"/>
                  <a:gd name="T38" fmla="*/ 1016000 w 213"/>
                  <a:gd name="T39" fmla="*/ 150812 h 121"/>
                  <a:gd name="T40" fmla="*/ 1087437 w 213"/>
                  <a:gd name="T41" fmla="*/ 134937 h 121"/>
                  <a:gd name="T42" fmla="*/ 1190625 w 213"/>
                  <a:gd name="T43" fmla="*/ 182562 h 121"/>
                  <a:gd name="T44" fmla="*/ 1246187 w 213"/>
                  <a:gd name="T45" fmla="*/ 103187 h 121"/>
                  <a:gd name="T46" fmla="*/ 1270000 w 213"/>
                  <a:gd name="T47" fmla="*/ 31750 h 121"/>
                  <a:gd name="T48" fmla="*/ 1404937 w 213"/>
                  <a:gd name="T49" fmla="*/ 119062 h 121"/>
                  <a:gd name="T50" fmla="*/ 1516062 w 213"/>
                  <a:gd name="T51" fmla="*/ 198437 h 121"/>
                  <a:gd name="T52" fmla="*/ 1690687 w 213"/>
                  <a:gd name="T53" fmla="*/ 230187 h 121"/>
                  <a:gd name="T54" fmla="*/ 1651000 w 213"/>
                  <a:gd name="T55" fmla="*/ 285750 h 121"/>
                  <a:gd name="T56" fmla="*/ 1587500 w 213"/>
                  <a:gd name="T57" fmla="*/ 277812 h 121"/>
                  <a:gd name="T58" fmla="*/ 1651000 w 213"/>
                  <a:gd name="T59" fmla="*/ 349250 h 121"/>
                  <a:gd name="T60" fmla="*/ 1603375 w 213"/>
                  <a:gd name="T61" fmla="*/ 396875 h 121"/>
                  <a:gd name="T62" fmla="*/ 1547812 w 213"/>
                  <a:gd name="T63" fmla="*/ 420687 h 121"/>
                  <a:gd name="T64" fmla="*/ 1539875 w 213"/>
                  <a:gd name="T65" fmla="*/ 555625 h 121"/>
                  <a:gd name="T66" fmla="*/ 1436687 w 213"/>
                  <a:gd name="T67" fmla="*/ 706437 h 121"/>
                  <a:gd name="T68" fmla="*/ 1357312 w 213"/>
                  <a:gd name="T69" fmla="*/ 769937 h 12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13"/>
                  <a:gd name="T106" fmla="*/ 0 h 121"/>
                  <a:gd name="T107" fmla="*/ 213 w 213"/>
                  <a:gd name="T108" fmla="*/ 121 h 121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13" h="121">
                    <a:moveTo>
                      <a:pt x="171" y="97"/>
                    </a:moveTo>
                    <a:cubicBezTo>
                      <a:pt x="163" y="89"/>
                      <a:pt x="164" y="101"/>
                      <a:pt x="159" y="99"/>
                    </a:cubicBezTo>
                    <a:cubicBezTo>
                      <a:pt x="159" y="99"/>
                      <a:pt x="152" y="95"/>
                      <a:pt x="152" y="106"/>
                    </a:cubicBezTo>
                    <a:cubicBezTo>
                      <a:pt x="152" y="106"/>
                      <a:pt x="154" y="116"/>
                      <a:pt x="139" y="114"/>
                    </a:cubicBezTo>
                    <a:cubicBezTo>
                      <a:pt x="139" y="114"/>
                      <a:pt x="131" y="108"/>
                      <a:pt x="129" y="114"/>
                    </a:cubicBezTo>
                    <a:cubicBezTo>
                      <a:pt x="129" y="114"/>
                      <a:pt x="124" y="121"/>
                      <a:pt x="122" y="115"/>
                    </a:cubicBezTo>
                    <a:cubicBezTo>
                      <a:pt x="122" y="115"/>
                      <a:pt x="119" y="110"/>
                      <a:pt x="115" y="114"/>
                    </a:cubicBezTo>
                    <a:cubicBezTo>
                      <a:pt x="115" y="114"/>
                      <a:pt x="108" y="116"/>
                      <a:pt x="111" y="109"/>
                    </a:cubicBezTo>
                    <a:cubicBezTo>
                      <a:pt x="111" y="109"/>
                      <a:pt x="111" y="104"/>
                      <a:pt x="107" y="102"/>
                    </a:cubicBezTo>
                    <a:cubicBezTo>
                      <a:pt x="107" y="102"/>
                      <a:pt x="99" y="97"/>
                      <a:pt x="104" y="96"/>
                    </a:cubicBezTo>
                    <a:cubicBezTo>
                      <a:pt x="104" y="96"/>
                      <a:pt x="110" y="91"/>
                      <a:pt x="100" y="91"/>
                    </a:cubicBezTo>
                    <a:cubicBezTo>
                      <a:pt x="100" y="91"/>
                      <a:pt x="98" y="87"/>
                      <a:pt x="92" y="93"/>
                    </a:cubicBezTo>
                    <a:cubicBezTo>
                      <a:pt x="92" y="93"/>
                      <a:pt x="94" y="88"/>
                      <a:pt x="85" y="89"/>
                    </a:cubicBezTo>
                    <a:cubicBezTo>
                      <a:pt x="85" y="89"/>
                      <a:pt x="78" y="91"/>
                      <a:pt x="77" y="86"/>
                    </a:cubicBezTo>
                    <a:cubicBezTo>
                      <a:pt x="77" y="86"/>
                      <a:pt x="73" y="77"/>
                      <a:pt x="64" y="84"/>
                    </a:cubicBezTo>
                    <a:cubicBezTo>
                      <a:pt x="60" y="90"/>
                      <a:pt x="61" y="82"/>
                      <a:pt x="50" y="85"/>
                    </a:cubicBezTo>
                    <a:cubicBezTo>
                      <a:pt x="47" y="85"/>
                      <a:pt x="46" y="89"/>
                      <a:pt x="44" y="86"/>
                    </a:cubicBezTo>
                    <a:cubicBezTo>
                      <a:pt x="44" y="86"/>
                      <a:pt x="35" y="82"/>
                      <a:pt x="31" y="87"/>
                    </a:cubicBezTo>
                    <a:cubicBezTo>
                      <a:pt x="31" y="87"/>
                      <a:pt x="27" y="88"/>
                      <a:pt x="23" y="87"/>
                    </a:cubicBezTo>
                    <a:cubicBezTo>
                      <a:pt x="18" y="89"/>
                      <a:pt x="16" y="81"/>
                      <a:pt x="11" y="81"/>
                    </a:cubicBezTo>
                    <a:cubicBezTo>
                      <a:pt x="11" y="81"/>
                      <a:pt x="10" y="84"/>
                      <a:pt x="5" y="83"/>
                    </a:cubicBezTo>
                    <a:cubicBezTo>
                      <a:pt x="0" y="77"/>
                      <a:pt x="4" y="71"/>
                      <a:pt x="4" y="71"/>
                    </a:cubicBezTo>
                    <a:cubicBezTo>
                      <a:pt x="7" y="64"/>
                      <a:pt x="10" y="67"/>
                      <a:pt x="10" y="67"/>
                    </a:cubicBezTo>
                    <a:cubicBezTo>
                      <a:pt x="13" y="72"/>
                      <a:pt x="17" y="66"/>
                      <a:pt x="17" y="66"/>
                    </a:cubicBezTo>
                    <a:cubicBezTo>
                      <a:pt x="24" y="58"/>
                      <a:pt x="27" y="63"/>
                      <a:pt x="29" y="61"/>
                    </a:cubicBezTo>
                    <a:cubicBezTo>
                      <a:pt x="35" y="54"/>
                      <a:pt x="41" y="55"/>
                      <a:pt x="41" y="55"/>
                    </a:cubicBezTo>
                    <a:cubicBezTo>
                      <a:pt x="46" y="57"/>
                      <a:pt x="44" y="53"/>
                      <a:pt x="44" y="53"/>
                    </a:cubicBezTo>
                    <a:cubicBezTo>
                      <a:pt x="42" y="51"/>
                      <a:pt x="46" y="47"/>
                      <a:pt x="46" y="47"/>
                    </a:cubicBezTo>
                    <a:cubicBezTo>
                      <a:pt x="47" y="39"/>
                      <a:pt x="51" y="41"/>
                      <a:pt x="51" y="41"/>
                    </a:cubicBezTo>
                    <a:cubicBezTo>
                      <a:pt x="60" y="39"/>
                      <a:pt x="68" y="41"/>
                      <a:pt x="68" y="41"/>
                    </a:cubicBezTo>
                    <a:cubicBezTo>
                      <a:pt x="69" y="45"/>
                      <a:pt x="74" y="41"/>
                      <a:pt x="74" y="41"/>
                    </a:cubicBezTo>
                    <a:cubicBezTo>
                      <a:pt x="79" y="38"/>
                      <a:pt x="81" y="42"/>
                      <a:pt x="81" y="42"/>
                    </a:cubicBezTo>
                    <a:cubicBezTo>
                      <a:pt x="82" y="45"/>
                      <a:pt x="90" y="40"/>
                      <a:pt x="90" y="40"/>
                    </a:cubicBezTo>
                    <a:cubicBezTo>
                      <a:pt x="89" y="36"/>
                      <a:pt x="93" y="32"/>
                      <a:pt x="93" y="32"/>
                    </a:cubicBezTo>
                    <a:cubicBezTo>
                      <a:pt x="91" y="25"/>
                      <a:pt x="98" y="27"/>
                      <a:pt x="98" y="27"/>
                    </a:cubicBezTo>
                    <a:cubicBezTo>
                      <a:pt x="102" y="25"/>
                      <a:pt x="109" y="28"/>
                      <a:pt x="109" y="28"/>
                    </a:cubicBezTo>
                    <a:cubicBezTo>
                      <a:pt x="111" y="35"/>
                      <a:pt x="114" y="29"/>
                      <a:pt x="114" y="29"/>
                    </a:cubicBezTo>
                    <a:cubicBezTo>
                      <a:pt x="118" y="24"/>
                      <a:pt x="120" y="28"/>
                      <a:pt x="120" y="28"/>
                    </a:cubicBezTo>
                    <a:cubicBezTo>
                      <a:pt x="125" y="31"/>
                      <a:pt x="124" y="24"/>
                      <a:pt x="124" y="24"/>
                    </a:cubicBezTo>
                    <a:cubicBezTo>
                      <a:pt x="124" y="20"/>
                      <a:pt x="128" y="19"/>
                      <a:pt x="128" y="19"/>
                    </a:cubicBezTo>
                    <a:cubicBezTo>
                      <a:pt x="130" y="18"/>
                      <a:pt x="133" y="14"/>
                      <a:pt x="133" y="14"/>
                    </a:cubicBezTo>
                    <a:cubicBezTo>
                      <a:pt x="134" y="17"/>
                      <a:pt x="137" y="17"/>
                      <a:pt x="137" y="17"/>
                    </a:cubicBezTo>
                    <a:cubicBezTo>
                      <a:pt x="142" y="20"/>
                      <a:pt x="143" y="25"/>
                      <a:pt x="143" y="25"/>
                    </a:cubicBezTo>
                    <a:cubicBezTo>
                      <a:pt x="147" y="27"/>
                      <a:pt x="150" y="23"/>
                      <a:pt x="150" y="23"/>
                    </a:cubicBezTo>
                    <a:cubicBezTo>
                      <a:pt x="153" y="21"/>
                      <a:pt x="153" y="26"/>
                      <a:pt x="157" y="22"/>
                    </a:cubicBezTo>
                    <a:cubicBezTo>
                      <a:pt x="160" y="19"/>
                      <a:pt x="157" y="13"/>
                      <a:pt x="157" y="13"/>
                    </a:cubicBezTo>
                    <a:cubicBezTo>
                      <a:pt x="155" y="7"/>
                      <a:pt x="151" y="8"/>
                      <a:pt x="155" y="0"/>
                    </a:cubicBezTo>
                    <a:cubicBezTo>
                      <a:pt x="159" y="1"/>
                      <a:pt x="160" y="4"/>
                      <a:pt x="160" y="4"/>
                    </a:cubicBezTo>
                    <a:cubicBezTo>
                      <a:pt x="170" y="5"/>
                      <a:pt x="173" y="9"/>
                      <a:pt x="173" y="9"/>
                    </a:cubicBezTo>
                    <a:cubicBezTo>
                      <a:pt x="176" y="12"/>
                      <a:pt x="177" y="15"/>
                      <a:pt x="177" y="15"/>
                    </a:cubicBezTo>
                    <a:cubicBezTo>
                      <a:pt x="184" y="15"/>
                      <a:pt x="183" y="19"/>
                      <a:pt x="183" y="19"/>
                    </a:cubicBezTo>
                    <a:cubicBezTo>
                      <a:pt x="185" y="28"/>
                      <a:pt x="188" y="23"/>
                      <a:pt x="191" y="25"/>
                    </a:cubicBezTo>
                    <a:cubicBezTo>
                      <a:pt x="194" y="27"/>
                      <a:pt x="198" y="26"/>
                      <a:pt x="198" y="26"/>
                    </a:cubicBezTo>
                    <a:cubicBezTo>
                      <a:pt x="211" y="23"/>
                      <a:pt x="213" y="29"/>
                      <a:pt x="213" y="29"/>
                    </a:cubicBezTo>
                    <a:lnTo>
                      <a:pt x="208" y="36"/>
                    </a:lnTo>
                    <a:cubicBezTo>
                      <a:pt x="208" y="36"/>
                      <a:pt x="207" y="32"/>
                      <a:pt x="200" y="35"/>
                    </a:cubicBezTo>
                    <a:cubicBezTo>
                      <a:pt x="200" y="35"/>
                      <a:pt x="188" y="35"/>
                      <a:pt x="200" y="41"/>
                    </a:cubicBezTo>
                    <a:cubicBezTo>
                      <a:pt x="200" y="41"/>
                      <a:pt x="206" y="41"/>
                      <a:pt x="208" y="44"/>
                    </a:cubicBezTo>
                    <a:cubicBezTo>
                      <a:pt x="208" y="44"/>
                      <a:pt x="207" y="47"/>
                      <a:pt x="202" y="50"/>
                    </a:cubicBezTo>
                    <a:lnTo>
                      <a:pt x="195" y="53"/>
                    </a:lnTo>
                    <a:cubicBezTo>
                      <a:pt x="195" y="53"/>
                      <a:pt x="188" y="56"/>
                      <a:pt x="192" y="61"/>
                    </a:cubicBezTo>
                    <a:cubicBezTo>
                      <a:pt x="192" y="61"/>
                      <a:pt x="194" y="63"/>
                      <a:pt x="194" y="70"/>
                    </a:cubicBezTo>
                    <a:cubicBezTo>
                      <a:pt x="194" y="70"/>
                      <a:pt x="198" y="78"/>
                      <a:pt x="188" y="83"/>
                    </a:cubicBezTo>
                    <a:cubicBezTo>
                      <a:pt x="188" y="83"/>
                      <a:pt x="182" y="83"/>
                      <a:pt x="181" y="89"/>
                    </a:cubicBezTo>
                    <a:cubicBezTo>
                      <a:pt x="181" y="89"/>
                      <a:pt x="173" y="91"/>
                      <a:pt x="171" y="97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27" name="Freeform 1172">
                <a:extLst>
                  <a:ext uri="{FF2B5EF4-FFF2-40B4-BE49-F238E27FC236}">
                    <a16:creationId xmlns:a16="http://schemas.microsoft.com/office/drawing/2014/main" id="{3DEA8032-2A0A-4CC2-9B15-00FBC8B0B1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0284" y="3578016"/>
                <a:ext cx="1447844" cy="960480"/>
              </a:xfrm>
              <a:custGeom>
                <a:avLst/>
                <a:gdLst>
                  <a:gd name="T0" fmla="*/ 1444625 w 205"/>
                  <a:gd name="T1" fmla="*/ 793750 h 136"/>
                  <a:gd name="T2" fmla="*/ 1357312 w 205"/>
                  <a:gd name="T3" fmla="*/ 793750 h 136"/>
                  <a:gd name="T4" fmla="*/ 1285875 w 205"/>
                  <a:gd name="T5" fmla="*/ 769938 h 136"/>
                  <a:gd name="T6" fmla="*/ 1262062 w 205"/>
                  <a:gd name="T7" fmla="*/ 666750 h 136"/>
                  <a:gd name="T8" fmla="*/ 1190625 w 205"/>
                  <a:gd name="T9" fmla="*/ 658813 h 136"/>
                  <a:gd name="T10" fmla="*/ 1063625 w 205"/>
                  <a:gd name="T11" fmla="*/ 650875 h 136"/>
                  <a:gd name="T12" fmla="*/ 912812 w 205"/>
                  <a:gd name="T13" fmla="*/ 650875 h 136"/>
                  <a:gd name="T14" fmla="*/ 881062 w 205"/>
                  <a:gd name="T15" fmla="*/ 650875 h 136"/>
                  <a:gd name="T16" fmla="*/ 769937 w 205"/>
                  <a:gd name="T17" fmla="*/ 698500 h 136"/>
                  <a:gd name="T18" fmla="*/ 801687 w 205"/>
                  <a:gd name="T19" fmla="*/ 754063 h 136"/>
                  <a:gd name="T20" fmla="*/ 801687 w 205"/>
                  <a:gd name="T21" fmla="*/ 833438 h 136"/>
                  <a:gd name="T22" fmla="*/ 817562 w 205"/>
                  <a:gd name="T23" fmla="*/ 968375 h 136"/>
                  <a:gd name="T24" fmla="*/ 738187 w 205"/>
                  <a:gd name="T25" fmla="*/ 1008063 h 136"/>
                  <a:gd name="T26" fmla="*/ 587375 w 205"/>
                  <a:gd name="T27" fmla="*/ 1047750 h 136"/>
                  <a:gd name="T28" fmla="*/ 452437 w 205"/>
                  <a:gd name="T29" fmla="*/ 1063625 h 136"/>
                  <a:gd name="T30" fmla="*/ 373062 w 205"/>
                  <a:gd name="T31" fmla="*/ 1055688 h 136"/>
                  <a:gd name="T32" fmla="*/ 222250 w 205"/>
                  <a:gd name="T33" fmla="*/ 1039813 h 136"/>
                  <a:gd name="T34" fmla="*/ 150812 w 205"/>
                  <a:gd name="T35" fmla="*/ 1039813 h 136"/>
                  <a:gd name="T36" fmla="*/ 63500 w 205"/>
                  <a:gd name="T37" fmla="*/ 1016000 h 136"/>
                  <a:gd name="T38" fmla="*/ 47625 w 205"/>
                  <a:gd name="T39" fmla="*/ 928688 h 136"/>
                  <a:gd name="T40" fmla="*/ 39687 w 205"/>
                  <a:gd name="T41" fmla="*/ 809625 h 136"/>
                  <a:gd name="T42" fmla="*/ 119062 w 205"/>
                  <a:gd name="T43" fmla="*/ 698500 h 136"/>
                  <a:gd name="T44" fmla="*/ 222250 w 205"/>
                  <a:gd name="T45" fmla="*/ 547688 h 136"/>
                  <a:gd name="T46" fmla="*/ 230187 w 205"/>
                  <a:gd name="T47" fmla="*/ 412750 h 136"/>
                  <a:gd name="T48" fmla="*/ 285750 w 205"/>
                  <a:gd name="T49" fmla="*/ 388938 h 136"/>
                  <a:gd name="T50" fmla="*/ 333375 w 205"/>
                  <a:gd name="T51" fmla="*/ 341313 h 136"/>
                  <a:gd name="T52" fmla="*/ 269875 w 205"/>
                  <a:gd name="T53" fmla="*/ 269875 h 136"/>
                  <a:gd name="T54" fmla="*/ 333375 w 205"/>
                  <a:gd name="T55" fmla="*/ 277813 h 136"/>
                  <a:gd name="T56" fmla="*/ 373062 w 205"/>
                  <a:gd name="T57" fmla="*/ 222250 h 136"/>
                  <a:gd name="T58" fmla="*/ 515937 w 205"/>
                  <a:gd name="T59" fmla="*/ 269875 h 136"/>
                  <a:gd name="T60" fmla="*/ 539750 w 205"/>
                  <a:gd name="T61" fmla="*/ 142875 h 136"/>
                  <a:gd name="T62" fmla="*/ 690562 w 205"/>
                  <a:gd name="T63" fmla="*/ 31750 h 136"/>
                  <a:gd name="T64" fmla="*/ 896937 w 205"/>
                  <a:gd name="T65" fmla="*/ 55563 h 136"/>
                  <a:gd name="T66" fmla="*/ 1127125 w 205"/>
                  <a:gd name="T67" fmla="*/ 127000 h 136"/>
                  <a:gd name="T68" fmla="*/ 1270000 w 205"/>
                  <a:gd name="T69" fmla="*/ 246063 h 136"/>
                  <a:gd name="T70" fmla="*/ 1341437 w 205"/>
                  <a:gd name="T71" fmla="*/ 333375 h 136"/>
                  <a:gd name="T72" fmla="*/ 1452562 w 205"/>
                  <a:gd name="T73" fmla="*/ 301625 h 136"/>
                  <a:gd name="T74" fmla="*/ 1531937 w 205"/>
                  <a:gd name="T75" fmla="*/ 325438 h 136"/>
                  <a:gd name="T76" fmla="*/ 1587500 w 205"/>
                  <a:gd name="T77" fmla="*/ 325438 h 136"/>
                  <a:gd name="T78" fmla="*/ 1579562 w 205"/>
                  <a:gd name="T79" fmla="*/ 484188 h 136"/>
                  <a:gd name="T80" fmla="*/ 1603375 w 205"/>
                  <a:gd name="T81" fmla="*/ 563563 h 136"/>
                  <a:gd name="T82" fmla="*/ 1555750 w 205"/>
                  <a:gd name="T83" fmla="*/ 650875 h 136"/>
                  <a:gd name="T84" fmla="*/ 1492250 w 205"/>
                  <a:gd name="T85" fmla="*/ 698500 h 136"/>
                  <a:gd name="T86" fmla="*/ 1492250 w 205"/>
                  <a:gd name="T87" fmla="*/ 785813 h 136"/>
                  <a:gd name="T88" fmla="*/ 1492250 w 205"/>
                  <a:gd name="T89" fmla="*/ 785813 h 1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05"/>
                  <a:gd name="T136" fmla="*/ 0 h 136"/>
                  <a:gd name="T137" fmla="*/ 205 w 205"/>
                  <a:gd name="T138" fmla="*/ 136 h 1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05" h="136">
                    <a:moveTo>
                      <a:pt x="188" y="99"/>
                    </a:moveTo>
                    <a:cubicBezTo>
                      <a:pt x="183" y="97"/>
                      <a:pt x="182" y="100"/>
                      <a:pt x="182" y="100"/>
                    </a:cubicBezTo>
                    <a:cubicBezTo>
                      <a:pt x="180" y="102"/>
                      <a:pt x="177" y="99"/>
                      <a:pt x="177" y="99"/>
                    </a:cubicBezTo>
                    <a:cubicBezTo>
                      <a:pt x="172" y="104"/>
                      <a:pt x="171" y="100"/>
                      <a:pt x="171" y="100"/>
                    </a:cubicBezTo>
                    <a:cubicBezTo>
                      <a:pt x="167" y="96"/>
                      <a:pt x="166" y="99"/>
                      <a:pt x="166" y="99"/>
                    </a:cubicBezTo>
                    <a:cubicBezTo>
                      <a:pt x="162" y="101"/>
                      <a:pt x="162" y="97"/>
                      <a:pt x="162" y="97"/>
                    </a:cubicBezTo>
                    <a:cubicBezTo>
                      <a:pt x="168" y="93"/>
                      <a:pt x="161" y="92"/>
                      <a:pt x="161" y="92"/>
                    </a:cubicBezTo>
                    <a:cubicBezTo>
                      <a:pt x="157" y="87"/>
                      <a:pt x="159" y="84"/>
                      <a:pt x="159" y="84"/>
                    </a:cubicBezTo>
                    <a:cubicBezTo>
                      <a:pt x="156" y="87"/>
                      <a:pt x="155" y="85"/>
                      <a:pt x="155" y="85"/>
                    </a:cubicBezTo>
                    <a:cubicBezTo>
                      <a:pt x="155" y="79"/>
                      <a:pt x="150" y="83"/>
                      <a:pt x="150" y="83"/>
                    </a:cubicBezTo>
                    <a:cubicBezTo>
                      <a:pt x="145" y="84"/>
                      <a:pt x="143" y="81"/>
                      <a:pt x="143" y="81"/>
                    </a:cubicBezTo>
                    <a:cubicBezTo>
                      <a:pt x="138" y="77"/>
                      <a:pt x="134" y="82"/>
                      <a:pt x="134" y="82"/>
                    </a:cubicBezTo>
                    <a:cubicBezTo>
                      <a:pt x="130" y="85"/>
                      <a:pt x="126" y="82"/>
                      <a:pt x="126" y="82"/>
                    </a:cubicBezTo>
                    <a:cubicBezTo>
                      <a:pt x="118" y="80"/>
                      <a:pt x="115" y="82"/>
                      <a:pt x="115" y="82"/>
                    </a:cubicBezTo>
                    <a:cubicBezTo>
                      <a:pt x="114" y="82"/>
                      <a:pt x="114" y="82"/>
                      <a:pt x="113" y="81"/>
                    </a:cubicBezTo>
                    <a:cubicBezTo>
                      <a:pt x="112" y="81"/>
                      <a:pt x="112" y="81"/>
                      <a:pt x="111" y="82"/>
                    </a:cubicBezTo>
                    <a:cubicBezTo>
                      <a:pt x="105" y="80"/>
                      <a:pt x="104" y="85"/>
                      <a:pt x="104" y="85"/>
                    </a:cubicBezTo>
                    <a:cubicBezTo>
                      <a:pt x="96" y="84"/>
                      <a:pt x="97" y="88"/>
                      <a:pt x="97" y="88"/>
                    </a:cubicBezTo>
                    <a:cubicBezTo>
                      <a:pt x="98" y="90"/>
                      <a:pt x="95" y="92"/>
                      <a:pt x="95" y="92"/>
                    </a:cubicBezTo>
                    <a:cubicBezTo>
                      <a:pt x="98" y="92"/>
                      <a:pt x="101" y="95"/>
                      <a:pt x="101" y="95"/>
                    </a:cubicBezTo>
                    <a:cubicBezTo>
                      <a:pt x="104" y="97"/>
                      <a:pt x="96" y="96"/>
                      <a:pt x="96" y="100"/>
                    </a:cubicBezTo>
                    <a:cubicBezTo>
                      <a:pt x="96" y="102"/>
                      <a:pt x="101" y="105"/>
                      <a:pt x="101" y="105"/>
                    </a:cubicBezTo>
                    <a:cubicBezTo>
                      <a:pt x="99" y="114"/>
                      <a:pt x="107" y="111"/>
                      <a:pt x="103" y="116"/>
                    </a:cubicBezTo>
                    <a:cubicBezTo>
                      <a:pt x="102" y="118"/>
                      <a:pt x="103" y="122"/>
                      <a:pt x="103" y="122"/>
                    </a:cubicBezTo>
                    <a:cubicBezTo>
                      <a:pt x="104" y="130"/>
                      <a:pt x="100" y="128"/>
                      <a:pt x="100" y="128"/>
                    </a:cubicBezTo>
                    <a:cubicBezTo>
                      <a:pt x="94" y="129"/>
                      <a:pt x="93" y="127"/>
                      <a:pt x="93" y="127"/>
                    </a:cubicBezTo>
                    <a:cubicBezTo>
                      <a:pt x="86" y="124"/>
                      <a:pt x="81" y="128"/>
                      <a:pt x="81" y="128"/>
                    </a:cubicBezTo>
                    <a:cubicBezTo>
                      <a:pt x="79" y="130"/>
                      <a:pt x="74" y="132"/>
                      <a:pt x="74" y="132"/>
                    </a:cubicBezTo>
                    <a:cubicBezTo>
                      <a:pt x="70" y="131"/>
                      <a:pt x="68" y="134"/>
                      <a:pt x="68" y="134"/>
                    </a:cubicBezTo>
                    <a:cubicBezTo>
                      <a:pt x="63" y="134"/>
                      <a:pt x="57" y="134"/>
                      <a:pt x="57" y="134"/>
                    </a:cubicBezTo>
                    <a:cubicBezTo>
                      <a:pt x="54" y="135"/>
                      <a:pt x="53" y="133"/>
                      <a:pt x="53" y="133"/>
                    </a:cubicBezTo>
                    <a:cubicBezTo>
                      <a:pt x="49" y="130"/>
                      <a:pt x="47" y="133"/>
                      <a:pt x="47" y="133"/>
                    </a:cubicBezTo>
                    <a:cubicBezTo>
                      <a:pt x="35" y="136"/>
                      <a:pt x="36" y="131"/>
                      <a:pt x="36" y="131"/>
                    </a:cubicBezTo>
                    <a:cubicBezTo>
                      <a:pt x="32" y="125"/>
                      <a:pt x="28" y="131"/>
                      <a:pt x="28" y="131"/>
                    </a:cubicBezTo>
                    <a:cubicBezTo>
                      <a:pt x="27" y="133"/>
                      <a:pt x="23" y="130"/>
                      <a:pt x="23" y="133"/>
                    </a:cubicBezTo>
                    <a:cubicBezTo>
                      <a:pt x="22" y="136"/>
                      <a:pt x="19" y="131"/>
                      <a:pt x="19" y="131"/>
                    </a:cubicBezTo>
                    <a:cubicBezTo>
                      <a:pt x="18" y="130"/>
                      <a:pt x="14" y="130"/>
                      <a:pt x="14" y="130"/>
                    </a:cubicBezTo>
                    <a:cubicBezTo>
                      <a:pt x="12" y="127"/>
                      <a:pt x="8" y="128"/>
                      <a:pt x="8" y="128"/>
                    </a:cubicBezTo>
                    <a:cubicBezTo>
                      <a:pt x="2" y="127"/>
                      <a:pt x="4" y="123"/>
                      <a:pt x="4" y="123"/>
                    </a:cubicBezTo>
                    <a:cubicBezTo>
                      <a:pt x="0" y="116"/>
                      <a:pt x="6" y="117"/>
                      <a:pt x="6" y="117"/>
                    </a:cubicBezTo>
                    <a:cubicBezTo>
                      <a:pt x="9" y="115"/>
                      <a:pt x="6" y="108"/>
                      <a:pt x="6" y="108"/>
                    </a:cubicBezTo>
                    <a:cubicBezTo>
                      <a:pt x="8" y="103"/>
                      <a:pt x="5" y="102"/>
                      <a:pt x="5" y="102"/>
                    </a:cubicBezTo>
                    <a:cubicBezTo>
                      <a:pt x="3" y="99"/>
                      <a:pt x="5" y="96"/>
                      <a:pt x="5" y="96"/>
                    </a:cubicBezTo>
                    <a:cubicBezTo>
                      <a:pt x="7" y="89"/>
                      <a:pt x="15" y="88"/>
                      <a:pt x="15" y="88"/>
                    </a:cubicBezTo>
                    <a:cubicBezTo>
                      <a:pt x="16" y="82"/>
                      <a:pt x="22" y="82"/>
                      <a:pt x="22" y="82"/>
                    </a:cubicBezTo>
                    <a:cubicBezTo>
                      <a:pt x="32" y="77"/>
                      <a:pt x="28" y="69"/>
                      <a:pt x="28" y="69"/>
                    </a:cubicBezTo>
                    <a:cubicBezTo>
                      <a:pt x="28" y="62"/>
                      <a:pt x="26" y="60"/>
                      <a:pt x="26" y="60"/>
                    </a:cubicBezTo>
                    <a:cubicBezTo>
                      <a:pt x="22" y="55"/>
                      <a:pt x="29" y="52"/>
                      <a:pt x="29" y="52"/>
                    </a:cubicBezTo>
                    <a:lnTo>
                      <a:pt x="36" y="49"/>
                    </a:lnTo>
                    <a:cubicBezTo>
                      <a:pt x="41" y="46"/>
                      <a:pt x="42" y="43"/>
                      <a:pt x="42" y="43"/>
                    </a:cubicBezTo>
                    <a:cubicBezTo>
                      <a:pt x="40" y="40"/>
                      <a:pt x="34" y="40"/>
                      <a:pt x="34" y="40"/>
                    </a:cubicBezTo>
                    <a:cubicBezTo>
                      <a:pt x="22" y="34"/>
                      <a:pt x="34" y="34"/>
                      <a:pt x="34" y="34"/>
                    </a:cubicBezTo>
                    <a:cubicBezTo>
                      <a:pt x="41" y="31"/>
                      <a:pt x="42" y="35"/>
                      <a:pt x="42" y="35"/>
                    </a:cubicBezTo>
                    <a:lnTo>
                      <a:pt x="47" y="28"/>
                    </a:lnTo>
                    <a:cubicBezTo>
                      <a:pt x="50" y="30"/>
                      <a:pt x="56" y="33"/>
                      <a:pt x="56" y="33"/>
                    </a:cubicBezTo>
                    <a:cubicBezTo>
                      <a:pt x="64" y="38"/>
                      <a:pt x="65" y="34"/>
                      <a:pt x="65" y="34"/>
                    </a:cubicBezTo>
                    <a:cubicBezTo>
                      <a:pt x="65" y="34"/>
                      <a:pt x="68" y="31"/>
                      <a:pt x="66" y="25"/>
                    </a:cubicBezTo>
                    <a:cubicBezTo>
                      <a:pt x="66" y="25"/>
                      <a:pt x="62" y="24"/>
                      <a:pt x="68" y="18"/>
                    </a:cubicBezTo>
                    <a:cubicBezTo>
                      <a:pt x="68" y="18"/>
                      <a:pt x="69" y="10"/>
                      <a:pt x="75" y="10"/>
                    </a:cubicBezTo>
                    <a:cubicBezTo>
                      <a:pt x="80" y="4"/>
                      <a:pt x="85" y="6"/>
                      <a:pt x="87" y="4"/>
                    </a:cubicBezTo>
                    <a:cubicBezTo>
                      <a:pt x="90" y="1"/>
                      <a:pt x="95" y="4"/>
                      <a:pt x="99" y="2"/>
                    </a:cubicBezTo>
                    <a:cubicBezTo>
                      <a:pt x="100" y="4"/>
                      <a:pt x="109" y="0"/>
                      <a:pt x="113" y="7"/>
                    </a:cubicBezTo>
                    <a:cubicBezTo>
                      <a:pt x="121" y="13"/>
                      <a:pt x="124" y="17"/>
                      <a:pt x="129" y="16"/>
                    </a:cubicBezTo>
                    <a:cubicBezTo>
                      <a:pt x="135" y="17"/>
                      <a:pt x="142" y="16"/>
                      <a:pt x="142" y="16"/>
                    </a:cubicBezTo>
                    <a:cubicBezTo>
                      <a:pt x="153" y="9"/>
                      <a:pt x="153" y="23"/>
                      <a:pt x="153" y="23"/>
                    </a:cubicBezTo>
                    <a:cubicBezTo>
                      <a:pt x="162" y="27"/>
                      <a:pt x="160" y="31"/>
                      <a:pt x="160" y="31"/>
                    </a:cubicBezTo>
                    <a:cubicBezTo>
                      <a:pt x="161" y="35"/>
                      <a:pt x="164" y="36"/>
                      <a:pt x="164" y="36"/>
                    </a:cubicBezTo>
                    <a:cubicBezTo>
                      <a:pt x="170" y="38"/>
                      <a:pt x="169" y="42"/>
                      <a:pt x="169" y="42"/>
                    </a:cubicBezTo>
                    <a:cubicBezTo>
                      <a:pt x="169" y="51"/>
                      <a:pt x="174" y="42"/>
                      <a:pt x="174" y="42"/>
                    </a:cubicBezTo>
                    <a:cubicBezTo>
                      <a:pt x="177" y="34"/>
                      <a:pt x="183" y="38"/>
                      <a:pt x="183" y="38"/>
                    </a:cubicBezTo>
                    <a:cubicBezTo>
                      <a:pt x="184" y="42"/>
                      <a:pt x="190" y="38"/>
                      <a:pt x="190" y="38"/>
                    </a:cubicBezTo>
                    <a:cubicBezTo>
                      <a:pt x="196" y="40"/>
                      <a:pt x="193" y="41"/>
                      <a:pt x="193" y="41"/>
                    </a:cubicBezTo>
                    <a:cubicBezTo>
                      <a:pt x="190" y="44"/>
                      <a:pt x="195" y="46"/>
                      <a:pt x="195" y="42"/>
                    </a:cubicBezTo>
                    <a:cubicBezTo>
                      <a:pt x="197" y="40"/>
                      <a:pt x="200" y="41"/>
                      <a:pt x="200" y="41"/>
                    </a:cubicBezTo>
                    <a:cubicBezTo>
                      <a:pt x="201" y="43"/>
                      <a:pt x="196" y="45"/>
                      <a:pt x="197" y="50"/>
                    </a:cubicBezTo>
                    <a:cubicBezTo>
                      <a:pt x="195" y="61"/>
                      <a:pt x="199" y="61"/>
                      <a:pt x="199" y="61"/>
                    </a:cubicBezTo>
                    <a:cubicBezTo>
                      <a:pt x="203" y="62"/>
                      <a:pt x="204" y="66"/>
                      <a:pt x="204" y="66"/>
                    </a:cubicBezTo>
                    <a:cubicBezTo>
                      <a:pt x="205" y="70"/>
                      <a:pt x="202" y="71"/>
                      <a:pt x="202" y="71"/>
                    </a:cubicBezTo>
                    <a:cubicBezTo>
                      <a:pt x="199" y="72"/>
                      <a:pt x="202" y="78"/>
                      <a:pt x="202" y="78"/>
                    </a:cubicBezTo>
                    <a:cubicBezTo>
                      <a:pt x="205" y="85"/>
                      <a:pt x="196" y="82"/>
                      <a:pt x="196" y="82"/>
                    </a:cubicBezTo>
                    <a:cubicBezTo>
                      <a:pt x="191" y="75"/>
                      <a:pt x="188" y="80"/>
                      <a:pt x="188" y="80"/>
                    </a:cubicBezTo>
                    <a:cubicBezTo>
                      <a:pt x="184" y="85"/>
                      <a:pt x="188" y="88"/>
                      <a:pt x="188" y="88"/>
                    </a:cubicBezTo>
                    <a:cubicBezTo>
                      <a:pt x="192" y="91"/>
                      <a:pt x="188" y="92"/>
                      <a:pt x="188" y="92"/>
                    </a:cubicBezTo>
                    <a:cubicBezTo>
                      <a:pt x="182" y="93"/>
                      <a:pt x="188" y="99"/>
                      <a:pt x="188" y="99"/>
                    </a:cubicBezTo>
                  </a:path>
                </a:pathLst>
              </a:custGeom>
              <a:solidFill>
                <a:schemeClr val="accent6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28" name="Freeform 1173">
                <a:extLst>
                  <a:ext uri="{FF2B5EF4-FFF2-40B4-BE49-F238E27FC236}">
                    <a16:creationId xmlns:a16="http://schemas.microsoft.com/office/drawing/2014/main" id="{0951C6FB-DCFA-432C-A9E6-440D2A894D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5401" y="2857656"/>
                <a:ext cx="1193588" cy="988730"/>
              </a:xfrm>
              <a:custGeom>
                <a:avLst/>
                <a:gdLst>
                  <a:gd name="T0" fmla="*/ 1095375 w 169"/>
                  <a:gd name="T1" fmla="*/ 238125 h 140"/>
                  <a:gd name="T2" fmla="*/ 1087437 w 169"/>
                  <a:gd name="T3" fmla="*/ 309563 h 140"/>
                  <a:gd name="T4" fmla="*/ 1095375 w 169"/>
                  <a:gd name="T5" fmla="*/ 381000 h 140"/>
                  <a:gd name="T6" fmla="*/ 1174750 w 169"/>
                  <a:gd name="T7" fmla="*/ 412750 h 140"/>
                  <a:gd name="T8" fmla="*/ 1222375 w 169"/>
                  <a:gd name="T9" fmla="*/ 460375 h 140"/>
                  <a:gd name="T10" fmla="*/ 1285875 w 169"/>
                  <a:gd name="T11" fmla="*/ 515938 h 140"/>
                  <a:gd name="T12" fmla="*/ 1317625 w 169"/>
                  <a:gd name="T13" fmla="*/ 539750 h 140"/>
                  <a:gd name="T14" fmla="*/ 1309687 w 169"/>
                  <a:gd name="T15" fmla="*/ 619125 h 140"/>
                  <a:gd name="T16" fmla="*/ 1285875 w 169"/>
                  <a:gd name="T17" fmla="*/ 666750 h 140"/>
                  <a:gd name="T18" fmla="*/ 1277937 w 169"/>
                  <a:gd name="T19" fmla="*/ 722313 h 140"/>
                  <a:gd name="T20" fmla="*/ 1206500 w 169"/>
                  <a:gd name="T21" fmla="*/ 738188 h 140"/>
                  <a:gd name="T22" fmla="*/ 1150937 w 169"/>
                  <a:gd name="T23" fmla="*/ 825500 h 140"/>
                  <a:gd name="T24" fmla="*/ 1055687 w 169"/>
                  <a:gd name="T25" fmla="*/ 841375 h 140"/>
                  <a:gd name="T26" fmla="*/ 952500 w 169"/>
                  <a:gd name="T27" fmla="*/ 889000 h 140"/>
                  <a:gd name="T28" fmla="*/ 904875 w 169"/>
                  <a:gd name="T29" fmla="*/ 952500 h 140"/>
                  <a:gd name="T30" fmla="*/ 889000 w 169"/>
                  <a:gd name="T31" fmla="*/ 1008063 h 140"/>
                  <a:gd name="T32" fmla="*/ 881062 w 169"/>
                  <a:gd name="T33" fmla="*/ 1079500 h 140"/>
                  <a:gd name="T34" fmla="*/ 809625 w 169"/>
                  <a:gd name="T35" fmla="*/ 1071563 h 140"/>
                  <a:gd name="T36" fmla="*/ 738187 w 169"/>
                  <a:gd name="T37" fmla="*/ 1031875 h 140"/>
                  <a:gd name="T38" fmla="*/ 619125 w 169"/>
                  <a:gd name="T39" fmla="*/ 1008063 h 140"/>
                  <a:gd name="T40" fmla="*/ 563562 w 169"/>
                  <a:gd name="T41" fmla="*/ 1000125 h 140"/>
                  <a:gd name="T42" fmla="*/ 500062 w 169"/>
                  <a:gd name="T43" fmla="*/ 952500 h 140"/>
                  <a:gd name="T44" fmla="*/ 452437 w 169"/>
                  <a:gd name="T45" fmla="*/ 920750 h 140"/>
                  <a:gd name="T46" fmla="*/ 420687 w 169"/>
                  <a:gd name="T47" fmla="*/ 873125 h 140"/>
                  <a:gd name="T48" fmla="*/ 317500 w 169"/>
                  <a:gd name="T49" fmla="*/ 833438 h 140"/>
                  <a:gd name="T50" fmla="*/ 277812 w 169"/>
                  <a:gd name="T51" fmla="*/ 801688 h 140"/>
                  <a:gd name="T52" fmla="*/ 254000 w 169"/>
                  <a:gd name="T53" fmla="*/ 706438 h 140"/>
                  <a:gd name="T54" fmla="*/ 246062 w 169"/>
                  <a:gd name="T55" fmla="*/ 635000 h 140"/>
                  <a:gd name="T56" fmla="*/ 246062 w 169"/>
                  <a:gd name="T57" fmla="*/ 587375 h 140"/>
                  <a:gd name="T58" fmla="*/ 190500 w 169"/>
                  <a:gd name="T59" fmla="*/ 539750 h 140"/>
                  <a:gd name="T60" fmla="*/ 142875 w 169"/>
                  <a:gd name="T61" fmla="*/ 484188 h 140"/>
                  <a:gd name="T62" fmla="*/ 119062 w 169"/>
                  <a:gd name="T63" fmla="*/ 428625 h 140"/>
                  <a:gd name="T64" fmla="*/ 111125 w 169"/>
                  <a:gd name="T65" fmla="*/ 373063 h 140"/>
                  <a:gd name="T66" fmla="*/ 79375 w 169"/>
                  <a:gd name="T67" fmla="*/ 333375 h 140"/>
                  <a:gd name="T68" fmla="*/ 47625 w 169"/>
                  <a:gd name="T69" fmla="*/ 269875 h 140"/>
                  <a:gd name="T70" fmla="*/ 0 w 169"/>
                  <a:gd name="T71" fmla="*/ 214313 h 140"/>
                  <a:gd name="T72" fmla="*/ 7937 w 169"/>
                  <a:gd name="T73" fmla="*/ 158750 h 140"/>
                  <a:gd name="T74" fmla="*/ 71437 w 169"/>
                  <a:gd name="T75" fmla="*/ 127000 h 140"/>
                  <a:gd name="T76" fmla="*/ 150812 w 169"/>
                  <a:gd name="T77" fmla="*/ 127000 h 140"/>
                  <a:gd name="T78" fmla="*/ 254000 w 169"/>
                  <a:gd name="T79" fmla="*/ 127000 h 140"/>
                  <a:gd name="T80" fmla="*/ 317500 w 169"/>
                  <a:gd name="T81" fmla="*/ 87313 h 140"/>
                  <a:gd name="T82" fmla="*/ 365125 w 169"/>
                  <a:gd name="T83" fmla="*/ 31750 h 140"/>
                  <a:gd name="T84" fmla="*/ 420687 w 169"/>
                  <a:gd name="T85" fmla="*/ 31750 h 140"/>
                  <a:gd name="T86" fmla="*/ 492125 w 169"/>
                  <a:gd name="T87" fmla="*/ 39688 h 140"/>
                  <a:gd name="T88" fmla="*/ 603250 w 169"/>
                  <a:gd name="T89" fmla="*/ 55563 h 140"/>
                  <a:gd name="T90" fmla="*/ 666750 w 169"/>
                  <a:gd name="T91" fmla="*/ 39688 h 140"/>
                  <a:gd name="T92" fmla="*/ 714375 w 169"/>
                  <a:gd name="T93" fmla="*/ 39688 h 140"/>
                  <a:gd name="T94" fmla="*/ 769937 w 169"/>
                  <a:gd name="T95" fmla="*/ 39688 h 140"/>
                  <a:gd name="T96" fmla="*/ 825500 w 169"/>
                  <a:gd name="T97" fmla="*/ 7938 h 140"/>
                  <a:gd name="T98" fmla="*/ 857250 w 169"/>
                  <a:gd name="T99" fmla="*/ 103188 h 140"/>
                  <a:gd name="T100" fmla="*/ 889000 w 169"/>
                  <a:gd name="T101" fmla="*/ 174625 h 140"/>
                  <a:gd name="T102" fmla="*/ 904875 w 169"/>
                  <a:gd name="T103" fmla="*/ 198438 h 140"/>
                  <a:gd name="T104" fmla="*/ 920750 w 169"/>
                  <a:gd name="T105" fmla="*/ 230188 h 140"/>
                  <a:gd name="T106" fmla="*/ 944562 w 169"/>
                  <a:gd name="T107" fmla="*/ 261938 h 140"/>
                  <a:gd name="T108" fmla="*/ 1016000 w 169"/>
                  <a:gd name="T109" fmla="*/ 238125 h 140"/>
                  <a:gd name="T110" fmla="*/ 1095375 w 169"/>
                  <a:gd name="T111" fmla="*/ 238125 h 140"/>
                  <a:gd name="T112" fmla="*/ 1095375 w 169"/>
                  <a:gd name="T113" fmla="*/ 238125 h 140"/>
                  <a:gd name="T114" fmla="*/ 1095375 w 169"/>
                  <a:gd name="T115" fmla="*/ 238125 h 14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69"/>
                  <a:gd name="T175" fmla="*/ 0 h 140"/>
                  <a:gd name="T176" fmla="*/ 169 w 169"/>
                  <a:gd name="T177" fmla="*/ 140 h 14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69" h="140">
                    <a:moveTo>
                      <a:pt x="138" y="30"/>
                    </a:moveTo>
                    <a:cubicBezTo>
                      <a:pt x="139" y="36"/>
                      <a:pt x="137" y="39"/>
                      <a:pt x="137" y="39"/>
                    </a:cubicBezTo>
                    <a:cubicBezTo>
                      <a:pt x="132" y="46"/>
                      <a:pt x="138" y="48"/>
                      <a:pt x="138" y="48"/>
                    </a:cubicBezTo>
                    <a:cubicBezTo>
                      <a:pt x="140" y="50"/>
                      <a:pt x="144" y="47"/>
                      <a:pt x="148" y="52"/>
                    </a:cubicBezTo>
                    <a:cubicBezTo>
                      <a:pt x="156" y="52"/>
                      <a:pt x="154" y="58"/>
                      <a:pt x="154" y="58"/>
                    </a:cubicBezTo>
                    <a:cubicBezTo>
                      <a:pt x="156" y="67"/>
                      <a:pt x="162" y="65"/>
                      <a:pt x="162" y="65"/>
                    </a:cubicBezTo>
                    <a:cubicBezTo>
                      <a:pt x="166" y="62"/>
                      <a:pt x="166" y="68"/>
                      <a:pt x="166" y="68"/>
                    </a:cubicBezTo>
                    <a:cubicBezTo>
                      <a:pt x="169" y="79"/>
                      <a:pt x="165" y="78"/>
                      <a:pt x="165" y="78"/>
                    </a:cubicBezTo>
                    <a:cubicBezTo>
                      <a:pt x="159" y="78"/>
                      <a:pt x="162" y="84"/>
                      <a:pt x="162" y="84"/>
                    </a:cubicBezTo>
                    <a:cubicBezTo>
                      <a:pt x="166" y="86"/>
                      <a:pt x="161" y="91"/>
                      <a:pt x="161" y="91"/>
                    </a:cubicBezTo>
                    <a:cubicBezTo>
                      <a:pt x="158" y="95"/>
                      <a:pt x="152" y="93"/>
                      <a:pt x="152" y="93"/>
                    </a:cubicBezTo>
                    <a:cubicBezTo>
                      <a:pt x="139" y="89"/>
                      <a:pt x="145" y="104"/>
                      <a:pt x="145" y="104"/>
                    </a:cubicBezTo>
                    <a:cubicBezTo>
                      <a:pt x="141" y="106"/>
                      <a:pt x="136" y="103"/>
                      <a:pt x="133" y="106"/>
                    </a:cubicBezTo>
                    <a:cubicBezTo>
                      <a:pt x="131" y="108"/>
                      <a:pt x="126" y="106"/>
                      <a:pt x="120" y="112"/>
                    </a:cubicBezTo>
                    <a:cubicBezTo>
                      <a:pt x="115" y="112"/>
                      <a:pt x="114" y="120"/>
                      <a:pt x="114" y="120"/>
                    </a:cubicBezTo>
                    <a:cubicBezTo>
                      <a:pt x="108" y="126"/>
                      <a:pt x="112" y="127"/>
                      <a:pt x="112" y="127"/>
                    </a:cubicBezTo>
                    <a:cubicBezTo>
                      <a:pt x="114" y="133"/>
                      <a:pt x="111" y="136"/>
                      <a:pt x="111" y="136"/>
                    </a:cubicBezTo>
                    <a:cubicBezTo>
                      <a:pt x="111" y="136"/>
                      <a:pt x="110" y="140"/>
                      <a:pt x="102" y="135"/>
                    </a:cubicBezTo>
                    <a:cubicBezTo>
                      <a:pt x="102" y="135"/>
                      <a:pt x="96" y="132"/>
                      <a:pt x="93" y="130"/>
                    </a:cubicBezTo>
                    <a:cubicBezTo>
                      <a:pt x="93" y="130"/>
                      <a:pt x="91" y="124"/>
                      <a:pt x="78" y="127"/>
                    </a:cubicBezTo>
                    <a:cubicBezTo>
                      <a:pt x="78" y="127"/>
                      <a:pt x="74" y="128"/>
                      <a:pt x="71" y="126"/>
                    </a:cubicBezTo>
                    <a:cubicBezTo>
                      <a:pt x="68" y="124"/>
                      <a:pt x="65" y="129"/>
                      <a:pt x="63" y="120"/>
                    </a:cubicBezTo>
                    <a:cubicBezTo>
                      <a:pt x="63" y="120"/>
                      <a:pt x="64" y="116"/>
                      <a:pt x="57" y="116"/>
                    </a:cubicBezTo>
                    <a:cubicBezTo>
                      <a:pt x="57" y="116"/>
                      <a:pt x="56" y="113"/>
                      <a:pt x="53" y="110"/>
                    </a:cubicBezTo>
                    <a:cubicBezTo>
                      <a:pt x="53" y="110"/>
                      <a:pt x="50" y="106"/>
                      <a:pt x="40" y="105"/>
                    </a:cubicBezTo>
                    <a:cubicBezTo>
                      <a:pt x="40" y="105"/>
                      <a:pt x="39" y="102"/>
                      <a:pt x="35" y="101"/>
                    </a:cubicBezTo>
                    <a:cubicBezTo>
                      <a:pt x="35" y="101"/>
                      <a:pt x="36" y="94"/>
                      <a:pt x="32" y="89"/>
                    </a:cubicBezTo>
                    <a:cubicBezTo>
                      <a:pt x="32" y="89"/>
                      <a:pt x="27" y="84"/>
                      <a:pt x="31" y="80"/>
                    </a:cubicBezTo>
                    <a:cubicBezTo>
                      <a:pt x="31" y="80"/>
                      <a:pt x="37" y="79"/>
                      <a:pt x="31" y="74"/>
                    </a:cubicBezTo>
                    <a:cubicBezTo>
                      <a:pt x="31" y="74"/>
                      <a:pt x="32" y="70"/>
                      <a:pt x="24" y="68"/>
                    </a:cubicBezTo>
                    <a:cubicBezTo>
                      <a:pt x="24" y="68"/>
                      <a:pt x="24" y="63"/>
                      <a:pt x="18" y="61"/>
                    </a:cubicBezTo>
                    <a:cubicBezTo>
                      <a:pt x="18" y="61"/>
                      <a:pt x="10" y="55"/>
                      <a:pt x="15" y="54"/>
                    </a:cubicBezTo>
                    <a:cubicBezTo>
                      <a:pt x="15" y="54"/>
                      <a:pt x="17" y="49"/>
                      <a:pt x="14" y="47"/>
                    </a:cubicBezTo>
                    <a:cubicBezTo>
                      <a:pt x="14" y="47"/>
                      <a:pt x="14" y="42"/>
                      <a:pt x="10" y="42"/>
                    </a:cubicBezTo>
                    <a:cubicBezTo>
                      <a:pt x="10" y="42"/>
                      <a:pt x="6" y="43"/>
                      <a:pt x="6" y="34"/>
                    </a:cubicBezTo>
                    <a:cubicBezTo>
                      <a:pt x="6" y="34"/>
                      <a:pt x="0" y="33"/>
                      <a:pt x="0" y="27"/>
                    </a:cubicBezTo>
                    <a:cubicBezTo>
                      <a:pt x="0" y="27"/>
                      <a:pt x="2" y="25"/>
                      <a:pt x="1" y="20"/>
                    </a:cubicBezTo>
                    <a:cubicBezTo>
                      <a:pt x="1" y="20"/>
                      <a:pt x="6" y="22"/>
                      <a:pt x="9" y="16"/>
                    </a:cubicBezTo>
                    <a:cubicBezTo>
                      <a:pt x="9" y="16"/>
                      <a:pt x="14" y="12"/>
                      <a:pt x="19" y="16"/>
                    </a:cubicBezTo>
                    <a:cubicBezTo>
                      <a:pt x="19" y="16"/>
                      <a:pt x="23" y="20"/>
                      <a:pt x="32" y="16"/>
                    </a:cubicBezTo>
                    <a:cubicBezTo>
                      <a:pt x="32" y="16"/>
                      <a:pt x="37" y="17"/>
                      <a:pt x="40" y="11"/>
                    </a:cubicBezTo>
                    <a:cubicBezTo>
                      <a:pt x="40" y="11"/>
                      <a:pt x="46" y="7"/>
                      <a:pt x="46" y="4"/>
                    </a:cubicBezTo>
                    <a:cubicBezTo>
                      <a:pt x="52" y="7"/>
                      <a:pt x="53" y="4"/>
                      <a:pt x="53" y="4"/>
                    </a:cubicBezTo>
                    <a:cubicBezTo>
                      <a:pt x="56" y="1"/>
                      <a:pt x="62" y="5"/>
                      <a:pt x="62" y="5"/>
                    </a:cubicBezTo>
                    <a:cubicBezTo>
                      <a:pt x="63" y="7"/>
                      <a:pt x="74" y="5"/>
                      <a:pt x="76" y="7"/>
                    </a:cubicBezTo>
                    <a:cubicBezTo>
                      <a:pt x="84" y="8"/>
                      <a:pt x="84" y="5"/>
                      <a:pt x="84" y="5"/>
                    </a:cubicBezTo>
                    <a:cubicBezTo>
                      <a:pt x="87" y="0"/>
                      <a:pt x="90" y="5"/>
                      <a:pt x="90" y="5"/>
                    </a:cubicBezTo>
                    <a:cubicBezTo>
                      <a:pt x="95" y="9"/>
                      <a:pt x="97" y="5"/>
                      <a:pt x="97" y="5"/>
                    </a:cubicBezTo>
                    <a:cubicBezTo>
                      <a:pt x="97" y="1"/>
                      <a:pt x="104" y="1"/>
                      <a:pt x="104" y="1"/>
                    </a:cubicBezTo>
                    <a:cubicBezTo>
                      <a:pt x="104" y="11"/>
                      <a:pt x="108" y="13"/>
                      <a:pt x="108" y="13"/>
                    </a:cubicBezTo>
                    <a:cubicBezTo>
                      <a:pt x="111" y="16"/>
                      <a:pt x="112" y="22"/>
                      <a:pt x="112" y="22"/>
                    </a:cubicBezTo>
                    <a:cubicBezTo>
                      <a:pt x="114" y="21"/>
                      <a:pt x="114" y="25"/>
                      <a:pt x="114" y="25"/>
                    </a:cubicBezTo>
                    <a:cubicBezTo>
                      <a:pt x="120" y="27"/>
                      <a:pt x="116" y="29"/>
                      <a:pt x="116" y="29"/>
                    </a:cubicBezTo>
                    <a:cubicBezTo>
                      <a:pt x="114" y="33"/>
                      <a:pt x="119" y="33"/>
                      <a:pt x="119" y="33"/>
                    </a:cubicBezTo>
                    <a:cubicBezTo>
                      <a:pt x="125" y="34"/>
                      <a:pt x="128" y="30"/>
                      <a:pt x="128" y="30"/>
                    </a:cubicBezTo>
                    <a:cubicBezTo>
                      <a:pt x="133" y="27"/>
                      <a:pt x="138" y="30"/>
                      <a:pt x="138" y="30"/>
                    </a:cubicBezTo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29" name="Freeform 1174">
                <a:extLst>
                  <a:ext uri="{FF2B5EF4-FFF2-40B4-BE49-F238E27FC236}">
                    <a16:creationId xmlns:a16="http://schemas.microsoft.com/office/drawing/2014/main" id="{39D49CB2-70C3-47A5-9876-9019A22BF8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7671" y="2836470"/>
                <a:ext cx="1151213" cy="1101726"/>
              </a:xfrm>
              <a:custGeom>
                <a:avLst/>
                <a:gdLst>
                  <a:gd name="T0" fmla="*/ 341312 w 163"/>
                  <a:gd name="T1" fmla="*/ 111125 h 156"/>
                  <a:gd name="T2" fmla="*/ 261937 w 163"/>
                  <a:gd name="T3" fmla="*/ 150813 h 156"/>
                  <a:gd name="T4" fmla="*/ 174625 w 163"/>
                  <a:gd name="T5" fmla="*/ 198438 h 156"/>
                  <a:gd name="T6" fmla="*/ 111125 w 163"/>
                  <a:gd name="T7" fmla="*/ 230188 h 156"/>
                  <a:gd name="T8" fmla="*/ 47625 w 163"/>
                  <a:gd name="T9" fmla="*/ 254000 h 156"/>
                  <a:gd name="T10" fmla="*/ 39687 w 163"/>
                  <a:gd name="T11" fmla="*/ 333375 h 156"/>
                  <a:gd name="T12" fmla="*/ 47625 w 163"/>
                  <a:gd name="T13" fmla="*/ 404813 h 156"/>
                  <a:gd name="T14" fmla="*/ 127000 w 163"/>
                  <a:gd name="T15" fmla="*/ 436563 h 156"/>
                  <a:gd name="T16" fmla="*/ 174625 w 163"/>
                  <a:gd name="T17" fmla="*/ 484188 h 156"/>
                  <a:gd name="T18" fmla="*/ 238125 w 163"/>
                  <a:gd name="T19" fmla="*/ 539750 h 156"/>
                  <a:gd name="T20" fmla="*/ 269875 w 163"/>
                  <a:gd name="T21" fmla="*/ 563563 h 156"/>
                  <a:gd name="T22" fmla="*/ 261937 w 163"/>
                  <a:gd name="T23" fmla="*/ 642938 h 156"/>
                  <a:gd name="T24" fmla="*/ 238125 w 163"/>
                  <a:gd name="T25" fmla="*/ 690563 h 156"/>
                  <a:gd name="T26" fmla="*/ 230187 w 163"/>
                  <a:gd name="T27" fmla="*/ 746125 h 156"/>
                  <a:gd name="T28" fmla="*/ 158750 w 163"/>
                  <a:gd name="T29" fmla="*/ 762000 h 156"/>
                  <a:gd name="T30" fmla="*/ 103187 w 163"/>
                  <a:gd name="T31" fmla="*/ 849313 h 156"/>
                  <a:gd name="T32" fmla="*/ 214312 w 163"/>
                  <a:gd name="T33" fmla="*/ 889000 h 156"/>
                  <a:gd name="T34" fmla="*/ 341312 w 163"/>
                  <a:gd name="T35" fmla="*/ 960438 h 156"/>
                  <a:gd name="T36" fmla="*/ 444500 w 163"/>
                  <a:gd name="T37" fmla="*/ 960438 h 156"/>
                  <a:gd name="T38" fmla="*/ 531812 w 163"/>
                  <a:gd name="T39" fmla="*/ 1016000 h 156"/>
                  <a:gd name="T40" fmla="*/ 587375 w 163"/>
                  <a:gd name="T41" fmla="*/ 1079500 h 156"/>
                  <a:gd name="T42" fmla="*/ 619125 w 163"/>
                  <a:gd name="T43" fmla="*/ 1119188 h 156"/>
                  <a:gd name="T44" fmla="*/ 658812 w 163"/>
                  <a:gd name="T45" fmla="*/ 1166813 h 156"/>
                  <a:gd name="T46" fmla="*/ 698500 w 163"/>
                  <a:gd name="T47" fmla="*/ 1166813 h 156"/>
                  <a:gd name="T48" fmla="*/ 769937 w 163"/>
                  <a:gd name="T49" fmla="*/ 1135063 h 156"/>
                  <a:gd name="T50" fmla="*/ 825500 w 163"/>
                  <a:gd name="T51" fmla="*/ 1135063 h 156"/>
                  <a:gd name="T52" fmla="*/ 809625 w 163"/>
                  <a:gd name="T53" fmla="*/ 1055688 h 156"/>
                  <a:gd name="T54" fmla="*/ 857250 w 163"/>
                  <a:gd name="T55" fmla="*/ 1039813 h 156"/>
                  <a:gd name="T56" fmla="*/ 889000 w 163"/>
                  <a:gd name="T57" fmla="*/ 1016000 h 156"/>
                  <a:gd name="T58" fmla="*/ 936625 w 163"/>
                  <a:gd name="T59" fmla="*/ 1031875 h 156"/>
                  <a:gd name="T60" fmla="*/ 952500 w 163"/>
                  <a:gd name="T61" fmla="*/ 1000125 h 156"/>
                  <a:gd name="T62" fmla="*/ 992187 w 163"/>
                  <a:gd name="T63" fmla="*/ 1000125 h 156"/>
                  <a:gd name="T64" fmla="*/ 1023937 w 163"/>
                  <a:gd name="T65" fmla="*/ 944563 h 156"/>
                  <a:gd name="T66" fmla="*/ 1039812 w 163"/>
                  <a:gd name="T67" fmla="*/ 896938 h 156"/>
                  <a:gd name="T68" fmla="*/ 1103312 w 163"/>
                  <a:gd name="T69" fmla="*/ 817563 h 156"/>
                  <a:gd name="T70" fmla="*/ 1150937 w 163"/>
                  <a:gd name="T71" fmla="*/ 769938 h 156"/>
                  <a:gd name="T72" fmla="*/ 1119187 w 163"/>
                  <a:gd name="T73" fmla="*/ 754063 h 156"/>
                  <a:gd name="T74" fmla="*/ 1174750 w 163"/>
                  <a:gd name="T75" fmla="*/ 738188 h 156"/>
                  <a:gd name="T76" fmla="*/ 1246187 w 163"/>
                  <a:gd name="T77" fmla="*/ 730250 h 156"/>
                  <a:gd name="T78" fmla="*/ 1254125 w 163"/>
                  <a:gd name="T79" fmla="*/ 666750 h 156"/>
                  <a:gd name="T80" fmla="*/ 1254125 w 163"/>
                  <a:gd name="T81" fmla="*/ 563563 h 156"/>
                  <a:gd name="T82" fmla="*/ 1270000 w 163"/>
                  <a:gd name="T83" fmla="*/ 508000 h 156"/>
                  <a:gd name="T84" fmla="*/ 1277937 w 163"/>
                  <a:gd name="T85" fmla="*/ 452438 h 156"/>
                  <a:gd name="T86" fmla="*/ 1270000 w 163"/>
                  <a:gd name="T87" fmla="*/ 404813 h 156"/>
                  <a:gd name="T88" fmla="*/ 1293812 w 163"/>
                  <a:gd name="T89" fmla="*/ 341313 h 156"/>
                  <a:gd name="T90" fmla="*/ 1285875 w 163"/>
                  <a:gd name="T91" fmla="*/ 293688 h 156"/>
                  <a:gd name="T92" fmla="*/ 1262062 w 163"/>
                  <a:gd name="T93" fmla="*/ 269875 h 156"/>
                  <a:gd name="T94" fmla="*/ 1166812 w 163"/>
                  <a:gd name="T95" fmla="*/ 214313 h 156"/>
                  <a:gd name="T96" fmla="*/ 1103312 w 163"/>
                  <a:gd name="T97" fmla="*/ 134938 h 156"/>
                  <a:gd name="T98" fmla="*/ 1071562 w 163"/>
                  <a:gd name="T99" fmla="*/ 71438 h 156"/>
                  <a:gd name="T100" fmla="*/ 1039812 w 163"/>
                  <a:gd name="T101" fmla="*/ 23813 h 156"/>
                  <a:gd name="T102" fmla="*/ 984250 w 163"/>
                  <a:gd name="T103" fmla="*/ 7938 h 156"/>
                  <a:gd name="T104" fmla="*/ 873125 w 163"/>
                  <a:gd name="T105" fmla="*/ 71438 h 156"/>
                  <a:gd name="T106" fmla="*/ 769937 w 163"/>
                  <a:gd name="T107" fmla="*/ 111125 h 156"/>
                  <a:gd name="T108" fmla="*/ 738187 w 163"/>
                  <a:gd name="T109" fmla="*/ 150813 h 156"/>
                  <a:gd name="T110" fmla="*/ 682625 w 163"/>
                  <a:gd name="T111" fmla="*/ 150813 h 156"/>
                  <a:gd name="T112" fmla="*/ 619125 w 163"/>
                  <a:gd name="T113" fmla="*/ 127000 h 156"/>
                  <a:gd name="T114" fmla="*/ 555625 w 163"/>
                  <a:gd name="T115" fmla="*/ 95250 h 156"/>
                  <a:gd name="T116" fmla="*/ 476250 w 163"/>
                  <a:gd name="T117" fmla="*/ 47625 h 156"/>
                  <a:gd name="T118" fmla="*/ 373062 w 163"/>
                  <a:gd name="T119" fmla="*/ 79375 h 156"/>
                  <a:gd name="T120" fmla="*/ 341312 w 163"/>
                  <a:gd name="T121" fmla="*/ 111125 h 156"/>
                  <a:gd name="T122" fmla="*/ 341312 w 163"/>
                  <a:gd name="T123" fmla="*/ 111125 h 156"/>
                  <a:gd name="T124" fmla="*/ 341312 w 163"/>
                  <a:gd name="T125" fmla="*/ 111125 h 15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63"/>
                  <a:gd name="T190" fmla="*/ 0 h 156"/>
                  <a:gd name="T191" fmla="*/ 163 w 163"/>
                  <a:gd name="T192" fmla="*/ 156 h 15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63" h="156">
                    <a:moveTo>
                      <a:pt x="43" y="14"/>
                    </a:moveTo>
                    <a:cubicBezTo>
                      <a:pt x="43" y="20"/>
                      <a:pt x="35" y="16"/>
                      <a:pt x="33" y="19"/>
                    </a:cubicBezTo>
                    <a:cubicBezTo>
                      <a:pt x="32" y="16"/>
                      <a:pt x="23" y="19"/>
                      <a:pt x="22" y="25"/>
                    </a:cubicBezTo>
                    <a:cubicBezTo>
                      <a:pt x="22" y="25"/>
                      <a:pt x="16" y="24"/>
                      <a:pt x="14" y="29"/>
                    </a:cubicBezTo>
                    <a:cubicBezTo>
                      <a:pt x="14" y="29"/>
                      <a:pt x="9" y="28"/>
                      <a:pt x="6" y="32"/>
                    </a:cubicBezTo>
                    <a:cubicBezTo>
                      <a:pt x="7" y="38"/>
                      <a:pt x="5" y="42"/>
                      <a:pt x="5" y="42"/>
                    </a:cubicBezTo>
                    <a:cubicBezTo>
                      <a:pt x="0" y="49"/>
                      <a:pt x="6" y="51"/>
                      <a:pt x="6" y="51"/>
                    </a:cubicBezTo>
                    <a:cubicBezTo>
                      <a:pt x="8" y="53"/>
                      <a:pt x="12" y="50"/>
                      <a:pt x="16" y="55"/>
                    </a:cubicBezTo>
                    <a:cubicBezTo>
                      <a:pt x="24" y="55"/>
                      <a:pt x="22" y="61"/>
                      <a:pt x="22" y="61"/>
                    </a:cubicBezTo>
                    <a:cubicBezTo>
                      <a:pt x="24" y="70"/>
                      <a:pt x="30" y="68"/>
                      <a:pt x="30" y="68"/>
                    </a:cubicBezTo>
                    <a:cubicBezTo>
                      <a:pt x="34" y="65"/>
                      <a:pt x="34" y="71"/>
                      <a:pt x="34" y="71"/>
                    </a:cubicBezTo>
                    <a:cubicBezTo>
                      <a:pt x="37" y="82"/>
                      <a:pt x="33" y="81"/>
                      <a:pt x="33" y="81"/>
                    </a:cubicBezTo>
                    <a:cubicBezTo>
                      <a:pt x="27" y="81"/>
                      <a:pt x="30" y="87"/>
                      <a:pt x="30" y="87"/>
                    </a:cubicBezTo>
                    <a:cubicBezTo>
                      <a:pt x="34" y="89"/>
                      <a:pt x="29" y="94"/>
                      <a:pt x="29" y="94"/>
                    </a:cubicBezTo>
                    <a:cubicBezTo>
                      <a:pt x="26" y="98"/>
                      <a:pt x="20" y="96"/>
                      <a:pt x="20" y="96"/>
                    </a:cubicBezTo>
                    <a:cubicBezTo>
                      <a:pt x="7" y="92"/>
                      <a:pt x="13" y="107"/>
                      <a:pt x="13" y="107"/>
                    </a:cubicBezTo>
                    <a:cubicBezTo>
                      <a:pt x="14" y="109"/>
                      <a:pt x="23" y="105"/>
                      <a:pt x="27" y="112"/>
                    </a:cubicBezTo>
                    <a:cubicBezTo>
                      <a:pt x="35" y="118"/>
                      <a:pt x="38" y="122"/>
                      <a:pt x="43" y="121"/>
                    </a:cubicBezTo>
                    <a:cubicBezTo>
                      <a:pt x="49" y="122"/>
                      <a:pt x="56" y="121"/>
                      <a:pt x="56" y="121"/>
                    </a:cubicBezTo>
                    <a:cubicBezTo>
                      <a:pt x="67" y="114"/>
                      <a:pt x="67" y="128"/>
                      <a:pt x="67" y="128"/>
                    </a:cubicBezTo>
                    <a:cubicBezTo>
                      <a:pt x="76" y="132"/>
                      <a:pt x="74" y="136"/>
                      <a:pt x="74" y="136"/>
                    </a:cubicBezTo>
                    <a:cubicBezTo>
                      <a:pt x="75" y="140"/>
                      <a:pt x="78" y="141"/>
                      <a:pt x="78" y="141"/>
                    </a:cubicBezTo>
                    <a:cubicBezTo>
                      <a:pt x="84" y="143"/>
                      <a:pt x="83" y="147"/>
                      <a:pt x="83" y="147"/>
                    </a:cubicBezTo>
                    <a:cubicBezTo>
                      <a:pt x="83" y="156"/>
                      <a:pt x="88" y="147"/>
                      <a:pt x="88" y="147"/>
                    </a:cubicBezTo>
                    <a:cubicBezTo>
                      <a:pt x="91" y="139"/>
                      <a:pt x="97" y="143"/>
                      <a:pt x="97" y="143"/>
                    </a:cubicBezTo>
                    <a:cubicBezTo>
                      <a:pt x="98" y="147"/>
                      <a:pt x="104" y="143"/>
                      <a:pt x="104" y="143"/>
                    </a:cubicBezTo>
                    <a:cubicBezTo>
                      <a:pt x="105" y="135"/>
                      <a:pt x="102" y="137"/>
                      <a:pt x="102" y="133"/>
                    </a:cubicBezTo>
                    <a:cubicBezTo>
                      <a:pt x="102" y="133"/>
                      <a:pt x="101" y="128"/>
                      <a:pt x="108" y="131"/>
                    </a:cubicBezTo>
                    <a:cubicBezTo>
                      <a:pt x="110" y="132"/>
                      <a:pt x="110" y="128"/>
                      <a:pt x="112" y="128"/>
                    </a:cubicBezTo>
                    <a:cubicBezTo>
                      <a:pt x="112" y="128"/>
                      <a:pt x="114" y="130"/>
                      <a:pt x="118" y="130"/>
                    </a:cubicBezTo>
                    <a:cubicBezTo>
                      <a:pt x="118" y="130"/>
                      <a:pt x="116" y="128"/>
                      <a:pt x="120" y="126"/>
                    </a:cubicBezTo>
                    <a:cubicBezTo>
                      <a:pt x="120" y="126"/>
                      <a:pt x="123" y="123"/>
                      <a:pt x="125" y="126"/>
                    </a:cubicBezTo>
                    <a:cubicBezTo>
                      <a:pt x="125" y="126"/>
                      <a:pt x="123" y="122"/>
                      <a:pt x="129" y="119"/>
                    </a:cubicBezTo>
                    <a:cubicBezTo>
                      <a:pt x="129" y="119"/>
                      <a:pt x="134" y="117"/>
                      <a:pt x="131" y="113"/>
                    </a:cubicBezTo>
                    <a:cubicBezTo>
                      <a:pt x="131" y="113"/>
                      <a:pt x="131" y="109"/>
                      <a:pt x="139" y="103"/>
                    </a:cubicBezTo>
                    <a:cubicBezTo>
                      <a:pt x="139" y="103"/>
                      <a:pt x="145" y="101"/>
                      <a:pt x="145" y="97"/>
                    </a:cubicBezTo>
                    <a:cubicBezTo>
                      <a:pt x="145" y="94"/>
                      <a:pt x="140" y="98"/>
                      <a:pt x="141" y="95"/>
                    </a:cubicBezTo>
                    <a:cubicBezTo>
                      <a:pt x="141" y="95"/>
                      <a:pt x="143" y="89"/>
                      <a:pt x="148" y="93"/>
                    </a:cubicBezTo>
                    <a:cubicBezTo>
                      <a:pt x="148" y="93"/>
                      <a:pt x="154" y="94"/>
                      <a:pt x="157" y="92"/>
                    </a:cubicBezTo>
                    <a:cubicBezTo>
                      <a:pt x="157" y="92"/>
                      <a:pt x="162" y="85"/>
                      <a:pt x="158" y="84"/>
                    </a:cubicBezTo>
                    <a:cubicBezTo>
                      <a:pt x="158" y="84"/>
                      <a:pt x="156" y="81"/>
                      <a:pt x="158" y="71"/>
                    </a:cubicBezTo>
                    <a:cubicBezTo>
                      <a:pt x="158" y="71"/>
                      <a:pt x="162" y="69"/>
                      <a:pt x="160" y="64"/>
                    </a:cubicBezTo>
                    <a:cubicBezTo>
                      <a:pt x="157" y="60"/>
                      <a:pt x="163" y="59"/>
                      <a:pt x="161" y="57"/>
                    </a:cubicBezTo>
                    <a:cubicBezTo>
                      <a:pt x="161" y="57"/>
                      <a:pt x="158" y="54"/>
                      <a:pt x="160" y="51"/>
                    </a:cubicBezTo>
                    <a:cubicBezTo>
                      <a:pt x="162" y="50"/>
                      <a:pt x="159" y="46"/>
                      <a:pt x="163" y="43"/>
                    </a:cubicBezTo>
                    <a:cubicBezTo>
                      <a:pt x="163" y="43"/>
                      <a:pt x="159" y="40"/>
                      <a:pt x="162" y="37"/>
                    </a:cubicBezTo>
                    <a:cubicBezTo>
                      <a:pt x="160" y="36"/>
                      <a:pt x="159" y="34"/>
                      <a:pt x="159" y="34"/>
                    </a:cubicBezTo>
                    <a:cubicBezTo>
                      <a:pt x="154" y="26"/>
                      <a:pt x="147" y="27"/>
                      <a:pt x="147" y="27"/>
                    </a:cubicBezTo>
                    <a:cubicBezTo>
                      <a:pt x="143" y="19"/>
                      <a:pt x="139" y="17"/>
                      <a:pt x="139" y="17"/>
                    </a:cubicBezTo>
                    <a:cubicBezTo>
                      <a:pt x="140" y="7"/>
                      <a:pt x="135" y="9"/>
                      <a:pt x="135" y="9"/>
                    </a:cubicBezTo>
                    <a:cubicBezTo>
                      <a:pt x="130" y="7"/>
                      <a:pt x="131" y="3"/>
                      <a:pt x="131" y="3"/>
                    </a:cubicBezTo>
                    <a:cubicBezTo>
                      <a:pt x="130" y="0"/>
                      <a:pt x="124" y="1"/>
                      <a:pt x="124" y="1"/>
                    </a:cubicBezTo>
                    <a:cubicBezTo>
                      <a:pt x="115" y="11"/>
                      <a:pt x="110" y="9"/>
                      <a:pt x="110" y="9"/>
                    </a:cubicBezTo>
                    <a:cubicBezTo>
                      <a:pt x="102" y="8"/>
                      <a:pt x="97" y="14"/>
                      <a:pt x="97" y="14"/>
                    </a:cubicBezTo>
                    <a:cubicBezTo>
                      <a:pt x="92" y="16"/>
                      <a:pt x="93" y="19"/>
                      <a:pt x="93" y="19"/>
                    </a:cubicBezTo>
                    <a:cubicBezTo>
                      <a:pt x="88" y="24"/>
                      <a:pt x="86" y="19"/>
                      <a:pt x="86" y="19"/>
                    </a:cubicBezTo>
                    <a:cubicBezTo>
                      <a:pt x="81" y="10"/>
                      <a:pt x="78" y="16"/>
                      <a:pt x="78" y="16"/>
                    </a:cubicBezTo>
                    <a:cubicBezTo>
                      <a:pt x="73" y="19"/>
                      <a:pt x="70" y="12"/>
                      <a:pt x="70" y="12"/>
                    </a:cubicBezTo>
                    <a:cubicBezTo>
                      <a:pt x="67" y="4"/>
                      <a:pt x="60" y="6"/>
                      <a:pt x="60" y="6"/>
                    </a:cubicBezTo>
                    <a:cubicBezTo>
                      <a:pt x="50" y="5"/>
                      <a:pt x="47" y="10"/>
                      <a:pt x="47" y="10"/>
                    </a:cubicBezTo>
                    <a:cubicBezTo>
                      <a:pt x="46" y="13"/>
                      <a:pt x="45" y="14"/>
                      <a:pt x="43" y="14"/>
                    </a:cubicBezTo>
                  </a:path>
                </a:pathLst>
              </a:custGeom>
              <a:solidFill>
                <a:schemeClr val="accent5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30" name="Freeform 1175">
                <a:extLst>
                  <a:ext uri="{FF2B5EF4-FFF2-40B4-BE49-F238E27FC236}">
                    <a16:creationId xmlns:a16="http://schemas.microsoft.com/office/drawing/2014/main" id="{69366F4A-A428-4F92-8BFC-B72AB3EBE4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3782" y="1847740"/>
                <a:ext cx="967583" cy="1250035"/>
              </a:xfrm>
              <a:custGeom>
                <a:avLst/>
                <a:gdLst>
                  <a:gd name="T0" fmla="*/ 150812 w 137"/>
                  <a:gd name="T1" fmla="*/ 103187 h 177"/>
                  <a:gd name="T2" fmla="*/ 190500 w 137"/>
                  <a:gd name="T3" fmla="*/ 230187 h 177"/>
                  <a:gd name="T4" fmla="*/ 150812 w 137"/>
                  <a:gd name="T5" fmla="*/ 293687 h 177"/>
                  <a:gd name="T6" fmla="*/ 63500 w 137"/>
                  <a:gd name="T7" fmla="*/ 373062 h 177"/>
                  <a:gd name="T8" fmla="*/ 79375 w 137"/>
                  <a:gd name="T9" fmla="*/ 531812 h 177"/>
                  <a:gd name="T10" fmla="*/ 39687 w 137"/>
                  <a:gd name="T11" fmla="*/ 658812 h 177"/>
                  <a:gd name="T12" fmla="*/ 15875 w 137"/>
                  <a:gd name="T13" fmla="*/ 801687 h 177"/>
                  <a:gd name="T14" fmla="*/ 71437 w 137"/>
                  <a:gd name="T15" fmla="*/ 865187 h 177"/>
                  <a:gd name="T16" fmla="*/ 111125 w 137"/>
                  <a:gd name="T17" fmla="*/ 912812 h 177"/>
                  <a:gd name="T18" fmla="*/ 87312 w 137"/>
                  <a:gd name="T19" fmla="*/ 1063625 h 177"/>
                  <a:gd name="T20" fmla="*/ 119062 w 137"/>
                  <a:gd name="T21" fmla="*/ 1166812 h 177"/>
                  <a:gd name="T22" fmla="*/ 301625 w 137"/>
                  <a:gd name="T23" fmla="*/ 1190625 h 177"/>
                  <a:gd name="T24" fmla="*/ 412750 w 137"/>
                  <a:gd name="T25" fmla="*/ 1174750 h 177"/>
                  <a:gd name="T26" fmla="*/ 523875 w 137"/>
                  <a:gd name="T27" fmla="*/ 1143000 h 177"/>
                  <a:gd name="T28" fmla="*/ 587375 w 137"/>
                  <a:gd name="T29" fmla="*/ 1309687 h 177"/>
                  <a:gd name="T30" fmla="*/ 619125 w 137"/>
                  <a:gd name="T31" fmla="*/ 1365250 h 177"/>
                  <a:gd name="T32" fmla="*/ 714375 w 137"/>
                  <a:gd name="T33" fmla="*/ 1373187 h 177"/>
                  <a:gd name="T34" fmla="*/ 857250 w 137"/>
                  <a:gd name="T35" fmla="*/ 1341437 h 177"/>
                  <a:gd name="T36" fmla="*/ 1008062 w 137"/>
                  <a:gd name="T37" fmla="*/ 1262062 h 177"/>
                  <a:gd name="T38" fmla="*/ 1055687 w 137"/>
                  <a:gd name="T39" fmla="*/ 1206500 h 177"/>
                  <a:gd name="T40" fmla="*/ 984250 w 137"/>
                  <a:gd name="T41" fmla="*/ 1079500 h 177"/>
                  <a:gd name="T42" fmla="*/ 968375 w 137"/>
                  <a:gd name="T43" fmla="*/ 944562 h 177"/>
                  <a:gd name="T44" fmla="*/ 928687 w 137"/>
                  <a:gd name="T45" fmla="*/ 825500 h 177"/>
                  <a:gd name="T46" fmla="*/ 857250 w 137"/>
                  <a:gd name="T47" fmla="*/ 762000 h 177"/>
                  <a:gd name="T48" fmla="*/ 666750 w 137"/>
                  <a:gd name="T49" fmla="*/ 730250 h 177"/>
                  <a:gd name="T50" fmla="*/ 555625 w 137"/>
                  <a:gd name="T51" fmla="*/ 706437 h 177"/>
                  <a:gd name="T52" fmla="*/ 508000 w 137"/>
                  <a:gd name="T53" fmla="*/ 627062 h 177"/>
                  <a:gd name="T54" fmla="*/ 468312 w 137"/>
                  <a:gd name="T55" fmla="*/ 484187 h 177"/>
                  <a:gd name="T56" fmla="*/ 563562 w 137"/>
                  <a:gd name="T57" fmla="*/ 381000 h 177"/>
                  <a:gd name="T58" fmla="*/ 428625 w 137"/>
                  <a:gd name="T59" fmla="*/ 222250 h 177"/>
                  <a:gd name="T60" fmla="*/ 341312 w 137"/>
                  <a:gd name="T61" fmla="*/ 63500 h 177"/>
                  <a:gd name="T62" fmla="*/ 222250 w 137"/>
                  <a:gd name="T63" fmla="*/ 87312 h 177"/>
                  <a:gd name="T64" fmla="*/ 182562 w 137"/>
                  <a:gd name="T65" fmla="*/ 39687 h 17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37"/>
                  <a:gd name="T100" fmla="*/ 0 h 177"/>
                  <a:gd name="T101" fmla="*/ 137 w 137"/>
                  <a:gd name="T102" fmla="*/ 177 h 17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37" h="177">
                    <a:moveTo>
                      <a:pt x="23" y="5"/>
                    </a:moveTo>
                    <a:cubicBezTo>
                      <a:pt x="21" y="8"/>
                      <a:pt x="19" y="13"/>
                      <a:pt x="19" y="13"/>
                    </a:cubicBezTo>
                    <a:cubicBezTo>
                      <a:pt x="15" y="23"/>
                      <a:pt x="19" y="24"/>
                      <a:pt x="19" y="24"/>
                    </a:cubicBezTo>
                    <a:cubicBezTo>
                      <a:pt x="24" y="25"/>
                      <a:pt x="24" y="29"/>
                      <a:pt x="24" y="29"/>
                    </a:cubicBezTo>
                    <a:cubicBezTo>
                      <a:pt x="24" y="31"/>
                      <a:pt x="19" y="28"/>
                      <a:pt x="20" y="33"/>
                    </a:cubicBezTo>
                    <a:cubicBezTo>
                      <a:pt x="18" y="35"/>
                      <a:pt x="19" y="37"/>
                      <a:pt x="19" y="37"/>
                    </a:cubicBezTo>
                    <a:cubicBezTo>
                      <a:pt x="20" y="41"/>
                      <a:pt x="14" y="40"/>
                      <a:pt x="14" y="40"/>
                    </a:cubicBezTo>
                    <a:cubicBezTo>
                      <a:pt x="9" y="41"/>
                      <a:pt x="8" y="47"/>
                      <a:pt x="8" y="47"/>
                    </a:cubicBezTo>
                    <a:cubicBezTo>
                      <a:pt x="2" y="51"/>
                      <a:pt x="9" y="59"/>
                      <a:pt x="9" y="59"/>
                    </a:cubicBezTo>
                    <a:cubicBezTo>
                      <a:pt x="11" y="59"/>
                      <a:pt x="10" y="67"/>
                      <a:pt x="10" y="67"/>
                    </a:cubicBezTo>
                    <a:cubicBezTo>
                      <a:pt x="13" y="72"/>
                      <a:pt x="8" y="70"/>
                      <a:pt x="8" y="77"/>
                    </a:cubicBezTo>
                    <a:cubicBezTo>
                      <a:pt x="10" y="84"/>
                      <a:pt x="5" y="83"/>
                      <a:pt x="5" y="83"/>
                    </a:cubicBezTo>
                    <a:cubicBezTo>
                      <a:pt x="7" y="90"/>
                      <a:pt x="6" y="95"/>
                      <a:pt x="6" y="95"/>
                    </a:cubicBezTo>
                    <a:cubicBezTo>
                      <a:pt x="6" y="97"/>
                      <a:pt x="1" y="95"/>
                      <a:pt x="2" y="101"/>
                    </a:cubicBezTo>
                    <a:cubicBezTo>
                      <a:pt x="0" y="105"/>
                      <a:pt x="5" y="106"/>
                      <a:pt x="5" y="106"/>
                    </a:cubicBezTo>
                    <a:cubicBezTo>
                      <a:pt x="7" y="105"/>
                      <a:pt x="6" y="110"/>
                      <a:pt x="9" y="109"/>
                    </a:cubicBezTo>
                    <a:cubicBezTo>
                      <a:pt x="11" y="109"/>
                      <a:pt x="10" y="106"/>
                      <a:pt x="14" y="107"/>
                    </a:cubicBezTo>
                    <a:cubicBezTo>
                      <a:pt x="9" y="112"/>
                      <a:pt x="14" y="115"/>
                      <a:pt x="14" y="115"/>
                    </a:cubicBezTo>
                    <a:cubicBezTo>
                      <a:pt x="13" y="119"/>
                      <a:pt x="9" y="120"/>
                      <a:pt x="10" y="124"/>
                    </a:cubicBezTo>
                    <a:cubicBezTo>
                      <a:pt x="9" y="127"/>
                      <a:pt x="14" y="130"/>
                      <a:pt x="11" y="134"/>
                    </a:cubicBezTo>
                    <a:cubicBezTo>
                      <a:pt x="11" y="142"/>
                      <a:pt x="8" y="147"/>
                      <a:pt x="8" y="147"/>
                    </a:cubicBezTo>
                    <a:cubicBezTo>
                      <a:pt x="14" y="150"/>
                      <a:pt x="15" y="147"/>
                      <a:pt x="15" y="147"/>
                    </a:cubicBezTo>
                    <a:cubicBezTo>
                      <a:pt x="18" y="144"/>
                      <a:pt x="24" y="148"/>
                      <a:pt x="24" y="148"/>
                    </a:cubicBezTo>
                    <a:cubicBezTo>
                      <a:pt x="25" y="150"/>
                      <a:pt x="36" y="148"/>
                      <a:pt x="38" y="150"/>
                    </a:cubicBezTo>
                    <a:cubicBezTo>
                      <a:pt x="46" y="151"/>
                      <a:pt x="46" y="148"/>
                      <a:pt x="46" y="148"/>
                    </a:cubicBezTo>
                    <a:cubicBezTo>
                      <a:pt x="49" y="143"/>
                      <a:pt x="52" y="148"/>
                      <a:pt x="52" y="148"/>
                    </a:cubicBezTo>
                    <a:cubicBezTo>
                      <a:pt x="57" y="152"/>
                      <a:pt x="59" y="148"/>
                      <a:pt x="59" y="148"/>
                    </a:cubicBezTo>
                    <a:cubicBezTo>
                      <a:pt x="59" y="144"/>
                      <a:pt x="66" y="144"/>
                      <a:pt x="66" y="144"/>
                    </a:cubicBezTo>
                    <a:cubicBezTo>
                      <a:pt x="66" y="154"/>
                      <a:pt x="70" y="156"/>
                      <a:pt x="70" y="156"/>
                    </a:cubicBezTo>
                    <a:cubicBezTo>
                      <a:pt x="73" y="159"/>
                      <a:pt x="74" y="165"/>
                      <a:pt x="74" y="165"/>
                    </a:cubicBezTo>
                    <a:cubicBezTo>
                      <a:pt x="76" y="164"/>
                      <a:pt x="76" y="168"/>
                      <a:pt x="76" y="168"/>
                    </a:cubicBezTo>
                    <a:cubicBezTo>
                      <a:pt x="82" y="170"/>
                      <a:pt x="78" y="172"/>
                      <a:pt x="78" y="172"/>
                    </a:cubicBezTo>
                    <a:cubicBezTo>
                      <a:pt x="76" y="176"/>
                      <a:pt x="81" y="176"/>
                      <a:pt x="81" y="176"/>
                    </a:cubicBezTo>
                    <a:cubicBezTo>
                      <a:pt x="87" y="177"/>
                      <a:pt x="90" y="173"/>
                      <a:pt x="90" y="173"/>
                    </a:cubicBezTo>
                    <a:cubicBezTo>
                      <a:pt x="95" y="170"/>
                      <a:pt x="100" y="173"/>
                      <a:pt x="100" y="173"/>
                    </a:cubicBezTo>
                    <a:cubicBezTo>
                      <a:pt x="103" y="169"/>
                      <a:pt x="108" y="169"/>
                      <a:pt x="108" y="169"/>
                    </a:cubicBezTo>
                    <a:cubicBezTo>
                      <a:pt x="110" y="164"/>
                      <a:pt x="116" y="165"/>
                      <a:pt x="116" y="165"/>
                    </a:cubicBezTo>
                    <a:cubicBezTo>
                      <a:pt x="117" y="159"/>
                      <a:pt x="126" y="156"/>
                      <a:pt x="127" y="159"/>
                    </a:cubicBezTo>
                    <a:cubicBezTo>
                      <a:pt x="129" y="156"/>
                      <a:pt x="137" y="160"/>
                      <a:pt x="137" y="154"/>
                    </a:cubicBezTo>
                    <a:cubicBezTo>
                      <a:pt x="135" y="154"/>
                      <a:pt x="133" y="152"/>
                      <a:pt x="133" y="152"/>
                    </a:cubicBezTo>
                    <a:cubicBezTo>
                      <a:pt x="132" y="144"/>
                      <a:pt x="129" y="145"/>
                      <a:pt x="129" y="145"/>
                    </a:cubicBezTo>
                    <a:cubicBezTo>
                      <a:pt x="123" y="144"/>
                      <a:pt x="124" y="136"/>
                      <a:pt x="124" y="136"/>
                    </a:cubicBezTo>
                    <a:cubicBezTo>
                      <a:pt x="119" y="131"/>
                      <a:pt x="126" y="133"/>
                      <a:pt x="126" y="126"/>
                    </a:cubicBezTo>
                    <a:cubicBezTo>
                      <a:pt x="126" y="122"/>
                      <a:pt x="122" y="121"/>
                      <a:pt x="122" y="119"/>
                    </a:cubicBezTo>
                    <a:cubicBezTo>
                      <a:pt x="119" y="116"/>
                      <a:pt x="119" y="111"/>
                      <a:pt x="119" y="111"/>
                    </a:cubicBezTo>
                    <a:cubicBezTo>
                      <a:pt x="114" y="107"/>
                      <a:pt x="117" y="104"/>
                      <a:pt x="117" y="104"/>
                    </a:cubicBezTo>
                    <a:cubicBezTo>
                      <a:pt x="121" y="101"/>
                      <a:pt x="114" y="102"/>
                      <a:pt x="114" y="102"/>
                    </a:cubicBezTo>
                    <a:cubicBezTo>
                      <a:pt x="109" y="104"/>
                      <a:pt x="108" y="96"/>
                      <a:pt x="108" y="96"/>
                    </a:cubicBezTo>
                    <a:cubicBezTo>
                      <a:pt x="108" y="86"/>
                      <a:pt x="98" y="90"/>
                      <a:pt x="98" y="90"/>
                    </a:cubicBezTo>
                    <a:cubicBezTo>
                      <a:pt x="91" y="95"/>
                      <a:pt x="84" y="92"/>
                      <a:pt x="84" y="92"/>
                    </a:cubicBezTo>
                    <a:cubicBezTo>
                      <a:pt x="82" y="87"/>
                      <a:pt x="76" y="89"/>
                      <a:pt x="76" y="89"/>
                    </a:cubicBezTo>
                    <a:cubicBezTo>
                      <a:pt x="73" y="85"/>
                      <a:pt x="70" y="89"/>
                      <a:pt x="70" y="89"/>
                    </a:cubicBezTo>
                    <a:cubicBezTo>
                      <a:pt x="59" y="91"/>
                      <a:pt x="65" y="86"/>
                      <a:pt x="65" y="86"/>
                    </a:cubicBezTo>
                    <a:cubicBezTo>
                      <a:pt x="70" y="79"/>
                      <a:pt x="64" y="79"/>
                      <a:pt x="64" y="79"/>
                    </a:cubicBezTo>
                    <a:cubicBezTo>
                      <a:pt x="61" y="80"/>
                      <a:pt x="63" y="71"/>
                      <a:pt x="63" y="71"/>
                    </a:cubicBezTo>
                    <a:cubicBezTo>
                      <a:pt x="63" y="65"/>
                      <a:pt x="59" y="61"/>
                      <a:pt x="59" y="61"/>
                    </a:cubicBezTo>
                    <a:cubicBezTo>
                      <a:pt x="53" y="56"/>
                      <a:pt x="64" y="54"/>
                      <a:pt x="64" y="54"/>
                    </a:cubicBezTo>
                    <a:cubicBezTo>
                      <a:pt x="72" y="54"/>
                      <a:pt x="71" y="48"/>
                      <a:pt x="71" y="48"/>
                    </a:cubicBezTo>
                    <a:cubicBezTo>
                      <a:pt x="72" y="44"/>
                      <a:pt x="63" y="40"/>
                      <a:pt x="63" y="40"/>
                    </a:cubicBezTo>
                    <a:cubicBezTo>
                      <a:pt x="55" y="35"/>
                      <a:pt x="54" y="28"/>
                      <a:pt x="54" y="28"/>
                    </a:cubicBezTo>
                    <a:cubicBezTo>
                      <a:pt x="50" y="23"/>
                      <a:pt x="59" y="21"/>
                      <a:pt x="51" y="16"/>
                    </a:cubicBezTo>
                    <a:cubicBezTo>
                      <a:pt x="46" y="16"/>
                      <a:pt x="43" y="8"/>
                      <a:pt x="43" y="8"/>
                    </a:cubicBezTo>
                    <a:cubicBezTo>
                      <a:pt x="39" y="0"/>
                      <a:pt x="36" y="5"/>
                      <a:pt x="36" y="5"/>
                    </a:cubicBezTo>
                    <a:cubicBezTo>
                      <a:pt x="31" y="5"/>
                      <a:pt x="28" y="11"/>
                      <a:pt x="28" y="11"/>
                    </a:cubicBezTo>
                    <a:cubicBezTo>
                      <a:pt x="25" y="12"/>
                      <a:pt x="29" y="4"/>
                      <a:pt x="23" y="5"/>
                    </a:cubicBezTo>
                  </a:path>
                </a:pathLst>
              </a:custGeom>
              <a:solidFill>
                <a:schemeClr val="accent5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31" name="Freeform 1176">
                <a:extLst>
                  <a:ext uri="{FF2B5EF4-FFF2-40B4-BE49-F238E27FC236}">
                    <a16:creationId xmlns:a16="http://schemas.microsoft.com/office/drawing/2014/main" id="{BB71F082-05BA-49C5-9D60-F1713BB8F5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4513" y="1868927"/>
                <a:ext cx="988771" cy="1144101"/>
              </a:xfrm>
              <a:custGeom>
                <a:avLst/>
                <a:gdLst>
                  <a:gd name="T0" fmla="*/ 627063 w 140"/>
                  <a:gd name="T1" fmla="*/ 1262063 h 162"/>
                  <a:gd name="T2" fmla="*/ 587375 w 140"/>
                  <a:gd name="T3" fmla="*/ 1222375 h 162"/>
                  <a:gd name="T4" fmla="*/ 595313 w 140"/>
                  <a:gd name="T5" fmla="*/ 1150938 h 162"/>
                  <a:gd name="T6" fmla="*/ 539750 w 140"/>
                  <a:gd name="T7" fmla="*/ 1127125 h 162"/>
                  <a:gd name="T8" fmla="*/ 492125 w 140"/>
                  <a:gd name="T9" fmla="*/ 1127125 h 162"/>
                  <a:gd name="T10" fmla="*/ 444500 w 140"/>
                  <a:gd name="T11" fmla="*/ 1158875 h 162"/>
                  <a:gd name="T12" fmla="*/ 293688 w 140"/>
                  <a:gd name="T13" fmla="*/ 1150938 h 162"/>
                  <a:gd name="T14" fmla="*/ 261938 w 140"/>
                  <a:gd name="T15" fmla="*/ 1095375 h 162"/>
                  <a:gd name="T16" fmla="*/ 246063 w 140"/>
                  <a:gd name="T17" fmla="*/ 1047750 h 162"/>
                  <a:gd name="T18" fmla="*/ 174625 w 140"/>
                  <a:gd name="T19" fmla="*/ 1016000 h 162"/>
                  <a:gd name="T20" fmla="*/ 103188 w 140"/>
                  <a:gd name="T21" fmla="*/ 992188 h 162"/>
                  <a:gd name="T22" fmla="*/ 87313 w 140"/>
                  <a:gd name="T23" fmla="*/ 944563 h 162"/>
                  <a:gd name="T24" fmla="*/ 55563 w 140"/>
                  <a:gd name="T25" fmla="*/ 904875 h 162"/>
                  <a:gd name="T26" fmla="*/ 15875 w 140"/>
                  <a:gd name="T27" fmla="*/ 873125 h 162"/>
                  <a:gd name="T28" fmla="*/ 15875 w 140"/>
                  <a:gd name="T29" fmla="*/ 873125 h 162"/>
                  <a:gd name="T30" fmla="*/ 23813 w 140"/>
                  <a:gd name="T31" fmla="*/ 801688 h 162"/>
                  <a:gd name="T32" fmla="*/ 23813 w 140"/>
                  <a:gd name="T33" fmla="*/ 698500 h 162"/>
                  <a:gd name="T34" fmla="*/ 23813 w 140"/>
                  <a:gd name="T35" fmla="*/ 698500 h 162"/>
                  <a:gd name="T36" fmla="*/ 47625 w 140"/>
                  <a:gd name="T37" fmla="*/ 674688 h 162"/>
                  <a:gd name="T38" fmla="*/ 39688 w 140"/>
                  <a:gd name="T39" fmla="*/ 547688 h 162"/>
                  <a:gd name="T40" fmla="*/ 47625 w 140"/>
                  <a:gd name="T41" fmla="*/ 436563 h 162"/>
                  <a:gd name="T42" fmla="*/ 95250 w 140"/>
                  <a:gd name="T43" fmla="*/ 325438 h 162"/>
                  <a:gd name="T44" fmla="*/ 150813 w 140"/>
                  <a:gd name="T45" fmla="*/ 277813 h 162"/>
                  <a:gd name="T46" fmla="*/ 174625 w 140"/>
                  <a:gd name="T47" fmla="*/ 222250 h 162"/>
                  <a:gd name="T48" fmla="*/ 261938 w 140"/>
                  <a:gd name="T49" fmla="*/ 206375 h 162"/>
                  <a:gd name="T50" fmla="*/ 309563 w 140"/>
                  <a:gd name="T51" fmla="*/ 198438 h 162"/>
                  <a:gd name="T52" fmla="*/ 444500 w 140"/>
                  <a:gd name="T53" fmla="*/ 190500 h 162"/>
                  <a:gd name="T54" fmla="*/ 539750 w 140"/>
                  <a:gd name="T55" fmla="*/ 206375 h 162"/>
                  <a:gd name="T56" fmla="*/ 595313 w 140"/>
                  <a:gd name="T57" fmla="*/ 222250 h 162"/>
                  <a:gd name="T58" fmla="*/ 682625 w 140"/>
                  <a:gd name="T59" fmla="*/ 174625 h 162"/>
                  <a:gd name="T60" fmla="*/ 706438 w 140"/>
                  <a:gd name="T61" fmla="*/ 87313 h 162"/>
                  <a:gd name="T62" fmla="*/ 777875 w 140"/>
                  <a:gd name="T63" fmla="*/ 55563 h 162"/>
                  <a:gd name="T64" fmla="*/ 865188 w 140"/>
                  <a:gd name="T65" fmla="*/ 87313 h 162"/>
                  <a:gd name="T66" fmla="*/ 992188 w 140"/>
                  <a:gd name="T67" fmla="*/ 31750 h 162"/>
                  <a:gd name="T68" fmla="*/ 1103313 w 140"/>
                  <a:gd name="T69" fmla="*/ 15875 h 162"/>
                  <a:gd name="T70" fmla="*/ 1071563 w 140"/>
                  <a:gd name="T71" fmla="*/ 79375 h 162"/>
                  <a:gd name="T72" fmla="*/ 1071563 w 140"/>
                  <a:gd name="T73" fmla="*/ 166688 h 162"/>
                  <a:gd name="T74" fmla="*/ 1111250 w 140"/>
                  <a:gd name="T75" fmla="*/ 206375 h 162"/>
                  <a:gd name="T76" fmla="*/ 1079500 w 140"/>
                  <a:gd name="T77" fmla="*/ 238125 h 162"/>
                  <a:gd name="T78" fmla="*/ 1071563 w 140"/>
                  <a:gd name="T79" fmla="*/ 269875 h 162"/>
                  <a:gd name="T80" fmla="*/ 1031875 w 140"/>
                  <a:gd name="T81" fmla="*/ 293688 h 162"/>
                  <a:gd name="T82" fmla="*/ 984250 w 140"/>
                  <a:gd name="T83" fmla="*/ 349250 h 162"/>
                  <a:gd name="T84" fmla="*/ 992188 w 140"/>
                  <a:gd name="T85" fmla="*/ 444500 h 162"/>
                  <a:gd name="T86" fmla="*/ 1000125 w 140"/>
                  <a:gd name="T87" fmla="*/ 508000 h 162"/>
                  <a:gd name="T88" fmla="*/ 984250 w 140"/>
                  <a:gd name="T89" fmla="*/ 587375 h 162"/>
                  <a:gd name="T90" fmla="*/ 960438 w 140"/>
                  <a:gd name="T91" fmla="*/ 635000 h 162"/>
                  <a:gd name="T92" fmla="*/ 968375 w 140"/>
                  <a:gd name="T93" fmla="*/ 730250 h 162"/>
                  <a:gd name="T94" fmla="*/ 936625 w 140"/>
                  <a:gd name="T95" fmla="*/ 777875 h 162"/>
                  <a:gd name="T96" fmla="*/ 960438 w 140"/>
                  <a:gd name="T97" fmla="*/ 817563 h 162"/>
                  <a:gd name="T98" fmla="*/ 992188 w 140"/>
                  <a:gd name="T99" fmla="*/ 841375 h 162"/>
                  <a:gd name="T100" fmla="*/ 1031875 w 140"/>
                  <a:gd name="T101" fmla="*/ 825500 h 162"/>
                  <a:gd name="T102" fmla="*/ 1031875 w 140"/>
                  <a:gd name="T103" fmla="*/ 889000 h 162"/>
                  <a:gd name="T104" fmla="*/ 1000125 w 140"/>
                  <a:gd name="T105" fmla="*/ 960438 h 162"/>
                  <a:gd name="T106" fmla="*/ 1008063 w 140"/>
                  <a:gd name="T107" fmla="*/ 1039813 h 162"/>
                  <a:gd name="T108" fmla="*/ 984250 w 140"/>
                  <a:gd name="T109" fmla="*/ 1143000 h 162"/>
                  <a:gd name="T110" fmla="*/ 936625 w 140"/>
                  <a:gd name="T111" fmla="*/ 1198563 h 162"/>
                  <a:gd name="T112" fmla="*/ 873125 w 140"/>
                  <a:gd name="T113" fmla="*/ 1238250 h 162"/>
                  <a:gd name="T114" fmla="*/ 769938 w 140"/>
                  <a:gd name="T115" fmla="*/ 1238250 h 162"/>
                  <a:gd name="T116" fmla="*/ 690563 w 140"/>
                  <a:gd name="T117" fmla="*/ 1238250 h 162"/>
                  <a:gd name="T118" fmla="*/ 627063 w 140"/>
                  <a:gd name="T119" fmla="*/ 1262063 h 162"/>
                  <a:gd name="T120" fmla="*/ 627063 w 140"/>
                  <a:gd name="T121" fmla="*/ 1262063 h 162"/>
                  <a:gd name="T122" fmla="*/ 627063 w 140"/>
                  <a:gd name="T123" fmla="*/ 1262063 h 16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40"/>
                  <a:gd name="T187" fmla="*/ 0 h 162"/>
                  <a:gd name="T188" fmla="*/ 140 w 140"/>
                  <a:gd name="T189" fmla="*/ 162 h 16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40" h="162">
                    <a:moveTo>
                      <a:pt x="79" y="159"/>
                    </a:moveTo>
                    <a:cubicBezTo>
                      <a:pt x="75" y="159"/>
                      <a:pt x="79" y="153"/>
                      <a:pt x="74" y="154"/>
                    </a:cubicBezTo>
                    <a:cubicBezTo>
                      <a:pt x="68" y="148"/>
                      <a:pt x="75" y="145"/>
                      <a:pt x="75" y="145"/>
                    </a:cubicBezTo>
                    <a:cubicBezTo>
                      <a:pt x="70" y="146"/>
                      <a:pt x="68" y="142"/>
                      <a:pt x="68" y="142"/>
                    </a:cubicBezTo>
                    <a:cubicBezTo>
                      <a:pt x="63" y="135"/>
                      <a:pt x="62" y="142"/>
                      <a:pt x="62" y="142"/>
                    </a:cubicBezTo>
                    <a:cubicBezTo>
                      <a:pt x="62" y="144"/>
                      <a:pt x="58" y="142"/>
                      <a:pt x="56" y="146"/>
                    </a:cubicBezTo>
                    <a:cubicBezTo>
                      <a:pt x="43" y="150"/>
                      <a:pt x="37" y="145"/>
                      <a:pt x="37" y="145"/>
                    </a:cubicBezTo>
                    <a:cubicBezTo>
                      <a:pt x="32" y="143"/>
                      <a:pt x="33" y="138"/>
                      <a:pt x="33" y="138"/>
                    </a:cubicBezTo>
                    <a:cubicBezTo>
                      <a:pt x="33" y="135"/>
                      <a:pt x="31" y="132"/>
                      <a:pt x="31" y="132"/>
                    </a:cubicBezTo>
                    <a:cubicBezTo>
                      <a:pt x="28" y="126"/>
                      <a:pt x="22" y="128"/>
                      <a:pt x="22" y="128"/>
                    </a:cubicBezTo>
                    <a:cubicBezTo>
                      <a:pt x="10" y="130"/>
                      <a:pt x="13" y="125"/>
                      <a:pt x="13" y="125"/>
                    </a:cubicBezTo>
                    <a:cubicBezTo>
                      <a:pt x="15" y="121"/>
                      <a:pt x="11" y="119"/>
                      <a:pt x="11" y="119"/>
                    </a:cubicBezTo>
                    <a:cubicBezTo>
                      <a:pt x="6" y="119"/>
                      <a:pt x="7" y="114"/>
                      <a:pt x="7" y="114"/>
                    </a:cubicBezTo>
                    <a:cubicBezTo>
                      <a:pt x="8" y="109"/>
                      <a:pt x="2" y="110"/>
                      <a:pt x="2" y="110"/>
                    </a:cubicBezTo>
                    <a:lnTo>
                      <a:pt x="3" y="101"/>
                    </a:lnTo>
                    <a:lnTo>
                      <a:pt x="3" y="88"/>
                    </a:lnTo>
                    <a:cubicBezTo>
                      <a:pt x="3" y="88"/>
                      <a:pt x="3" y="84"/>
                      <a:pt x="6" y="85"/>
                    </a:cubicBezTo>
                    <a:cubicBezTo>
                      <a:pt x="10" y="77"/>
                      <a:pt x="3" y="77"/>
                      <a:pt x="5" y="69"/>
                    </a:cubicBezTo>
                    <a:cubicBezTo>
                      <a:pt x="5" y="69"/>
                      <a:pt x="0" y="66"/>
                      <a:pt x="6" y="55"/>
                    </a:cubicBezTo>
                    <a:cubicBezTo>
                      <a:pt x="10" y="53"/>
                      <a:pt x="8" y="46"/>
                      <a:pt x="12" y="41"/>
                    </a:cubicBezTo>
                    <a:cubicBezTo>
                      <a:pt x="17" y="39"/>
                      <a:pt x="16" y="35"/>
                      <a:pt x="19" y="35"/>
                    </a:cubicBezTo>
                    <a:cubicBezTo>
                      <a:pt x="19" y="35"/>
                      <a:pt x="23" y="32"/>
                      <a:pt x="22" y="28"/>
                    </a:cubicBezTo>
                    <a:cubicBezTo>
                      <a:pt x="22" y="28"/>
                      <a:pt x="20" y="23"/>
                      <a:pt x="33" y="26"/>
                    </a:cubicBezTo>
                    <a:cubicBezTo>
                      <a:pt x="33" y="26"/>
                      <a:pt x="38" y="32"/>
                      <a:pt x="39" y="25"/>
                    </a:cubicBezTo>
                    <a:cubicBezTo>
                      <a:pt x="39" y="25"/>
                      <a:pt x="41" y="19"/>
                      <a:pt x="56" y="24"/>
                    </a:cubicBezTo>
                    <a:cubicBezTo>
                      <a:pt x="56" y="24"/>
                      <a:pt x="68" y="22"/>
                      <a:pt x="68" y="26"/>
                    </a:cubicBezTo>
                    <a:cubicBezTo>
                      <a:pt x="68" y="26"/>
                      <a:pt x="66" y="30"/>
                      <a:pt x="75" y="28"/>
                    </a:cubicBezTo>
                    <a:cubicBezTo>
                      <a:pt x="75" y="28"/>
                      <a:pt x="78" y="29"/>
                      <a:pt x="86" y="22"/>
                    </a:cubicBezTo>
                    <a:cubicBezTo>
                      <a:pt x="86" y="16"/>
                      <a:pt x="89" y="16"/>
                      <a:pt x="89" y="11"/>
                    </a:cubicBezTo>
                    <a:cubicBezTo>
                      <a:pt x="89" y="11"/>
                      <a:pt x="85" y="3"/>
                      <a:pt x="98" y="7"/>
                    </a:cubicBezTo>
                    <a:cubicBezTo>
                      <a:pt x="98" y="7"/>
                      <a:pt x="106" y="12"/>
                      <a:pt x="109" y="11"/>
                    </a:cubicBezTo>
                    <a:cubicBezTo>
                      <a:pt x="116" y="11"/>
                      <a:pt x="114" y="11"/>
                      <a:pt x="125" y="4"/>
                    </a:cubicBezTo>
                    <a:cubicBezTo>
                      <a:pt x="125" y="4"/>
                      <a:pt x="126" y="0"/>
                      <a:pt x="139" y="2"/>
                    </a:cubicBezTo>
                    <a:cubicBezTo>
                      <a:pt x="137" y="5"/>
                      <a:pt x="135" y="10"/>
                      <a:pt x="135" y="10"/>
                    </a:cubicBezTo>
                    <a:cubicBezTo>
                      <a:pt x="131" y="20"/>
                      <a:pt x="135" y="21"/>
                      <a:pt x="135" y="21"/>
                    </a:cubicBezTo>
                    <a:cubicBezTo>
                      <a:pt x="140" y="22"/>
                      <a:pt x="140" y="26"/>
                      <a:pt x="140" y="26"/>
                    </a:cubicBezTo>
                    <a:cubicBezTo>
                      <a:pt x="140" y="28"/>
                      <a:pt x="135" y="25"/>
                      <a:pt x="136" y="30"/>
                    </a:cubicBezTo>
                    <a:cubicBezTo>
                      <a:pt x="134" y="32"/>
                      <a:pt x="135" y="34"/>
                      <a:pt x="135" y="34"/>
                    </a:cubicBezTo>
                    <a:cubicBezTo>
                      <a:pt x="136" y="38"/>
                      <a:pt x="130" y="37"/>
                      <a:pt x="130" y="37"/>
                    </a:cubicBezTo>
                    <a:cubicBezTo>
                      <a:pt x="125" y="38"/>
                      <a:pt x="124" y="44"/>
                      <a:pt x="124" y="44"/>
                    </a:cubicBezTo>
                    <a:cubicBezTo>
                      <a:pt x="118" y="48"/>
                      <a:pt x="125" y="56"/>
                      <a:pt x="125" y="56"/>
                    </a:cubicBezTo>
                    <a:cubicBezTo>
                      <a:pt x="127" y="56"/>
                      <a:pt x="126" y="64"/>
                      <a:pt x="126" y="64"/>
                    </a:cubicBezTo>
                    <a:cubicBezTo>
                      <a:pt x="129" y="69"/>
                      <a:pt x="124" y="67"/>
                      <a:pt x="124" y="74"/>
                    </a:cubicBezTo>
                    <a:cubicBezTo>
                      <a:pt x="126" y="81"/>
                      <a:pt x="121" y="80"/>
                      <a:pt x="121" y="80"/>
                    </a:cubicBezTo>
                    <a:cubicBezTo>
                      <a:pt x="123" y="87"/>
                      <a:pt x="122" y="92"/>
                      <a:pt x="122" y="92"/>
                    </a:cubicBezTo>
                    <a:cubicBezTo>
                      <a:pt x="122" y="94"/>
                      <a:pt x="117" y="92"/>
                      <a:pt x="118" y="98"/>
                    </a:cubicBezTo>
                    <a:cubicBezTo>
                      <a:pt x="116" y="102"/>
                      <a:pt x="121" y="103"/>
                      <a:pt x="121" y="103"/>
                    </a:cubicBezTo>
                    <a:cubicBezTo>
                      <a:pt x="123" y="102"/>
                      <a:pt x="122" y="107"/>
                      <a:pt x="125" y="106"/>
                    </a:cubicBezTo>
                    <a:cubicBezTo>
                      <a:pt x="127" y="106"/>
                      <a:pt x="126" y="103"/>
                      <a:pt x="130" y="104"/>
                    </a:cubicBezTo>
                    <a:cubicBezTo>
                      <a:pt x="125" y="109"/>
                      <a:pt x="130" y="112"/>
                      <a:pt x="130" y="112"/>
                    </a:cubicBezTo>
                    <a:cubicBezTo>
                      <a:pt x="129" y="116"/>
                      <a:pt x="125" y="117"/>
                      <a:pt x="126" y="121"/>
                    </a:cubicBezTo>
                    <a:cubicBezTo>
                      <a:pt x="125" y="124"/>
                      <a:pt x="130" y="127"/>
                      <a:pt x="127" y="131"/>
                    </a:cubicBezTo>
                    <a:cubicBezTo>
                      <a:pt x="127" y="139"/>
                      <a:pt x="124" y="144"/>
                      <a:pt x="124" y="144"/>
                    </a:cubicBezTo>
                    <a:cubicBezTo>
                      <a:pt x="124" y="147"/>
                      <a:pt x="118" y="151"/>
                      <a:pt x="118" y="151"/>
                    </a:cubicBezTo>
                    <a:cubicBezTo>
                      <a:pt x="115" y="157"/>
                      <a:pt x="110" y="156"/>
                      <a:pt x="110" y="156"/>
                    </a:cubicBezTo>
                    <a:cubicBezTo>
                      <a:pt x="101" y="160"/>
                      <a:pt x="97" y="156"/>
                      <a:pt x="97" y="156"/>
                    </a:cubicBezTo>
                    <a:cubicBezTo>
                      <a:pt x="92" y="152"/>
                      <a:pt x="87" y="156"/>
                      <a:pt x="87" y="156"/>
                    </a:cubicBezTo>
                    <a:cubicBezTo>
                      <a:pt x="84" y="162"/>
                      <a:pt x="79" y="159"/>
                      <a:pt x="79" y="159"/>
                    </a:cubicBezTo>
                  </a:path>
                </a:pathLst>
              </a:custGeom>
              <a:solidFill>
                <a:schemeClr val="accent3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32" name="Freeform 1177">
                <a:extLst>
                  <a:ext uri="{FF2B5EF4-FFF2-40B4-BE49-F238E27FC236}">
                    <a16:creationId xmlns:a16="http://schemas.microsoft.com/office/drawing/2014/main" id="{C829BB6B-9399-41B9-A9AF-0A0E9641DB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7819" y="2327981"/>
                <a:ext cx="981707" cy="1299473"/>
              </a:xfrm>
              <a:custGeom>
                <a:avLst/>
                <a:gdLst>
                  <a:gd name="T0" fmla="*/ 47625 w 139"/>
                  <a:gd name="T1" fmla="*/ 1127125 h 184"/>
                  <a:gd name="T2" fmla="*/ 111125 w 139"/>
                  <a:gd name="T3" fmla="*/ 1047750 h 184"/>
                  <a:gd name="T4" fmla="*/ 142875 w 139"/>
                  <a:gd name="T5" fmla="*/ 904875 h 184"/>
                  <a:gd name="T6" fmla="*/ 119062 w 139"/>
                  <a:gd name="T7" fmla="*/ 769938 h 184"/>
                  <a:gd name="T8" fmla="*/ 79375 w 139"/>
                  <a:gd name="T9" fmla="*/ 642938 h 184"/>
                  <a:gd name="T10" fmla="*/ 87312 w 139"/>
                  <a:gd name="T11" fmla="*/ 484188 h 184"/>
                  <a:gd name="T12" fmla="*/ 79375 w 139"/>
                  <a:gd name="T13" fmla="*/ 309563 h 184"/>
                  <a:gd name="T14" fmla="*/ 7937 w 139"/>
                  <a:gd name="T15" fmla="*/ 269875 h 184"/>
                  <a:gd name="T16" fmla="*/ 0 w 139"/>
                  <a:gd name="T17" fmla="*/ 198438 h 184"/>
                  <a:gd name="T18" fmla="*/ 134937 w 139"/>
                  <a:gd name="T19" fmla="*/ 63500 h 184"/>
                  <a:gd name="T20" fmla="*/ 246062 w 139"/>
                  <a:gd name="T21" fmla="*/ 63500 h 184"/>
                  <a:gd name="T22" fmla="*/ 388937 w 139"/>
                  <a:gd name="T23" fmla="*/ 71438 h 184"/>
                  <a:gd name="T24" fmla="*/ 492125 w 139"/>
                  <a:gd name="T25" fmla="*/ 182563 h 184"/>
                  <a:gd name="T26" fmla="*/ 492125 w 139"/>
                  <a:gd name="T27" fmla="*/ 285750 h 184"/>
                  <a:gd name="T28" fmla="*/ 484187 w 139"/>
                  <a:gd name="T29" fmla="*/ 357188 h 184"/>
                  <a:gd name="T30" fmla="*/ 555625 w 139"/>
                  <a:gd name="T31" fmla="*/ 428625 h 184"/>
                  <a:gd name="T32" fmla="*/ 642937 w 139"/>
                  <a:gd name="T33" fmla="*/ 500063 h 184"/>
                  <a:gd name="T34" fmla="*/ 730250 w 139"/>
                  <a:gd name="T35" fmla="*/ 579438 h 184"/>
                  <a:gd name="T36" fmla="*/ 912812 w 139"/>
                  <a:gd name="T37" fmla="*/ 642938 h 184"/>
                  <a:gd name="T38" fmla="*/ 1008062 w 139"/>
                  <a:gd name="T39" fmla="*/ 611188 h 184"/>
                  <a:gd name="T40" fmla="*/ 1055687 w 139"/>
                  <a:gd name="T41" fmla="*/ 706438 h 184"/>
                  <a:gd name="T42" fmla="*/ 1087437 w 139"/>
                  <a:gd name="T43" fmla="*/ 809625 h 184"/>
                  <a:gd name="T44" fmla="*/ 992187 w 139"/>
                  <a:gd name="T45" fmla="*/ 904875 h 184"/>
                  <a:gd name="T46" fmla="*/ 920750 w 139"/>
                  <a:gd name="T47" fmla="*/ 1047750 h 184"/>
                  <a:gd name="T48" fmla="*/ 777875 w 139"/>
                  <a:gd name="T49" fmla="*/ 1039813 h 184"/>
                  <a:gd name="T50" fmla="*/ 706437 w 139"/>
                  <a:gd name="T51" fmla="*/ 1206500 h 184"/>
                  <a:gd name="T52" fmla="*/ 642937 w 139"/>
                  <a:gd name="T53" fmla="*/ 1317625 h 184"/>
                  <a:gd name="T54" fmla="*/ 460375 w 139"/>
                  <a:gd name="T55" fmla="*/ 1365250 h 184"/>
                  <a:gd name="T56" fmla="*/ 404812 w 139"/>
                  <a:gd name="T57" fmla="*/ 1420813 h 184"/>
                  <a:gd name="T58" fmla="*/ 301625 w 139"/>
                  <a:gd name="T59" fmla="*/ 1397000 h 184"/>
                  <a:gd name="T60" fmla="*/ 174625 w 139"/>
                  <a:gd name="T61" fmla="*/ 1452563 h 184"/>
                  <a:gd name="T62" fmla="*/ 71437 w 139"/>
                  <a:gd name="T63" fmla="*/ 1373188 h 184"/>
                  <a:gd name="T64" fmla="*/ 79375 w 139"/>
                  <a:gd name="T65" fmla="*/ 1230313 h 184"/>
                  <a:gd name="T66" fmla="*/ 55562 w 139"/>
                  <a:gd name="T67" fmla="*/ 1166813 h 18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39"/>
                  <a:gd name="T103" fmla="*/ 0 h 184"/>
                  <a:gd name="T104" fmla="*/ 139 w 139"/>
                  <a:gd name="T105" fmla="*/ 184 h 18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39" h="184">
                    <a:moveTo>
                      <a:pt x="7" y="147"/>
                    </a:moveTo>
                    <a:cubicBezTo>
                      <a:pt x="9" y="144"/>
                      <a:pt x="6" y="142"/>
                      <a:pt x="6" y="142"/>
                    </a:cubicBezTo>
                    <a:cubicBezTo>
                      <a:pt x="5" y="138"/>
                      <a:pt x="6" y="136"/>
                      <a:pt x="6" y="136"/>
                    </a:cubicBezTo>
                    <a:cubicBezTo>
                      <a:pt x="11" y="135"/>
                      <a:pt x="14" y="132"/>
                      <a:pt x="14" y="132"/>
                    </a:cubicBezTo>
                    <a:cubicBezTo>
                      <a:pt x="22" y="126"/>
                      <a:pt x="20" y="124"/>
                      <a:pt x="20" y="124"/>
                    </a:cubicBezTo>
                    <a:cubicBezTo>
                      <a:pt x="16" y="121"/>
                      <a:pt x="18" y="114"/>
                      <a:pt x="18" y="114"/>
                    </a:cubicBezTo>
                    <a:cubicBezTo>
                      <a:pt x="22" y="111"/>
                      <a:pt x="19" y="107"/>
                      <a:pt x="19" y="107"/>
                    </a:cubicBezTo>
                    <a:cubicBezTo>
                      <a:pt x="20" y="98"/>
                      <a:pt x="15" y="97"/>
                      <a:pt x="15" y="97"/>
                    </a:cubicBezTo>
                    <a:cubicBezTo>
                      <a:pt x="15" y="89"/>
                      <a:pt x="11" y="89"/>
                      <a:pt x="11" y="89"/>
                    </a:cubicBezTo>
                    <a:cubicBezTo>
                      <a:pt x="5" y="87"/>
                      <a:pt x="9" y="86"/>
                      <a:pt x="10" y="81"/>
                    </a:cubicBezTo>
                    <a:cubicBezTo>
                      <a:pt x="8" y="73"/>
                      <a:pt x="11" y="71"/>
                      <a:pt x="11" y="71"/>
                    </a:cubicBezTo>
                    <a:cubicBezTo>
                      <a:pt x="16" y="63"/>
                      <a:pt x="11" y="61"/>
                      <a:pt x="11" y="61"/>
                    </a:cubicBezTo>
                    <a:cubicBezTo>
                      <a:pt x="12" y="51"/>
                      <a:pt x="6" y="48"/>
                      <a:pt x="6" y="48"/>
                    </a:cubicBezTo>
                    <a:cubicBezTo>
                      <a:pt x="5" y="46"/>
                      <a:pt x="9" y="46"/>
                      <a:pt x="10" y="39"/>
                    </a:cubicBezTo>
                    <a:cubicBezTo>
                      <a:pt x="6" y="31"/>
                      <a:pt x="1" y="34"/>
                      <a:pt x="1" y="34"/>
                    </a:cubicBezTo>
                    <a:lnTo>
                      <a:pt x="0" y="25"/>
                    </a:lnTo>
                    <a:cubicBezTo>
                      <a:pt x="10" y="23"/>
                      <a:pt x="5" y="14"/>
                      <a:pt x="5" y="14"/>
                    </a:cubicBezTo>
                    <a:cubicBezTo>
                      <a:pt x="11" y="12"/>
                      <a:pt x="13" y="8"/>
                      <a:pt x="17" y="8"/>
                    </a:cubicBezTo>
                    <a:cubicBezTo>
                      <a:pt x="17" y="8"/>
                      <a:pt x="19" y="0"/>
                      <a:pt x="24" y="7"/>
                    </a:cubicBezTo>
                    <a:cubicBezTo>
                      <a:pt x="24" y="7"/>
                      <a:pt x="26" y="12"/>
                      <a:pt x="31" y="8"/>
                    </a:cubicBezTo>
                    <a:cubicBezTo>
                      <a:pt x="31" y="8"/>
                      <a:pt x="34" y="5"/>
                      <a:pt x="40" y="6"/>
                    </a:cubicBezTo>
                    <a:cubicBezTo>
                      <a:pt x="40" y="6"/>
                      <a:pt x="47" y="5"/>
                      <a:pt x="49" y="9"/>
                    </a:cubicBezTo>
                    <a:cubicBezTo>
                      <a:pt x="49" y="9"/>
                      <a:pt x="54" y="13"/>
                      <a:pt x="53" y="16"/>
                    </a:cubicBezTo>
                    <a:cubicBezTo>
                      <a:pt x="53" y="16"/>
                      <a:pt x="54" y="21"/>
                      <a:pt x="62" y="23"/>
                    </a:cubicBezTo>
                    <a:lnTo>
                      <a:pt x="62" y="36"/>
                    </a:lnTo>
                    <a:lnTo>
                      <a:pt x="61" y="45"/>
                    </a:lnTo>
                    <a:cubicBezTo>
                      <a:pt x="61" y="45"/>
                      <a:pt x="67" y="44"/>
                      <a:pt x="66" y="49"/>
                    </a:cubicBezTo>
                    <a:cubicBezTo>
                      <a:pt x="66" y="49"/>
                      <a:pt x="65" y="54"/>
                      <a:pt x="70" y="54"/>
                    </a:cubicBezTo>
                    <a:cubicBezTo>
                      <a:pt x="70" y="54"/>
                      <a:pt x="74" y="56"/>
                      <a:pt x="72" y="60"/>
                    </a:cubicBezTo>
                    <a:cubicBezTo>
                      <a:pt x="72" y="60"/>
                      <a:pt x="69" y="65"/>
                      <a:pt x="81" y="63"/>
                    </a:cubicBezTo>
                    <a:cubicBezTo>
                      <a:pt x="81" y="63"/>
                      <a:pt x="87" y="61"/>
                      <a:pt x="90" y="67"/>
                    </a:cubicBezTo>
                    <a:cubicBezTo>
                      <a:pt x="90" y="67"/>
                      <a:pt x="92" y="70"/>
                      <a:pt x="92" y="73"/>
                    </a:cubicBezTo>
                    <a:cubicBezTo>
                      <a:pt x="92" y="73"/>
                      <a:pt x="91" y="78"/>
                      <a:pt x="96" y="80"/>
                    </a:cubicBezTo>
                    <a:cubicBezTo>
                      <a:pt x="96" y="80"/>
                      <a:pt x="102" y="85"/>
                      <a:pt x="115" y="81"/>
                    </a:cubicBezTo>
                    <a:cubicBezTo>
                      <a:pt x="117" y="77"/>
                      <a:pt x="121" y="79"/>
                      <a:pt x="121" y="77"/>
                    </a:cubicBezTo>
                    <a:cubicBezTo>
                      <a:pt x="121" y="77"/>
                      <a:pt x="122" y="70"/>
                      <a:pt x="127" y="77"/>
                    </a:cubicBezTo>
                    <a:cubicBezTo>
                      <a:pt x="127" y="77"/>
                      <a:pt x="129" y="81"/>
                      <a:pt x="134" y="80"/>
                    </a:cubicBezTo>
                    <a:cubicBezTo>
                      <a:pt x="134" y="80"/>
                      <a:pt x="127" y="83"/>
                      <a:pt x="133" y="89"/>
                    </a:cubicBezTo>
                    <a:cubicBezTo>
                      <a:pt x="138" y="88"/>
                      <a:pt x="135" y="93"/>
                      <a:pt x="138" y="94"/>
                    </a:cubicBezTo>
                    <a:cubicBezTo>
                      <a:pt x="139" y="99"/>
                      <a:pt x="137" y="102"/>
                      <a:pt x="137" y="102"/>
                    </a:cubicBezTo>
                    <a:cubicBezTo>
                      <a:pt x="137" y="102"/>
                      <a:pt x="129" y="104"/>
                      <a:pt x="130" y="109"/>
                    </a:cubicBezTo>
                    <a:cubicBezTo>
                      <a:pt x="131" y="111"/>
                      <a:pt x="125" y="111"/>
                      <a:pt x="125" y="114"/>
                    </a:cubicBezTo>
                    <a:cubicBezTo>
                      <a:pt x="125" y="114"/>
                      <a:pt x="127" y="120"/>
                      <a:pt x="123" y="121"/>
                    </a:cubicBezTo>
                    <a:cubicBezTo>
                      <a:pt x="123" y="121"/>
                      <a:pt x="122" y="133"/>
                      <a:pt x="116" y="132"/>
                    </a:cubicBezTo>
                    <a:cubicBezTo>
                      <a:pt x="116" y="132"/>
                      <a:pt x="108" y="134"/>
                      <a:pt x="105" y="131"/>
                    </a:cubicBezTo>
                    <a:cubicBezTo>
                      <a:pt x="105" y="131"/>
                      <a:pt x="101" y="126"/>
                      <a:pt x="98" y="131"/>
                    </a:cubicBezTo>
                    <a:cubicBezTo>
                      <a:pt x="98" y="131"/>
                      <a:pt x="91" y="129"/>
                      <a:pt x="92" y="140"/>
                    </a:cubicBezTo>
                    <a:cubicBezTo>
                      <a:pt x="92" y="140"/>
                      <a:pt x="92" y="147"/>
                      <a:pt x="89" y="152"/>
                    </a:cubicBezTo>
                    <a:cubicBezTo>
                      <a:pt x="89" y="152"/>
                      <a:pt x="89" y="155"/>
                      <a:pt x="89" y="159"/>
                    </a:cubicBezTo>
                    <a:cubicBezTo>
                      <a:pt x="89" y="159"/>
                      <a:pt x="81" y="162"/>
                      <a:pt x="81" y="166"/>
                    </a:cubicBezTo>
                    <a:cubicBezTo>
                      <a:pt x="81" y="166"/>
                      <a:pt x="80" y="172"/>
                      <a:pt x="70" y="172"/>
                    </a:cubicBezTo>
                    <a:cubicBezTo>
                      <a:pt x="70" y="172"/>
                      <a:pt x="67" y="169"/>
                      <a:pt x="58" y="172"/>
                    </a:cubicBezTo>
                    <a:cubicBezTo>
                      <a:pt x="58" y="172"/>
                      <a:pt x="53" y="167"/>
                      <a:pt x="53" y="175"/>
                    </a:cubicBezTo>
                    <a:cubicBezTo>
                      <a:pt x="53" y="175"/>
                      <a:pt x="54" y="181"/>
                      <a:pt x="51" y="179"/>
                    </a:cubicBezTo>
                    <a:cubicBezTo>
                      <a:pt x="51" y="179"/>
                      <a:pt x="49" y="176"/>
                      <a:pt x="44" y="176"/>
                    </a:cubicBezTo>
                    <a:cubicBezTo>
                      <a:pt x="44" y="176"/>
                      <a:pt x="40" y="170"/>
                      <a:pt x="38" y="176"/>
                    </a:cubicBezTo>
                    <a:cubicBezTo>
                      <a:pt x="38" y="176"/>
                      <a:pt x="31" y="176"/>
                      <a:pt x="29" y="180"/>
                    </a:cubicBezTo>
                    <a:cubicBezTo>
                      <a:pt x="29" y="180"/>
                      <a:pt x="26" y="184"/>
                      <a:pt x="22" y="183"/>
                    </a:cubicBezTo>
                    <a:cubicBezTo>
                      <a:pt x="19" y="184"/>
                      <a:pt x="22" y="178"/>
                      <a:pt x="17" y="180"/>
                    </a:cubicBezTo>
                    <a:cubicBezTo>
                      <a:pt x="13" y="173"/>
                      <a:pt x="9" y="173"/>
                      <a:pt x="9" y="173"/>
                    </a:cubicBezTo>
                    <a:cubicBezTo>
                      <a:pt x="7" y="169"/>
                      <a:pt x="10" y="167"/>
                      <a:pt x="10" y="167"/>
                    </a:cubicBezTo>
                    <a:cubicBezTo>
                      <a:pt x="13" y="161"/>
                      <a:pt x="10" y="155"/>
                      <a:pt x="10" y="155"/>
                    </a:cubicBezTo>
                    <a:cubicBezTo>
                      <a:pt x="8" y="153"/>
                      <a:pt x="12" y="147"/>
                      <a:pt x="7" y="147"/>
                    </a:cubicBezTo>
                  </a:path>
                </a:pathLst>
              </a:custGeom>
              <a:solidFill>
                <a:schemeClr val="accent3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33" name="Freeform 1178">
                <a:extLst>
                  <a:ext uri="{FF2B5EF4-FFF2-40B4-BE49-F238E27FC236}">
                    <a16:creationId xmlns:a16="http://schemas.microsoft.com/office/drawing/2014/main" id="{C8034AD8-F87D-484F-BC90-AEABA9909E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1553" y="3224897"/>
                <a:ext cx="953457" cy="1024041"/>
              </a:xfrm>
              <a:custGeom>
                <a:avLst/>
                <a:gdLst>
                  <a:gd name="T0" fmla="*/ 968375 w 135"/>
                  <a:gd name="T1" fmla="*/ 1047750 h 145"/>
                  <a:gd name="T2" fmla="*/ 920750 w 135"/>
                  <a:gd name="T3" fmla="*/ 1087437 h 145"/>
                  <a:gd name="T4" fmla="*/ 849312 w 135"/>
                  <a:gd name="T5" fmla="*/ 1111250 h 145"/>
                  <a:gd name="T6" fmla="*/ 785812 w 135"/>
                  <a:gd name="T7" fmla="*/ 1111250 h 145"/>
                  <a:gd name="T8" fmla="*/ 690562 w 135"/>
                  <a:gd name="T9" fmla="*/ 1087437 h 145"/>
                  <a:gd name="T10" fmla="*/ 658812 w 135"/>
                  <a:gd name="T11" fmla="*/ 1095375 h 145"/>
                  <a:gd name="T12" fmla="*/ 603250 w 135"/>
                  <a:gd name="T13" fmla="*/ 1150937 h 145"/>
                  <a:gd name="T14" fmla="*/ 523875 w 135"/>
                  <a:gd name="T15" fmla="*/ 1055687 h 145"/>
                  <a:gd name="T16" fmla="*/ 436562 w 135"/>
                  <a:gd name="T17" fmla="*/ 1071562 h 145"/>
                  <a:gd name="T18" fmla="*/ 412750 w 135"/>
                  <a:gd name="T19" fmla="*/ 1079500 h 145"/>
                  <a:gd name="T20" fmla="*/ 412750 w 135"/>
                  <a:gd name="T21" fmla="*/ 1047750 h 145"/>
                  <a:gd name="T22" fmla="*/ 373062 w 135"/>
                  <a:gd name="T23" fmla="*/ 1055687 h 145"/>
                  <a:gd name="T24" fmla="*/ 396875 w 135"/>
                  <a:gd name="T25" fmla="*/ 1023937 h 145"/>
                  <a:gd name="T26" fmla="*/ 373062 w 135"/>
                  <a:gd name="T27" fmla="*/ 992187 h 145"/>
                  <a:gd name="T28" fmla="*/ 333375 w 135"/>
                  <a:gd name="T29" fmla="*/ 1000125 h 145"/>
                  <a:gd name="T30" fmla="*/ 277812 w 135"/>
                  <a:gd name="T31" fmla="*/ 992187 h 145"/>
                  <a:gd name="T32" fmla="*/ 254000 w 135"/>
                  <a:gd name="T33" fmla="*/ 944562 h 145"/>
                  <a:gd name="T34" fmla="*/ 174625 w 135"/>
                  <a:gd name="T35" fmla="*/ 881062 h 145"/>
                  <a:gd name="T36" fmla="*/ 103187 w 135"/>
                  <a:gd name="T37" fmla="*/ 865187 h 145"/>
                  <a:gd name="T38" fmla="*/ 15875 w 135"/>
                  <a:gd name="T39" fmla="*/ 873125 h 145"/>
                  <a:gd name="T40" fmla="*/ 31750 w 135"/>
                  <a:gd name="T41" fmla="*/ 801687 h 145"/>
                  <a:gd name="T42" fmla="*/ 0 w 135"/>
                  <a:gd name="T43" fmla="*/ 754062 h 145"/>
                  <a:gd name="T44" fmla="*/ 7937 w 135"/>
                  <a:gd name="T45" fmla="*/ 563562 h 145"/>
                  <a:gd name="T46" fmla="*/ 39687 w 135"/>
                  <a:gd name="T47" fmla="*/ 468312 h 145"/>
                  <a:gd name="T48" fmla="*/ 142875 w 135"/>
                  <a:gd name="T49" fmla="*/ 444500 h 145"/>
                  <a:gd name="T50" fmla="*/ 206375 w 135"/>
                  <a:gd name="T51" fmla="*/ 388937 h 145"/>
                  <a:gd name="T52" fmla="*/ 182562 w 135"/>
                  <a:gd name="T53" fmla="*/ 277812 h 145"/>
                  <a:gd name="T54" fmla="*/ 182562 w 135"/>
                  <a:gd name="T55" fmla="*/ 190500 h 145"/>
                  <a:gd name="T56" fmla="*/ 198437 w 135"/>
                  <a:gd name="T57" fmla="*/ 150812 h 145"/>
                  <a:gd name="T58" fmla="*/ 198437 w 135"/>
                  <a:gd name="T59" fmla="*/ 103187 h 145"/>
                  <a:gd name="T60" fmla="*/ 214312 w 135"/>
                  <a:gd name="T61" fmla="*/ 71437 h 145"/>
                  <a:gd name="T62" fmla="*/ 333375 w 135"/>
                  <a:gd name="T63" fmla="*/ 71437 h 145"/>
                  <a:gd name="T64" fmla="*/ 428625 w 135"/>
                  <a:gd name="T65" fmla="*/ 71437 h 145"/>
                  <a:gd name="T66" fmla="*/ 492125 w 135"/>
                  <a:gd name="T67" fmla="*/ 63500 h 145"/>
                  <a:gd name="T68" fmla="*/ 563562 w 135"/>
                  <a:gd name="T69" fmla="*/ 55562 h 145"/>
                  <a:gd name="T70" fmla="*/ 603250 w 135"/>
                  <a:gd name="T71" fmla="*/ 23812 h 145"/>
                  <a:gd name="T72" fmla="*/ 658812 w 135"/>
                  <a:gd name="T73" fmla="*/ 79375 h 145"/>
                  <a:gd name="T74" fmla="*/ 658812 w 135"/>
                  <a:gd name="T75" fmla="*/ 134937 h 145"/>
                  <a:gd name="T76" fmla="*/ 674687 w 135"/>
                  <a:gd name="T77" fmla="*/ 198437 h 145"/>
                  <a:gd name="T78" fmla="*/ 769937 w 135"/>
                  <a:gd name="T79" fmla="*/ 190500 h 145"/>
                  <a:gd name="T80" fmla="*/ 849312 w 135"/>
                  <a:gd name="T81" fmla="*/ 158750 h 145"/>
                  <a:gd name="T82" fmla="*/ 873125 w 135"/>
                  <a:gd name="T83" fmla="*/ 222250 h 145"/>
                  <a:gd name="T84" fmla="*/ 873125 w 135"/>
                  <a:gd name="T85" fmla="*/ 317500 h 145"/>
                  <a:gd name="T86" fmla="*/ 865187 w 135"/>
                  <a:gd name="T87" fmla="*/ 365125 h 145"/>
                  <a:gd name="T88" fmla="*/ 936625 w 135"/>
                  <a:gd name="T89" fmla="*/ 428625 h 145"/>
                  <a:gd name="T90" fmla="*/ 920750 w 135"/>
                  <a:gd name="T91" fmla="*/ 515937 h 145"/>
                  <a:gd name="T92" fmla="*/ 920750 w 135"/>
                  <a:gd name="T93" fmla="*/ 547687 h 145"/>
                  <a:gd name="T94" fmla="*/ 936625 w 135"/>
                  <a:gd name="T95" fmla="*/ 611187 h 145"/>
                  <a:gd name="T96" fmla="*/ 944562 w 135"/>
                  <a:gd name="T97" fmla="*/ 650875 h 145"/>
                  <a:gd name="T98" fmla="*/ 976312 w 135"/>
                  <a:gd name="T99" fmla="*/ 690562 h 145"/>
                  <a:gd name="T100" fmla="*/ 1016000 w 135"/>
                  <a:gd name="T101" fmla="*/ 762000 h 145"/>
                  <a:gd name="T102" fmla="*/ 1039812 w 135"/>
                  <a:gd name="T103" fmla="*/ 809625 h 145"/>
                  <a:gd name="T104" fmla="*/ 1055687 w 135"/>
                  <a:gd name="T105" fmla="*/ 865187 h 145"/>
                  <a:gd name="T106" fmla="*/ 1063625 w 135"/>
                  <a:gd name="T107" fmla="*/ 904875 h 145"/>
                  <a:gd name="T108" fmla="*/ 1008062 w 135"/>
                  <a:gd name="T109" fmla="*/ 920750 h 145"/>
                  <a:gd name="T110" fmla="*/ 960437 w 135"/>
                  <a:gd name="T111" fmla="*/ 952500 h 145"/>
                  <a:gd name="T112" fmla="*/ 968375 w 135"/>
                  <a:gd name="T113" fmla="*/ 1047750 h 145"/>
                  <a:gd name="T114" fmla="*/ 968375 w 135"/>
                  <a:gd name="T115" fmla="*/ 1047750 h 145"/>
                  <a:gd name="T116" fmla="*/ 968375 w 135"/>
                  <a:gd name="T117" fmla="*/ 1047750 h 145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35"/>
                  <a:gd name="T178" fmla="*/ 0 h 145"/>
                  <a:gd name="T179" fmla="*/ 135 w 135"/>
                  <a:gd name="T180" fmla="*/ 145 h 145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35" h="145">
                    <a:moveTo>
                      <a:pt x="122" y="132"/>
                    </a:moveTo>
                    <a:cubicBezTo>
                      <a:pt x="122" y="132"/>
                      <a:pt x="115" y="132"/>
                      <a:pt x="116" y="137"/>
                    </a:cubicBezTo>
                    <a:cubicBezTo>
                      <a:pt x="116" y="137"/>
                      <a:pt x="116" y="141"/>
                      <a:pt x="107" y="140"/>
                    </a:cubicBezTo>
                    <a:cubicBezTo>
                      <a:pt x="107" y="140"/>
                      <a:pt x="104" y="135"/>
                      <a:pt x="99" y="140"/>
                    </a:cubicBezTo>
                    <a:cubicBezTo>
                      <a:pt x="99" y="140"/>
                      <a:pt x="92" y="141"/>
                      <a:pt x="87" y="137"/>
                    </a:cubicBezTo>
                    <a:cubicBezTo>
                      <a:pt x="87" y="137"/>
                      <a:pt x="84" y="130"/>
                      <a:pt x="83" y="138"/>
                    </a:cubicBezTo>
                    <a:cubicBezTo>
                      <a:pt x="83" y="138"/>
                      <a:pt x="81" y="144"/>
                      <a:pt x="76" y="145"/>
                    </a:cubicBezTo>
                    <a:cubicBezTo>
                      <a:pt x="72" y="144"/>
                      <a:pt x="74" y="133"/>
                      <a:pt x="66" y="133"/>
                    </a:cubicBezTo>
                    <a:cubicBezTo>
                      <a:pt x="66" y="133"/>
                      <a:pt x="58" y="130"/>
                      <a:pt x="55" y="135"/>
                    </a:cubicBezTo>
                    <a:cubicBezTo>
                      <a:pt x="55" y="135"/>
                      <a:pt x="56" y="140"/>
                      <a:pt x="52" y="136"/>
                    </a:cubicBezTo>
                    <a:cubicBezTo>
                      <a:pt x="52" y="136"/>
                      <a:pt x="54" y="133"/>
                      <a:pt x="52" y="132"/>
                    </a:cubicBezTo>
                    <a:cubicBezTo>
                      <a:pt x="52" y="132"/>
                      <a:pt x="50" y="131"/>
                      <a:pt x="47" y="133"/>
                    </a:cubicBezTo>
                    <a:cubicBezTo>
                      <a:pt x="47" y="133"/>
                      <a:pt x="49" y="132"/>
                      <a:pt x="50" y="129"/>
                    </a:cubicBezTo>
                    <a:cubicBezTo>
                      <a:pt x="50" y="129"/>
                      <a:pt x="51" y="124"/>
                      <a:pt x="47" y="125"/>
                    </a:cubicBezTo>
                    <a:cubicBezTo>
                      <a:pt x="47" y="125"/>
                      <a:pt x="43" y="124"/>
                      <a:pt x="42" y="126"/>
                    </a:cubicBezTo>
                    <a:cubicBezTo>
                      <a:pt x="42" y="126"/>
                      <a:pt x="40" y="121"/>
                      <a:pt x="35" y="125"/>
                    </a:cubicBezTo>
                    <a:cubicBezTo>
                      <a:pt x="35" y="125"/>
                      <a:pt x="36" y="118"/>
                      <a:pt x="32" y="119"/>
                    </a:cubicBezTo>
                    <a:cubicBezTo>
                      <a:pt x="25" y="119"/>
                      <a:pt x="25" y="111"/>
                      <a:pt x="22" y="111"/>
                    </a:cubicBezTo>
                    <a:cubicBezTo>
                      <a:pt x="22" y="111"/>
                      <a:pt x="20" y="106"/>
                      <a:pt x="13" y="109"/>
                    </a:cubicBezTo>
                    <a:cubicBezTo>
                      <a:pt x="10" y="106"/>
                      <a:pt x="12" y="112"/>
                      <a:pt x="2" y="110"/>
                    </a:cubicBezTo>
                    <a:cubicBezTo>
                      <a:pt x="7" y="104"/>
                      <a:pt x="4" y="101"/>
                      <a:pt x="4" y="101"/>
                    </a:cubicBezTo>
                    <a:cubicBezTo>
                      <a:pt x="5" y="92"/>
                      <a:pt x="0" y="95"/>
                      <a:pt x="0" y="95"/>
                    </a:cubicBezTo>
                    <a:cubicBezTo>
                      <a:pt x="0" y="95"/>
                      <a:pt x="3" y="88"/>
                      <a:pt x="1" y="71"/>
                    </a:cubicBezTo>
                    <a:cubicBezTo>
                      <a:pt x="0" y="64"/>
                      <a:pt x="7" y="61"/>
                      <a:pt x="5" y="59"/>
                    </a:cubicBezTo>
                    <a:cubicBezTo>
                      <a:pt x="5" y="56"/>
                      <a:pt x="15" y="52"/>
                      <a:pt x="18" y="56"/>
                    </a:cubicBezTo>
                    <a:cubicBezTo>
                      <a:pt x="18" y="56"/>
                      <a:pt x="29" y="62"/>
                      <a:pt x="26" y="49"/>
                    </a:cubicBezTo>
                    <a:cubicBezTo>
                      <a:pt x="26" y="49"/>
                      <a:pt x="27" y="40"/>
                      <a:pt x="23" y="35"/>
                    </a:cubicBezTo>
                    <a:cubicBezTo>
                      <a:pt x="23" y="35"/>
                      <a:pt x="17" y="29"/>
                      <a:pt x="23" y="24"/>
                    </a:cubicBezTo>
                    <a:cubicBezTo>
                      <a:pt x="23" y="24"/>
                      <a:pt x="26" y="22"/>
                      <a:pt x="25" y="19"/>
                    </a:cubicBezTo>
                    <a:cubicBezTo>
                      <a:pt x="25" y="19"/>
                      <a:pt x="20" y="15"/>
                      <a:pt x="25" y="13"/>
                    </a:cubicBezTo>
                    <a:cubicBezTo>
                      <a:pt x="25" y="13"/>
                      <a:pt x="30" y="12"/>
                      <a:pt x="27" y="9"/>
                    </a:cubicBezTo>
                    <a:cubicBezTo>
                      <a:pt x="34" y="7"/>
                      <a:pt x="38" y="12"/>
                      <a:pt x="42" y="9"/>
                    </a:cubicBezTo>
                    <a:cubicBezTo>
                      <a:pt x="51" y="6"/>
                      <a:pt x="53" y="12"/>
                      <a:pt x="54" y="9"/>
                    </a:cubicBezTo>
                    <a:cubicBezTo>
                      <a:pt x="57" y="5"/>
                      <a:pt x="62" y="8"/>
                      <a:pt x="62" y="8"/>
                    </a:cubicBezTo>
                    <a:cubicBezTo>
                      <a:pt x="62" y="8"/>
                      <a:pt x="66" y="10"/>
                      <a:pt x="71" y="7"/>
                    </a:cubicBezTo>
                    <a:cubicBezTo>
                      <a:pt x="71" y="3"/>
                      <a:pt x="73" y="3"/>
                      <a:pt x="76" y="3"/>
                    </a:cubicBezTo>
                    <a:cubicBezTo>
                      <a:pt x="84" y="0"/>
                      <a:pt x="79" y="9"/>
                      <a:pt x="83" y="10"/>
                    </a:cubicBezTo>
                    <a:cubicBezTo>
                      <a:pt x="83" y="10"/>
                      <a:pt x="85" y="15"/>
                      <a:pt x="83" y="17"/>
                    </a:cubicBezTo>
                    <a:cubicBezTo>
                      <a:pt x="83" y="17"/>
                      <a:pt x="80" y="22"/>
                      <a:pt x="85" y="25"/>
                    </a:cubicBezTo>
                    <a:cubicBezTo>
                      <a:pt x="85" y="25"/>
                      <a:pt x="95" y="26"/>
                      <a:pt x="97" y="24"/>
                    </a:cubicBezTo>
                    <a:cubicBezTo>
                      <a:pt x="99" y="20"/>
                      <a:pt x="103" y="23"/>
                      <a:pt x="107" y="20"/>
                    </a:cubicBezTo>
                    <a:cubicBezTo>
                      <a:pt x="111" y="20"/>
                      <a:pt x="108" y="26"/>
                      <a:pt x="110" y="28"/>
                    </a:cubicBezTo>
                    <a:cubicBezTo>
                      <a:pt x="110" y="28"/>
                      <a:pt x="113" y="34"/>
                      <a:pt x="110" y="40"/>
                    </a:cubicBezTo>
                    <a:cubicBezTo>
                      <a:pt x="110" y="40"/>
                      <a:pt x="107" y="42"/>
                      <a:pt x="109" y="46"/>
                    </a:cubicBezTo>
                    <a:cubicBezTo>
                      <a:pt x="109" y="46"/>
                      <a:pt x="114" y="46"/>
                      <a:pt x="118" y="54"/>
                    </a:cubicBezTo>
                    <a:cubicBezTo>
                      <a:pt x="118" y="54"/>
                      <a:pt x="120" y="59"/>
                      <a:pt x="116" y="65"/>
                    </a:cubicBezTo>
                    <a:cubicBezTo>
                      <a:pt x="114" y="64"/>
                      <a:pt x="109" y="69"/>
                      <a:pt x="116" y="69"/>
                    </a:cubicBezTo>
                    <a:cubicBezTo>
                      <a:pt x="116" y="69"/>
                      <a:pt x="113" y="76"/>
                      <a:pt x="118" y="77"/>
                    </a:cubicBezTo>
                    <a:cubicBezTo>
                      <a:pt x="118" y="77"/>
                      <a:pt x="116" y="81"/>
                      <a:pt x="119" y="82"/>
                    </a:cubicBezTo>
                    <a:cubicBezTo>
                      <a:pt x="122" y="81"/>
                      <a:pt x="118" y="86"/>
                      <a:pt x="123" y="87"/>
                    </a:cubicBezTo>
                    <a:cubicBezTo>
                      <a:pt x="128" y="91"/>
                      <a:pt x="124" y="94"/>
                      <a:pt x="128" y="96"/>
                    </a:cubicBezTo>
                    <a:cubicBezTo>
                      <a:pt x="134" y="95"/>
                      <a:pt x="129" y="102"/>
                      <a:pt x="131" y="102"/>
                    </a:cubicBezTo>
                    <a:cubicBezTo>
                      <a:pt x="131" y="102"/>
                      <a:pt x="135" y="103"/>
                      <a:pt x="133" y="109"/>
                    </a:cubicBezTo>
                    <a:cubicBezTo>
                      <a:pt x="133" y="109"/>
                      <a:pt x="127" y="112"/>
                      <a:pt x="134" y="114"/>
                    </a:cubicBezTo>
                    <a:cubicBezTo>
                      <a:pt x="134" y="114"/>
                      <a:pt x="130" y="121"/>
                      <a:pt x="127" y="116"/>
                    </a:cubicBezTo>
                    <a:cubicBezTo>
                      <a:pt x="127" y="116"/>
                      <a:pt x="124" y="113"/>
                      <a:pt x="121" y="120"/>
                    </a:cubicBezTo>
                    <a:cubicBezTo>
                      <a:pt x="121" y="120"/>
                      <a:pt x="117" y="126"/>
                      <a:pt x="122" y="132"/>
                    </a:cubicBezTo>
                  </a:path>
                </a:pathLst>
              </a:custGeom>
              <a:solidFill>
                <a:schemeClr val="accent4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34" name="Freeform 1179">
                <a:extLst>
                  <a:ext uri="{FF2B5EF4-FFF2-40B4-BE49-F238E27FC236}">
                    <a16:creationId xmlns:a16="http://schemas.microsoft.com/office/drawing/2014/main" id="{BF85338D-F84F-4909-BF00-7C6BE31D17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4857" y="2822343"/>
                <a:ext cx="628575" cy="1165288"/>
              </a:xfrm>
              <a:custGeom>
                <a:avLst/>
                <a:gdLst>
                  <a:gd name="T0" fmla="*/ 460375 w 89"/>
                  <a:gd name="T1" fmla="*/ 39687 h 165"/>
                  <a:gd name="T2" fmla="*/ 476250 w 89"/>
                  <a:gd name="T3" fmla="*/ 103187 h 165"/>
                  <a:gd name="T4" fmla="*/ 484187 w 89"/>
                  <a:gd name="T5" fmla="*/ 150812 h 165"/>
                  <a:gd name="T6" fmla="*/ 539750 w 89"/>
                  <a:gd name="T7" fmla="*/ 214312 h 165"/>
                  <a:gd name="T8" fmla="*/ 595312 w 89"/>
                  <a:gd name="T9" fmla="*/ 230187 h 165"/>
                  <a:gd name="T10" fmla="*/ 611187 w 89"/>
                  <a:gd name="T11" fmla="*/ 301625 h 165"/>
                  <a:gd name="T12" fmla="*/ 595312 w 89"/>
                  <a:gd name="T13" fmla="*/ 373062 h 165"/>
                  <a:gd name="T14" fmla="*/ 571500 w 89"/>
                  <a:gd name="T15" fmla="*/ 428625 h 165"/>
                  <a:gd name="T16" fmla="*/ 611187 w 89"/>
                  <a:gd name="T17" fmla="*/ 500062 h 165"/>
                  <a:gd name="T18" fmla="*/ 682625 w 89"/>
                  <a:gd name="T19" fmla="*/ 523875 h 165"/>
                  <a:gd name="T20" fmla="*/ 666750 w 89"/>
                  <a:gd name="T21" fmla="*/ 555625 h 165"/>
                  <a:gd name="T22" fmla="*/ 666750 w 89"/>
                  <a:gd name="T23" fmla="*/ 603250 h 165"/>
                  <a:gd name="T24" fmla="*/ 650875 w 89"/>
                  <a:gd name="T25" fmla="*/ 642937 h 165"/>
                  <a:gd name="T26" fmla="*/ 650875 w 89"/>
                  <a:gd name="T27" fmla="*/ 730250 h 165"/>
                  <a:gd name="T28" fmla="*/ 674687 w 89"/>
                  <a:gd name="T29" fmla="*/ 841375 h 165"/>
                  <a:gd name="T30" fmla="*/ 611187 w 89"/>
                  <a:gd name="T31" fmla="*/ 896937 h 165"/>
                  <a:gd name="T32" fmla="*/ 508000 w 89"/>
                  <a:gd name="T33" fmla="*/ 920750 h 165"/>
                  <a:gd name="T34" fmla="*/ 476250 w 89"/>
                  <a:gd name="T35" fmla="*/ 1016000 h 165"/>
                  <a:gd name="T36" fmla="*/ 468312 w 89"/>
                  <a:gd name="T37" fmla="*/ 1198562 h 165"/>
                  <a:gd name="T38" fmla="*/ 412750 w 89"/>
                  <a:gd name="T39" fmla="*/ 1206500 h 165"/>
                  <a:gd name="T40" fmla="*/ 325437 w 89"/>
                  <a:gd name="T41" fmla="*/ 1238250 h 165"/>
                  <a:gd name="T42" fmla="*/ 269875 w 89"/>
                  <a:gd name="T43" fmla="*/ 1230312 h 165"/>
                  <a:gd name="T44" fmla="*/ 230187 w 89"/>
                  <a:gd name="T45" fmla="*/ 1214437 h 165"/>
                  <a:gd name="T46" fmla="*/ 158750 w 89"/>
                  <a:gd name="T47" fmla="*/ 1230312 h 165"/>
                  <a:gd name="T48" fmla="*/ 158750 w 89"/>
                  <a:gd name="T49" fmla="*/ 1277937 h 165"/>
                  <a:gd name="T50" fmla="*/ 103187 w 89"/>
                  <a:gd name="T51" fmla="*/ 1238250 h 165"/>
                  <a:gd name="T52" fmla="*/ 103187 w 89"/>
                  <a:gd name="T53" fmla="*/ 1238250 h 165"/>
                  <a:gd name="T54" fmla="*/ 47625 w 89"/>
                  <a:gd name="T55" fmla="*/ 1238250 h 165"/>
                  <a:gd name="T56" fmla="*/ 47625 w 89"/>
                  <a:gd name="T57" fmla="*/ 1238250 h 165"/>
                  <a:gd name="T58" fmla="*/ 31750 w 89"/>
                  <a:gd name="T59" fmla="*/ 1182687 h 165"/>
                  <a:gd name="T60" fmla="*/ 7937 w 89"/>
                  <a:gd name="T61" fmla="*/ 1055687 h 165"/>
                  <a:gd name="T62" fmla="*/ 7937 w 89"/>
                  <a:gd name="T63" fmla="*/ 912812 h 165"/>
                  <a:gd name="T64" fmla="*/ 23812 w 89"/>
                  <a:gd name="T65" fmla="*/ 793750 h 165"/>
                  <a:gd name="T66" fmla="*/ 15875 w 89"/>
                  <a:gd name="T67" fmla="*/ 674687 h 165"/>
                  <a:gd name="T68" fmla="*/ 23812 w 89"/>
                  <a:gd name="T69" fmla="*/ 619125 h 165"/>
                  <a:gd name="T70" fmla="*/ 39687 w 89"/>
                  <a:gd name="T71" fmla="*/ 539750 h 165"/>
                  <a:gd name="T72" fmla="*/ 47625 w 89"/>
                  <a:gd name="T73" fmla="*/ 500062 h 165"/>
                  <a:gd name="T74" fmla="*/ 39687 w 89"/>
                  <a:gd name="T75" fmla="*/ 468312 h 165"/>
                  <a:gd name="T76" fmla="*/ 55562 w 89"/>
                  <a:gd name="T77" fmla="*/ 349250 h 165"/>
                  <a:gd name="T78" fmla="*/ 79375 w 89"/>
                  <a:gd name="T79" fmla="*/ 246062 h 165"/>
                  <a:gd name="T80" fmla="*/ 103187 w 89"/>
                  <a:gd name="T81" fmla="*/ 230187 h 165"/>
                  <a:gd name="T82" fmla="*/ 142875 w 89"/>
                  <a:gd name="T83" fmla="*/ 206375 h 165"/>
                  <a:gd name="T84" fmla="*/ 206375 w 89"/>
                  <a:gd name="T85" fmla="*/ 166687 h 165"/>
                  <a:gd name="T86" fmla="*/ 269875 w 89"/>
                  <a:gd name="T87" fmla="*/ 95250 h 165"/>
                  <a:gd name="T88" fmla="*/ 341312 w 89"/>
                  <a:gd name="T89" fmla="*/ 47625 h 165"/>
                  <a:gd name="T90" fmla="*/ 388937 w 89"/>
                  <a:gd name="T91" fmla="*/ 31750 h 165"/>
                  <a:gd name="T92" fmla="*/ 460375 w 89"/>
                  <a:gd name="T93" fmla="*/ 39687 h 165"/>
                  <a:gd name="T94" fmla="*/ 460375 w 89"/>
                  <a:gd name="T95" fmla="*/ 39687 h 165"/>
                  <a:gd name="T96" fmla="*/ 460375 w 89"/>
                  <a:gd name="T97" fmla="*/ 39687 h 16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89"/>
                  <a:gd name="T148" fmla="*/ 0 h 165"/>
                  <a:gd name="T149" fmla="*/ 89 w 89"/>
                  <a:gd name="T150" fmla="*/ 165 h 165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89" h="165">
                    <a:moveTo>
                      <a:pt x="58" y="5"/>
                    </a:moveTo>
                    <a:cubicBezTo>
                      <a:pt x="58" y="9"/>
                      <a:pt x="63" y="8"/>
                      <a:pt x="60" y="13"/>
                    </a:cubicBezTo>
                    <a:cubicBezTo>
                      <a:pt x="60" y="13"/>
                      <a:pt x="56" y="16"/>
                      <a:pt x="61" y="19"/>
                    </a:cubicBezTo>
                    <a:cubicBezTo>
                      <a:pt x="66" y="23"/>
                      <a:pt x="66" y="27"/>
                      <a:pt x="68" y="27"/>
                    </a:cubicBezTo>
                    <a:cubicBezTo>
                      <a:pt x="68" y="27"/>
                      <a:pt x="72" y="33"/>
                      <a:pt x="75" y="29"/>
                    </a:cubicBezTo>
                    <a:cubicBezTo>
                      <a:pt x="75" y="29"/>
                      <a:pt x="77" y="30"/>
                      <a:pt x="77" y="38"/>
                    </a:cubicBezTo>
                    <a:cubicBezTo>
                      <a:pt x="74" y="43"/>
                      <a:pt x="80" y="45"/>
                      <a:pt x="75" y="47"/>
                    </a:cubicBezTo>
                    <a:cubicBezTo>
                      <a:pt x="75" y="47"/>
                      <a:pt x="71" y="47"/>
                      <a:pt x="72" y="54"/>
                    </a:cubicBezTo>
                    <a:cubicBezTo>
                      <a:pt x="72" y="54"/>
                      <a:pt x="72" y="58"/>
                      <a:pt x="77" y="63"/>
                    </a:cubicBezTo>
                    <a:cubicBezTo>
                      <a:pt x="77" y="63"/>
                      <a:pt x="84" y="63"/>
                      <a:pt x="86" y="66"/>
                    </a:cubicBezTo>
                    <a:cubicBezTo>
                      <a:pt x="89" y="69"/>
                      <a:pt x="84" y="70"/>
                      <a:pt x="84" y="70"/>
                    </a:cubicBezTo>
                    <a:cubicBezTo>
                      <a:pt x="79" y="72"/>
                      <a:pt x="84" y="76"/>
                      <a:pt x="84" y="76"/>
                    </a:cubicBezTo>
                    <a:cubicBezTo>
                      <a:pt x="85" y="79"/>
                      <a:pt x="82" y="81"/>
                      <a:pt x="82" y="81"/>
                    </a:cubicBezTo>
                    <a:cubicBezTo>
                      <a:pt x="76" y="86"/>
                      <a:pt x="82" y="92"/>
                      <a:pt x="82" y="92"/>
                    </a:cubicBezTo>
                    <a:cubicBezTo>
                      <a:pt x="86" y="97"/>
                      <a:pt x="85" y="106"/>
                      <a:pt x="85" y="106"/>
                    </a:cubicBezTo>
                    <a:cubicBezTo>
                      <a:pt x="88" y="119"/>
                      <a:pt x="77" y="113"/>
                      <a:pt x="77" y="113"/>
                    </a:cubicBezTo>
                    <a:cubicBezTo>
                      <a:pt x="74" y="109"/>
                      <a:pt x="64" y="113"/>
                      <a:pt x="64" y="116"/>
                    </a:cubicBezTo>
                    <a:cubicBezTo>
                      <a:pt x="66" y="118"/>
                      <a:pt x="59" y="121"/>
                      <a:pt x="60" y="128"/>
                    </a:cubicBezTo>
                    <a:cubicBezTo>
                      <a:pt x="62" y="145"/>
                      <a:pt x="59" y="151"/>
                      <a:pt x="59" y="151"/>
                    </a:cubicBezTo>
                    <a:cubicBezTo>
                      <a:pt x="56" y="154"/>
                      <a:pt x="52" y="152"/>
                      <a:pt x="52" y="152"/>
                    </a:cubicBezTo>
                    <a:cubicBezTo>
                      <a:pt x="47" y="157"/>
                      <a:pt x="41" y="156"/>
                      <a:pt x="41" y="156"/>
                    </a:cubicBezTo>
                    <a:cubicBezTo>
                      <a:pt x="39" y="153"/>
                      <a:pt x="34" y="155"/>
                      <a:pt x="34" y="155"/>
                    </a:cubicBezTo>
                    <a:cubicBezTo>
                      <a:pt x="30" y="159"/>
                      <a:pt x="29" y="153"/>
                      <a:pt x="29" y="153"/>
                    </a:cubicBezTo>
                    <a:cubicBezTo>
                      <a:pt x="24" y="153"/>
                      <a:pt x="20" y="155"/>
                      <a:pt x="20" y="155"/>
                    </a:cubicBezTo>
                    <a:cubicBezTo>
                      <a:pt x="23" y="158"/>
                      <a:pt x="20" y="161"/>
                      <a:pt x="20" y="161"/>
                    </a:cubicBezTo>
                    <a:cubicBezTo>
                      <a:pt x="15" y="165"/>
                      <a:pt x="13" y="156"/>
                      <a:pt x="13" y="156"/>
                    </a:cubicBezTo>
                    <a:lnTo>
                      <a:pt x="6" y="156"/>
                    </a:lnTo>
                    <a:cubicBezTo>
                      <a:pt x="7" y="151"/>
                      <a:pt x="4" y="149"/>
                      <a:pt x="4" y="149"/>
                    </a:cubicBezTo>
                    <a:cubicBezTo>
                      <a:pt x="0" y="145"/>
                      <a:pt x="1" y="133"/>
                      <a:pt x="1" y="133"/>
                    </a:cubicBezTo>
                    <a:cubicBezTo>
                      <a:pt x="0" y="126"/>
                      <a:pt x="1" y="115"/>
                      <a:pt x="1" y="115"/>
                    </a:cubicBezTo>
                    <a:cubicBezTo>
                      <a:pt x="4" y="112"/>
                      <a:pt x="0" y="106"/>
                      <a:pt x="3" y="100"/>
                    </a:cubicBezTo>
                    <a:cubicBezTo>
                      <a:pt x="6" y="93"/>
                      <a:pt x="2" y="85"/>
                      <a:pt x="2" y="85"/>
                    </a:cubicBezTo>
                    <a:cubicBezTo>
                      <a:pt x="0" y="80"/>
                      <a:pt x="3" y="78"/>
                      <a:pt x="3" y="78"/>
                    </a:cubicBezTo>
                    <a:cubicBezTo>
                      <a:pt x="3" y="78"/>
                      <a:pt x="5" y="75"/>
                      <a:pt x="5" y="68"/>
                    </a:cubicBezTo>
                    <a:cubicBezTo>
                      <a:pt x="4" y="67"/>
                      <a:pt x="6" y="63"/>
                      <a:pt x="6" y="63"/>
                    </a:cubicBezTo>
                    <a:cubicBezTo>
                      <a:pt x="8" y="60"/>
                      <a:pt x="5" y="59"/>
                      <a:pt x="5" y="59"/>
                    </a:cubicBezTo>
                    <a:cubicBezTo>
                      <a:pt x="1" y="48"/>
                      <a:pt x="7" y="44"/>
                      <a:pt x="7" y="44"/>
                    </a:cubicBezTo>
                    <a:cubicBezTo>
                      <a:pt x="7" y="34"/>
                      <a:pt x="10" y="38"/>
                      <a:pt x="10" y="31"/>
                    </a:cubicBezTo>
                    <a:cubicBezTo>
                      <a:pt x="12" y="31"/>
                      <a:pt x="13" y="29"/>
                      <a:pt x="13" y="29"/>
                    </a:cubicBezTo>
                    <a:cubicBezTo>
                      <a:pt x="16" y="22"/>
                      <a:pt x="18" y="26"/>
                      <a:pt x="18" y="26"/>
                    </a:cubicBezTo>
                    <a:cubicBezTo>
                      <a:pt x="22" y="27"/>
                      <a:pt x="26" y="21"/>
                      <a:pt x="26" y="21"/>
                    </a:cubicBezTo>
                    <a:cubicBezTo>
                      <a:pt x="33" y="16"/>
                      <a:pt x="34" y="12"/>
                      <a:pt x="34" y="12"/>
                    </a:cubicBezTo>
                    <a:cubicBezTo>
                      <a:pt x="38" y="5"/>
                      <a:pt x="43" y="6"/>
                      <a:pt x="43" y="6"/>
                    </a:cubicBezTo>
                    <a:cubicBezTo>
                      <a:pt x="47" y="7"/>
                      <a:pt x="49" y="4"/>
                      <a:pt x="49" y="4"/>
                    </a:cubicBezTo>
                    <a:cubicBezTo>
                      <a:pt x="52" y="0"/>
                      <a:pt x="54" y="6"/>
                      <a:pt x="58" y="5"/>
                    </a:cubicBezTo>
                  </a:path>
                </a:pathLst>
              </a:custGeom>
              <a:solidFill>
                <a:schemeClr val="accent4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35" name="Freeform 1180">
                <a:extLst>
                  <a:ext uri="{FF2B5EF4-FFF2-40B4-BE49-F238E27FC236}">
                    <a16:creationId xmlns:a16="http://schemas.microsoft.com/office/drawing/2014/main" id="{36189A21-171D-488F-A352-49874D2A32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346" y="3818135"/>
                <a:ext cx="974645" cy="494364"/>
              </a:xfrm>
              <a:custGeom>
                <a:avLst/>
                <a:gdLst>
                  <a:gd name="T0" fmla="*/ 1031875 w 138"/>
                  <a:gd name="T1" fmla="*/ 87313 h 70"/>
                  <a:gd name="T2" fmla="*/ 1071563 w 138"/>
                  <a:gd name="T3" fmla="*/ 134938 h 70"/>
                  <a:gd name="T4" fmla="*/ 1055688 w 138"/>
                  <a:gd name="T5" fmla="*/ 206375 h 70"/>
                  <a:gd name="T6" fmla="*/ 992188 w 138"/>
                  <a:gd name="T7" fmla="*/ 198438 h 70"/>
                  <a:gd name="T8" fmla="*/ 928688 w 138"/>
                  <a:gd name="T9" fmla="*/ 214313 h 70"/>
                  <a:gd name="T10" fmla="*/ 849313 w 138"/>
                  <a:gd name="T11" fmla="*/ 222250 h 70"/>
                  <a:gd name="T12" fmla="*/ 793750 w 138"/>
                  <a:gd name="T13" fmla="*/ 230188 h 70"/>
                  <a:gd name="T14" fmla="*/ 762000 w 138"/>
                  <a:gd name="T15" fmla="*/ 254000 h 70"/>
                  <a:gd name="T16" fmla="*/ 730250 w 138"/>
                  <a:gd name="T17" fmla="*/ 285750 h 70"/>
                  <a:gd name="T18" fmla="*/ 706438 w 138"/>
                  <a:gd name="T19" fmla="*/ 293688 h 70"/>
                  <a:gd name="T20" fmla="*/ 603250 w 138"/>
                  <a:gd name="T21" fmla="*/ 317500 h 70"/>
                  <a:gd name="T22" fmla="*/ 579438 w 138"/>
                  <a:gd name="T23" fmla="*/ 381000 h 70"/>
                  <a:gd name="T24" fmla="*/ 444500 w 138"/>
                  <a:gd name="T25" fmla="*/ 436563 h 70"/>
                  <a:gd name="T26" fmla="*/ 444500 w 138"/>
                  <a:gd name="T27" fmla="*/ 436563 h 70"/>
                  <a:gd name="T28" fmla="*/ 261938 w 138"/>
                  <a:gd name="T29" fmla="*/ 452438 h 70"/>
                  <a:gd name="T30" fmla="*/ 261938 w 138"/>
                  <a:gd name="T31" fmla="*/ 452438 h 70"/>
                  <a:gd name="T32" fmla="*/ 119063 w 138"/>
                  <a:gd name="T33" fmla="*/ 508000 h 70"/>
                  <a:gd name="T34" fmla="*/ 0 w 138"/>
                  <a:gd name="T35" fmla="*/ 555625 h 70"/>
                  <a:gd name="T36" fmla="*/ 23813 w 138"/>
                  <a:gd name="T37" fmla="*/ 460375 h 70"/>
                  <a:gd name="T38" fmla="*/ 47625 w 138"/>
                  <a:gd name="T39" fmla="*/ 333375 h 70"/>
                  <a:gd name="T40" fmla="*/ 119063 w 138"/>
                  <a:gd name="T41" fmla="*/ 269875 h 70"/>
                  <a:gd name="T42" fmla="*/ 142875 w 138"/>
                  <a:gd name="T43" fmla="*/ 254000 h 70"/>
                  <a:gd name="T44" fmla="*/ 261938 w 138"/>
                  <a:gd name="T45" fmla="*/ 174625 h 70"/>
                  <a:gd name="T46" fmla="*/ 317500 w 138"/>
                  <a:gd name="T47" fmla="*/ 134938 h 70"/>
                  <a:gd name="T48" fmla="*/ 317500 w 138"/>
                  <a:gd name="T49" fmla="*/ 79375 h 70"/>
                  <a:gd name="T50" fmla="*/ 333375 w 138"/>
                  <a:gd name="T51" fmla="*/ 7938 h 70"/>
                  <a:gd name="T52" fmla="*/ 365125 w 138"/>
                  <a:gd name="T53" fmla="*/ 23813 h 70"/>
                  <a:gd name="T54" fmla="*/ 396875 w 138"/>
                  <a:gd name="T55" fmla="*/ 31750 h 70"/>
                  <a:gd name="T56" fmla="*/ 436563 w 138"/>
                  <a:gd name="T57" fmla="*/ 55563 h 70"/>
                  <a:gd name="T58" fmla="*/ 468313 w 138"/>
                  <a:gd name="T59" fmla="*/ 63500 h 70"/>
                  <a:gd name="T60" fmla="*/ 523875 w 138"/>
                  <a:gd name="T61" fmla="*/ 87313 h 70"/>
                  <a:gd name="T62" fmla="*/ 571500 w 138"/>
                  <a:gd name="T63" fmla="*/ 111125 h 70"/>
                  <a:gd name="T64" fmla="*/ 619125 w 138"/>
                  <a:gd name="T65" fmla="*/ 119063 h 70"/>
                  <a:gd name="T66" fmla="*/ 619125 w 138"/>
                  <a:gd name="T67" fmla="*/ 119063 h 70"/>
                  <a:gd name="T68" fmla="*/ 674688 w 138"/>
                  <a:gd name="T69" fmla="*/ 119063 h 70"/>
                  <a:gd name="T70" fmla="*/ 674688 w 138"/>
                  <a:gd name="T71" fmla="*/ 119063 h 70"/>
                  <a:gd name="T72" fmla="*/ 730250 w 138"/>
                  <a:gd name="T73" fmla="*/ 158750 h 70"/>
                  <a:gd name="T74" fmla="*/ 730250 w 138"/>
                  <a:gd name="T75" fmla="*/ 111125 h 70"/>
                  <a:gd name="T76" fmla="*/ 801688 w 138"/>
                  <a:gd name="T77" fmla="*/ 95250 h 70"/>
                  <a:gd name="T78" fmla="*/ 841375 w 138"/>
                  <a:gd name="T79" fmla="*/ 111125 h 70"/>
                  <a:gd name="T80" fmla="*/ 896938 w 138"/>
                  <a:gd name="T81" fmla="*/ 119063 h 70"/>
                  <a:gd name="T82" fmla="*/ 984250 w 138"/>
                  <a:gd name="T83" fmla="*/ 87313 h 70"/>
                  <a:gd name="T84" fmla="*/ 1031875 w 138"/>
                  <a:gd name="T85" fmla="*/ 87313 h 70"/>
                  <a:gd name="T86" fmla="*/ 1031875 w 138"/>
                  <a:gd name="T87" fmla="*/ 87313 h 70"/>
                  <a:gd name="T88" fmla="*/ 1031875 w 138"/>
                  <a:gd name="T89" fmla="*/ 87313 h 7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38"/>
                  <a:gd name="T136" fmla="*/ 0 h 70"/>
                  <a:gd name="T137" fmla="*/ 138 w 138"/>
                  <a:gd name="T138" fmla="*/ 70 h 7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38" h="70">
                    <a:moveTo>
                      <a:pt x="130" y="11"/>
                    </a:moveTo>
                    <a:cubicBezTo>
                      <a:pt x="130" y="11"/>
                      <a:pt x="136" y="8"/>
                      <a:pt x="135" y="17"/>
                    </a:cubicBezTo>
                    <a:cubicBezTo>
                      <a:pt x="135" y="17"/>
                      <a:pt x="138" y="20"/>
                      <a:pt x="133" y="26"/>
                    </a:cubicBezTo>
                    <a:cubicBezTo>
                      <a:pt x="133" y="26"/>
                      <a:pt x="132" y="21"/>
                      <a:pt x="125" y="25"/>
                    </a:cubicBezTo>
                    <a:cubicBezTo>
                      <a:pt x="125" y="25"/>
                      <a:pt x="123" y="31"/>
                      <a:pt x="117" y="27"/>
                    </a:cubicBezTo>
                    <a:cubicBezTo>
                      <a:pt x="113" y="23"/>
                      <a:pt x="108" y="31"/>
                      <a:pt x="107" y="28"/>
                    </a:cubicBezTo>
                    <a:cubicBezTo>
                      <a:pt x="107" y="28"/>
                      <a:pt x="100" y="24"/>
                      <a:pt x="100" y="29"/>
                    </a:cubicBezTo>
                    <a:cubicBezTo>
                      <a:pt x="100" y="29"/>
                      <a:pt x="99" y="34"/>
                      <a:pt x="96" y="32"/>
                    </a:cubicBezTo>
                    <a:cubicBezTo>
                      <a:pt x="96" y="32"/>
                      <a:pt x="96" y="27"/>
                      <a:pt x="92" y="36"/>
                    </a:cubicBezTo>
                    <a:cubicBezTo>
                      <a:pt x="92" y="36"/>
                      <a:pt x="92" y="34"/>
                      <a:pt x="89" y="37"/>
                    </a:cubicBezTo>
                    <a:cubicBezTo>
                      <a:pt x="89" y="37"/>
                      <a:pt x="83" y="37"/>
                      <a:pt x="76" y="40"/>
                    </a:cubicBezTo>
                    <a:cubicBezTo>
                      <a:pt x="76" y="40"/>
                      <a:pt x="76" y="43"/>
                      <a:pt x="73" y="48"/>
                    </a:cubicBezTo>
                    <a:cubicBezTo>
                      <a:pt x="67" y="56"/>
                      <a:pt x="67" y="54"/>
                      <a:pt x="56" y="55"/>
                    </a:cubicBezTo>
                    <a:lnTo>
                      <a:pt x="33" y="57"/>
                    </a:lnTo>
                    <a:cubicBezTo>
                      <a:pt x="33" y="57"/>
                      <a:pt x="20" y="53"/>
                      <a:pt x="15" y="64"/>
                    </a:cubicBezTo>
                    <a:cubicBezTo>
                      <a:pt x="15" y="64"/>
                      <a:pt x="12" y="70"/>
                      <a:pt x="0" y="70"/>
                    </a:cubicBezTo>
                    <a:cubicBezTo>
                      <a:pt x="6" y="62"/>
                      <a:pt x="3" y="58"/>
                      <a:pt x="3" y="58"/>
                    </a:cubicBezTo>
                    <a:cubicBezTo>
                      <a:pt x="0" y="49"/>
                      <a:pt x="6" y="42"/>
                      <a:pt x="6" y="42"/>
                    </a:cubicBezTo>
                    <a:cubicBezTo>
                      <a:pt x="13" y="40"/>
                      <a:pt x="15" y="34"/>
                      <a:pt x="15" y="34"/>
                    </a:cubicBezTo>
                    <a:cubicBezTo>
                      <a:pt x="16" y="35"/>
                      <a:pt x="18" y="32"/>
                      <a:pt x="18" y="32"/>
                    </a:cubicBezTo>
                    <a:cubicBezTo>
                      <a:pt x="26" y="20"/>
                      <a:pt x="33" y="22"/>
                      <a:pt x="33" y="22"/>
                    </a:cubicBezTo>
                    <a:cubicBezTo>
                      <a:pt x="41" y="23"/>
                      <a:pt x="40" y="17"/>
                      <a:pt x="40" y="17"/>
                    </a:cubicBezTo>
                    <a:cubicBezTo>
                      <a:pt x="41" y="12"/>
                      <a:pt x="40" y="10"/>
                      <a:pt x="40" y="10"/>
                    </a:cubicBezTo>
                    <a:cubicBezTo>
                      <a:pt x="37" y="3"/>
                      <a:pt x="42" y="1"/>
                      <a:pt x="42" y="1"/>
                    </a:cubicBezTo>
                    <a:cubicBezTo>
                      <a:pt x="42" y="1"/>
                      <a:pt x="46" y="1"/>
                      <a:pt x="46" y="3"/>
                    </a:cubicBezTo>
                    <a:cubicBezTo>
                      <a:pt x="46" y="3"/>
                      <a:pt x="47" y="7"/>
                      <a:pt x="50" y="4"/>
                    </a:cubicBezTo>
                    <a:cubicBezTo>
                      <a:pt x="50" y="4"/>
                      <a:pt x="53" y="0"/>
                      <a:pt x="55" y="7"/>
                    </a:cubicBezTo>
                    <a:cubicBezTo>
                      <a:pt x="55" y="7"/>
                      <a:pt x="52" y="15"/>
                      <a:pt x="59" y="8"/>
                    </a:cubicBezTo>
                    <a:cubicBezTo>
                      <a:pt x="59" y="8"/>
                      <a:pt x="64" y="3"/>
                      <a:pt x="66" y="11"/>
                    </a:cubicBezTo>
                    <a:cubicBezTo>
                      <a:pt x="66" y="11"/>
                      <a:pt x="67" y="15"/>
                      <a:pt x="72" y="14"/>
                    </a:cubicBezTo>
                    <a:cubicBezTo>
                      <a:pt x="72" y="14"/>
                      <a:pt x="75" y="14"/>
                      <a:pt x="78" y="15"/>
                    </a:cubicBezTo>
                    <a:lnTo>
                      <a:pt x="85" y="15"/>
                    </a:lnTo>
                    <a:cubicBezTo>
                      <a:pt x="85" y="15"/>
                      <a:pt x="87" y="24"/>
                      <a:pt x="92" y="20"/>
                    </a:cubicBezTo>
                    <a:cubicBezTo>
                      <a:pt x="92" y="20"/>
                      <a:pt x="95" y="17"/>
                      <a:pt x="92" y="14"/>
                    </a:cubicBezTo>
                    <a:cubicBezTo>
                      <a:pt x="92" y="14"/>
                      <a:pt x="96" y="12"/>
                      <a:pt x="101" y="12"/>
                    </a:cubicBezTo>
                    <a:cubicBezTo>
                      <a:pt x="101" y="12"/>
                      <a:pt x="102" y="18"/>
                      <a:pt x="106" y="14"/>
                    </a:cubicBezTo>
                    <a:cubicBezTo>
                      <a:pt x="106" y="14"/>
                      <a:pt x="111" y="12"/>
                      <a:pt x="113" y="15"/>
                    </a:cubicBezTo>
                    <a:cubicBezTo>
                      <a:pt x="113" y="15"/>
                      <a:pt x="119" y="16"/>
                      <a:pt x="124" y="11"/>
                    </a:cubicBezTo>
                    <a:cubicBezTo>
                      <a:pt x="124" y="11"/>
                      <a:pt x="128" y="13"/>
                      <a:pt x="130" y="11"/>
                    </a:cubicBezTo>
                  </a:path>
                </a:pathLst>
              </a:custGeom>
              <a:solidFill>
                <a:schemeClr val="tx2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36" name="Freeform 1181">
                <a:extLst>
                  <a:ext uri="{FF2B5EF4-FFF2-40B4-BE49-F238E27FC236}">
                    <a16:creationId xmlns:a16="http://schemas.microsoft.com/office/drawing/2014/main" id="{25B58B6D-0E0A-4763-87BF-F4F310B39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889" y="3477244"/>
                <a:ext cx="882831" cy="713298"/>
              </a:xfrm>
              <a:custGeom>
                <a:avLst/>
                <a:gdLst>
                  <a:gd name="T0" fmla="*/ 579437 w 125"/>
                  <a:gd name="T1" fmla="*/ 285750 h 101"/>
                  <a:gd name="T2" fmla="*/ 523875 w 125"/>
                  <a:gd name="T3" fmla="*/ 277812 h 101"/>
                  <a:gd name="T4" fmla="*/ 523875 w 125"/>
                  <a:gd name="T5" fmla="*/ 277812 h 101"/>
                  <a:gd name="T6" fmla="*/ 476250 w 125"/>
                  <a:gd name="T7" fmla="*/ 246062 h 101"/>
                  <a:gd name="T8" fmla="*/ 428625 w 125"/>
                  <a:gd name="T9" fmla="*/ 214312 h 101"/>
                  <a:gd name="T10" fmla="*/ 388937 w 125"/>
                  <a:gd name="T11" fmla="*/ 182562 h 101"/>
                  <a:gd name="T12" fmla="*/ 349250 w 125"/>
                  <a:gd name="T13" fmla="*/ 150812 h 101"/>
                  <a:gd name="T14" fmla="*/ 333375 w 125"/>
                  <a:gd name="T15" fmla="*/ 55562 h 101"/>
                  <a:gd name="T16" fmla="*/ 333375 w 125"/>
                  <a:gd name="T17" fmla="*/ 55562 h 101"/>
                  <a:gd name="T18" fmla="*/ 269875 w 125"/>
                  <a:gd name="T19" fmla="*/ 39687 h 101"/>
                  <a:gd name="T20" fmla="*/ 269875 w 125"/>
                  <a:gd name="T21" fmla="*/ 39687 h 101"/>
                  <a:gd name="T22" fmla="*/ 214312 w 125"/>
                  <a:gd name="T23" fmla="*/ 15875 h 101"/>
                  <a:gd name="T24" fmla="*/ 206375 w 125"/>
                  <a:gd name="T25" fmla="*/ 39687 h 101"/>
                  <a:gd name="T26" fmla="*/ 150812 w 125"/>
                  <a:gd name="T27" fmla="*/ 103187 h 101"/>
                  <a:gd name="T28" fmla="*/ 119062 w 125"/>
                  <a:gd name="T29" fmla="*/ 182562 h 101"/>
                  <a:gd name="T30" fmla="*/ 23812 w 125"/>
                  <a:gd name="T31" fmla="*/ 285750 h 101"/>
                  <a:gd name="T32" fmla="*/ 0 w 125"/>
                  <a:gd name="T33" fmla="*/ 396875 h 101"/>
                  <a:gd name="T34" fmla="*/ 47625 w 125"/>
                  <a:gd name="T35" fmla="*/ 436562 h 101"/>
                  <a:gd name="T36" fmla="*/ 71437 w 125"/>
                  <a:gd name="T37" fmla="*/ 476250 h 101"/>
                  <a:gd name="T38" fmla="*/ 103187 w 125"/>
                  <a:gd name="T39" fmla="*/ 508000 h 101"/>
                  <a:gd name="T40" fmla="*/ 158750 w 125"/>
                  <a:gd name="T41" fmla="*/ 563562 h 101"/>
                  <a:gd name="T42" fmla="*/ 206375 w 125"/>
                  <a:gd name="T43" fmla="*/ 611187 h 101"/>
                  <a:gd name="T44" fmla="*/ 254000 w 125"/>
                  <a:gd name="T45" fmla="*/ 658812 h 101"/>
                  <a:gd name="T46" fmla="*/ 254000 w 125"/>
                  <a:gd name="T47" fmla="*/ 714375 h 101"/>
                  <a:gd name="T48" fmla="*/ 349250 w 125"/>
                  <a:gd name="T49" fmla="*/ 682625 h 101"/>
                  <a:gd name="T50" fmla="*/ 436562 w 125"/>
                  <a:gd name="T51" fmla="*/ 658812 h 101"/>
                  <a:gd name="T52" fmla="*/ 523875 w 125"/>
                  <a:gd name="T53" fmla="*/ 706437 h 101"/>
                  <a:gd name="T54" fmla="*/ 603250 w 125"/>
                  <a:gd name="T55" fmla="*/ 730250 h 101"/>
                  <a:gd name="T56" fmla="*/ 706437 w 125"/>
                  <a:gd name="T57" fmla="*/ 762000 h 101"/>
                  <a:gd name="T58" fmla="*/ 841375 w 125"/>
                  <a:gd name="T59" fmla="*/ 785812 h 101"/>
                  <a:gd name="T60" fmla="*/ 952500 w 125"/>
                  <a:gd name="T61" fmla="*/ 785812 h 101"/>
                  <a:gd name="T62" fmla="*/ 952500 w 125"/>
                  <a:gd name="T63" fmla="*/ 690562 h 101"/>
                  <a:gd name="T64" fmla="*/ 936625 w 125"/>
                  <a:gd name="T65" fmla="*/ 627062 h 101"/>
                  <a:gd name="T66" fmla="*/ 881062 w 125"/>
                  <a:gd name="T67" fmla="*/ 555625 h 101"/>
                  <a:gd name="T68" fmla="*/ 841375 w 125"/>
                  <a:gd name="T69" fmla="*/ 539750 h 101"/>
                  <a:gd name="T70" fmla="*/ 785812 w 125"/>
                  <a:gd name="T71" fmla="*/ 500062 h 101"/>
                  <a:gd name="T72" fmla="*/ 777875 w 125"/>
                  <a:gd name="T73" fmla="*/ 428625 h 101"/>
                  <a:gd name="T74" fmla="*/ 730250 w 125"/>
                  <a:gd name="T75" fmla="*/ 452437 h 101"/>
                  <a:gd name="T76" fmla="*/ 706437 w 125"/>
                  <a:gd name="T77" fmla="*/ 420687 h 101"/>
                  <a:gd name="T78" fmla="*/ 682625 w 125"/>
                  <a:gd name="T79" fmla="*/ 396875 h 101"/>
                  <a:gd name="T80" fmla="*/ 619125 w 125"/>
                  <a:gd name="T81" fmla="*/ 341312 h 101"/>
                  <a:gd name="T82" fmla="*/ 579437 w 125"/>
                  <a:gd name="T83" fmla="*/ 285750 h 101"/>
                  <a:gd name="T84" fmla="*/ 579437 w 125"/>
                  <a:gd name="T85" fmla="*/ 285750 h 101"/>
                  <a:gd name="T86" fmla="*/ 579437 w 125"/>
                  <a:gd name="T87" fmla="*/ 285750 h 101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25"/>
                  <a:gd name="T133" fmla="*/ 0 h 101"/>
                  <a:gd name="T134" fmla="*/ 125 w 125"/>
                  <a:gd name="T135" fmla="*/ 101 h 101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25" h="101">
                    <a:moveTo>
                      <a:pt x="73" y="36"/>
                    </a:moveTo>
                    <a:lnTo>
                      <a:pt x="66" y="35"/>
                    </a:lnTo>
                    <a:cubicBezTo>
                      <a:pt x="66" y="35"/>
                      <a:pt x="65" y="31"/>
                      <a:pt x="60" y="31"/>
                    </a:cubicBezTo>
                    <a:cubicBezTo>
                      <a:pt x="60" y="31"/>
                      <a:pt x="55" y="32"/>
                      <a:pt x="54" y="27"/>
                    </a:cubicBezTo>
                    <a:cubicBezTo>
                      <a:pt x="54" y="27"/>
                      <a:pt x="54" y="20"/>
                      <a:pt x="49" y="23"/>
                    </a:cubicBezTo>
                    <a:cubicBezTo>
                      <a:pt x="49" y="23"/>
                      <a:pt x="44" y="22"/>
                      <a:pt x="44" y="19"/>
                    </a:cubicBezTo>
                    <a:cubicBezTo>
                      <a:pt x="44" y="19"/>
                      <a:pt x="41" y="18"/>
                      <a:pt x="42" y="7"/>
                    </a:cubicBezTo>
                    <a:lnTo>
                      <a:pt x="34" y="5"/>
                    </a:lnTo>
                    <a:cubicBezTo>
                      <a:pt x="30" y="0"/>
                      <a:pt x="28" y="0"/>
                      <a:pt x="27" y="2"/>
                    </a:cubicBezTo>
                    <a:cubicBezTo>
                      <a:pt x="26" y="3"/>
                      <a:pt x="26" y="5"/>
                      <a:pt x="26" y="5"/>
                    </a:cubicBezTo>
                    <a:cubicBezTo>
                      <a:pt x="19" y="8"/>
                      <a:pt x="19" y="13"/>
                      <a:pt x="19" y="13"/>
                    </a:cubicBezTo>
                    <a:cubicBezTo>
                      <a:pt x="15" y="17"/>
                      <a:pt x="15" y="23"/>
                      <a:pt x="15" y="23"/>
                    </a:cubicBezTo>
                    <a:cubicBezTo>
                      <a:pt x="15" y="23"/>
                      <a:pt x="12" y="32"/>
                      <a:pt x="3" y="36"/>
                    </a:cubicBezTo>
                    <a:cubicBezTo>
                      <a:pt x="0" y="41"/>
                      <a:pt x="0" y="50"/>
                      <a:pt x="0" y="50"/>
                    </a:cubicBezTo>
                    <a:cubicBezTo>
                      <a:pt x="7" y="48"/>
                      <a:pt x="6" y="55"/>
                      <a:pt x="6" y="55"/>
                    </a:cubicBezTo>
                    <a:cubicBezTo>
                      <a:pt x="10" y="56"/>
                      <a:pt x="9" y="60"/>
                      <a:pt x="9" y="60"/>
                    </a:cubicBezTo>
                    <a:cubicBezTo>
                      <a:pt x="8" y="65"/>
                      <a:pt x="13" y="64"/>
                      <a:pt x="13" y="64"/>
                    </a:cubicBezTo>
                    <a:cubicBezTo>
                      <a:pt x="19" y="63"/>
                      <a:pt x="15" y="69"/>
                      <a:pt x="20" y="71"/>
                    </a:cubicBezTo>
                    <a:cubicBezTo>
                      <a:pt x="19" y="80"/>
                      <a:pt x="26" y="77"/>
                      <a:pt x="26" y="77"/>
                    </a:cubicBezTo>
                    <a:cubicBezTo>
                      <a:pt x="32" y="74"/>
                      <a:pt x="35" y="83"/>
                      <a:pt x="32" y="83"/>
                    </a:cubicBezTo>
                    <a:cubicBezTo>
                      <a:pt x="31" y="89"/>
                      <a:pt x="32" y="90"/>
                      <a:pt x="32" y="90"/>
                    </a:cubicBezTo>
                    <a:cubicBezTo>
                      <a:pt x="37" y="90"/>
                      <a:pt x="36" y="83"/>
                      <a:pt x="44" y="86"/>
                    </a:cubicBezTo>
                    <a:cubicBezTo>
                      <a:pt x="48" y="74"/>
                      <a:pt x="55" y="83"/>
                      <a:pt x="55" y="83"/>
                    </a:cubicBezTo>
                    <a:cubicBezTo>
                      <a:pt x="59" y="91"/>
                      <a:pt x="66" y="89"/>
                      <a:pt x="66" y="89"/>
                    </a:cubicBezTo>
                    <a:cubicBezTo>
                      <a:pt x="70" y="87"/>
                      <a:pt x="76" y="92"/>
                      <a:pt x="76" y="92"/>
                    </a:cubicBezTo>
                    <a:cubicBezTo>
                      <a:pt x="80" y="91"/>
                      <a:pt x="83" y="97"/>
                      <a:pt x="89" y="96"/>
                    </a:cubicBezTo>
                    <a:cubicBezTo>
                      <a:pt x="93" y="95"/>
                      <a:pt x="98" y="101"/>
                      <a:pt x="106" y="99"/>
                    </a:cubicBezTo>
                    <a:cubicBezTo>
                      <a:pt x="113" y="97"/>
                      <a:pt x="117" y="97"/>
                      <a:pt x="120" y="99"/>
                    </a:cubicBezTo>
                    <a:cubicBezTo>
                      <a:pt x="125" y="90"/>
                      <a:pt x="120" y="87"/>
                      <a:pt x="120" y="87"/>
                    </a:cubicBezTo>
                    <a:cubicBezTo>
                      <a:pt x="116" y="85"/>
                      <a:pt x="121" y="81"/>
                      <a:pt x="118" y="79"/>
                    </a:cubicBezTo>
                    <a:cubicBezTo>
                      <a:pt x="115" y="71"/>
                      <a:pt x="111" y="70"/>
                      <a:pt x="111" y="70"/>
                    </a:cubicBezTo>
                    <a:cubicBezTo>
                      <a:pt x="108" y="63"/>
                      <a:pt x="106" y="68"/>
                      <a:pt x="106" y="68"/>
                    </a:cubicBezTo>
                    <a:cubicBezTo>
                      <a:pt x="95" y="70"/>
                      <a:pt x="99" y="63"/>
                      <a:pt x="99" y="63"/>
                    </a:cubicBezTo>
                    <a:cubicBezTo>
                      <a:pt x="101" y="51"/>
                      <a:pt x="98" y="54"/>
                      <a:pt x="98" y="54"/>
                    </a:cubicBezTo>
                    <a:cubicBezTo>
                      <a:pt x="93" y="54"/>
                      <a:pt x="92" y="57"/>
                      <a:pt x="92" y="57"/>
                    </a:cubicBezTo>
                    <a:cubicBezTo>
                      <a:pt x="86" y="58"/>
                      <a:pt x="89" y="53"/>
                      <a:pt x="89" y="53"/>
                    </a:cubicBezTo>
                    <a:cubicBezTo>
                      <a:pt x="89" y="50"/>
                      <a:pt x="86" y="50"/>
                      <a:pt x="86" y="50"/>
                    </a:cubicBezTo>
                    <a:cubicBezTo>
                      <a:pt x="82" y="49"/>
                      <a:pt x="85" y="42"/>
                      <a:pt x="78" y="43"/>
                    </a:cubicBezTo>
                    <a:cubicBezTo>
                      <a:pt x="78" y="39"/>
                      <a:pt x="73" y="36"/>
                      <a:pt x="73" y="36"/>
                    </a:cubicBezTo>
                  </a:path>
                </a:pathLst>
              </a:custGeom>
              <a:solidFill>
                <a:schemeClr val="tx2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37" name="Freeform 1190">
                <a:extLst>
                  <a:ext uri="{FF2B5EF4-FFF2-40B4-BE49-F238E27FC236}">
                    <a16:creationId xmlns:a16="http://schemas.microsoft.com/office/drawing/2014/main" id="{E1BD23DE-2DC2-4EAA-A4BD-69DB949D67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0472" y="2970653"/>
                <a:ext cx="565013" cy="953419"/>
              </a:xfrm>
              <a:custGeom>
                <a:avLst/>
                <a:gdLst>
                  <a:gd name="T0" fmla="*/ 317500 w 80"/>
                  <a:gd name="T1" fmla="*/ 968375 h 135"/>
                  <a:gd name="T2" fmla="*/ 349250 w 80"/>
                  <a:gd name="T3" fmla="*/ 976312 h 135"/>
                  <a:gd name="T4" fmla="*/ 381000 w 80"/>
                  <a:gd name="T5" fmla="*/ 984250 h 135"/>
                  <a:gd name="T6" fmla="*/ 420688 w 80"/>
                  <a:gd name="T7" fmla="*/ 1008062 h 135"/>
                  <a:gd name="T8" fmla="*/ 452438 w 80"/>
                  <a:gd name="T9" fmla="*/ 1016000 h 135"/>
                  <a:gd name="T10" fmla="*/ 508000 w 80"/>
                  <a:gd name="T11" fmla="*/ 1039812 h 135"/>
                  <a:gd name="T12" fmla="*/ 555625 w 80"/>
                  <a:gd name="T13" fmla="*/ 1063625 h 135"/>
                  <a:gd name="T14" fmla="*/ 603250 w 80"/>
                  <a:gd name="T15" fmla="*/ 1071562 h 135"/>
                  <a:gd name="T16" fmla="*/ 587375 w 80"/>
                  <a:gd name="T17" fmla="*/ 1016000 h 135"/>
                  <a:gd name="T18" fmla="*/ 563563 w 80"/>
                  <a:gd name="T19" fmla="*/ 889000 h 135"/>
                  <a:gd name="T20" fmla="*/ 563563 w 80"/>
                  <a:gd name="T21" fmla="*/ 746125 h 135"/>
                  <a:gd name="T22" fmla="*/ 579438 w 80"/>
                  <a:gd name="T23" fmla="*/ 627062 h 135"/>
                  <a:gd name="T24" fmla="*/ 571500 w 80"/>
                  <a:gd name="T25" fmla="*/ 508000 h 135"/>
                  <a:gd name="T26" fmla="*/ 579438 w 80"/>
                  <a:gd name="T27" fmla="*/ 452437 h 135"/>
                  <a:gd name="T28" fmla="*/ 595313 w 80"/>
                  <a:gd name="T29" fmla="*/ 373062 h 135"/>
                  <a:gd name="T30" fmla="*/ 603250 w 80"/>
                  <a:gd name="T31" fmla="*/ 333375 h 135"/>
                  <a:gd name="T32" fmla="*/ 595313 w 80"/>
                  <a:gd name="T33" fmla="*/ 301625 h 135"/>
                  <a:gd name="T34" fmla="*/ 611188 w 80"/>
                  <a:gd name="T35" fmla="*/ 182562 h 135"/>
                  <a:gd name="T36" fmla="*/ 635000 w 80"/>
                  <a:gd name="T37" fmla="*/ 79375 h 135"/>
                  <a:gd name="T38" fmla="*/ 595313 w 80"/>
                  <a:gd name="T39" fmla="*/ 31750 h 135"/>
                  <a:gd name="T40" fmla="*/ 531813 w 80"/>
                  <a:gd name="T41" fmla="*/ 15875 h 135"/>
                  <a:gd name="T42" fmla="*/ 484188 w 80"/>
                  <a:gd name="T43" fmla="*/ 39687 h 135"/>
                  <a:gd name="T44" fmla="*/ 404813 w 80"/>
                  <a:gd name="T45" fmla="*/ 63500 h 135"/>
                  <a:gd name="T46" fmla="*/ 317500 w 80"/>
                  <a:gd name="T47" fmla="*/ 79375 h 135"/>
                  <a:gd name="T48" fmla="*/ 277813 w 80"/>
                  <a:gd name="T49" fmla="*/ 150812 h 135"/>
                  <a:gd name="T50" fmla="*/ 277813 w 80"/>
                  <a:gd name="T51" fmla="*/ 214312 h 135"/>
                  <a:gd name="T52" fmla="*/ 230188 w 80"/>
                  <a:gd name="T53" fmla="*/ 246062 h 135"/>
                  <a:gd name="T54" fmla="*/ 150813 w 80"/>
                  <a:gd name="T55" fmla="*/ 285750 h 135"/>
                  <a:gd name="T56" fmla="*/ 127000 w 80"/>
                  <a:gd name="T57" fmla="*/ 309562 h 135"/>
                  <a:gd name="T58" fmla="*/ 79375 w 80"/>
                  <a:gd name="T59" fmla="*/ 373062 h 135"/>
                  <a:gd name="T60" fmla="*/ 7938 w 80"/>
                  <a:gd name="T61" fmla="*/ 404812 h 135"/>
                  <a:gd name="T62" fmla="*/ 0 w 80"/>
                  <a:gd name="T63" fmla="*/ 436562 h 135"/>
                  <a:gd name="T64" fmla="*/ 31750 w 80"/>
                  <a:gd name="T65" fmla="*/ 571500 h 135"/>
                  <a:gd name="T66" fmla="*/ 39688 w 80"/>
                  <a:gd name="T67" fmla="*/ 619125 h 135"/>
                  <a:gd name="T68" fmla="*/ 23813 w 80"/>
                  <a:gd name="T69" fmla="*/ 666750 h 135"/>
                  <a:gd name="T70" fmla="*/ 79375 w 80"/>
                  <a:gd name="T71" fmla="*/ 690562 h 135"/>
                  <a:gd name="T72" fmla="*/ 47625 w 80"/>
                  <a:gd name="T73" fmla="*/ 714375 h 135"/>
                  <a:gd name="T74" fmla="*/ 95250 w 80"/>
                  <a:gd name="T75" fmla="*/ 769937 h 135"/>
                  <a:gd name="T76" fmla="*/ 119063 w 80"/>
                  <a:gd name="T77" fmla="*/ 793750 h 135"/>
                  <a:gd name="T78" fmla="*/ 150813 w 80"/>
                  <a:gd name="T79" fmla="*/ 817562 h 135"/>
                  <a:gd name="T80" fmla="*/ 174625 w 80"/>
                  <a:gd name="T81" fmla="*/ 849312 h 135"/>
                  <a:gd name="T82" fmla="*/ 222250 w 80"/>
                  <a:gd name="T83" fmla="*/ 849312 h 135"/>
                  <a:gd name="T84" fmla="*/ 269875 w 80"/>
                  <a:gd name="T85" fmla="*/ 881062 h 135"/>
                  <a:gd name="T86" fmla="*/ 317500 w 80"/>
                  <a:gd name="T87" fmla="*/ 968375 h 135"/>
                  <a:gd name="T88" fmla="*/ 317500 w 80"/>
                  <a:gd name="T89" fmla="*/ 968375 h 135"/>
                  <a:gd name="T90" fmla="*/ 317500 w 80"/>
                  <a:gd name="T91" fmla="*/ 968375 h 13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80"/>
                  <a:gd name="T139" fmla="*/ 0 h 135"/>
                  <a:gd name="T140" fmla="*/ 80 w 80"/>
                  <a:gd name="T141" fmla="*/ 135 h 135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80" h="135">
                    <a:moveTo>
                      <a:pt x="40" y="122"/>
                    </a:moveTo>
                    <a:cubicBezTo>
                      <a:pt x="40" y="122"/>
                      <a:pt x="44" y="121"/>
                      <a:pt x="44" y="123"/>
                    </a:cubicBezTo>
                    <a:cubicBezTo>
                      <a:pt x="44" y="123"/>
                      <a:pt x="45" y="127"/>
                      <a:pt x="48" y="124"/>
                    </a:cubicBezTo>
                    <a:cubicBezTo>
                      <a:pt x="48" y="124"/>
                      <a:pt x="51" y="120"/>
                      <a:pt x="53" y="127"/>
                    </a:cubicBezTo>
                    <a:cubicBezTo>
                      <a:pt x="53" y="127"/>
                      <a:pt x="50" y="135"/>
                      <a:pt x="57" y="128"/>
                    </a:cubicBezTo>
                    <a:cubicBezTo>
                      <a:pt x="57" y="128"/>
                      <a:pt x="62" y="123"/>
                      <a:pt x="64" y="131"/>
                    </a:cubicBezTo>
                    <a:cubicBezTo>
                      <a:pt x="64" y="131"/>
                      <a:pt x="65" y="135"/>
                      <a:pt x="70" y="134"/>
                    </a:cubicBezTo>
                    <a:cubicBezTo>
                      <a:pt x="70" y="134"/>
                      <a:pt x="73" y="134"/>
                      <a:pt x="76" y="135"/>
                    </a:cubicBezTo>
                    <a:cubicBezTo>
                      <a:pt x="77" y="130"/>
                      <a:pt x="74" y="128"/>
                      <a:pt x="74" y="128"/>
                    </a:cubicBezTo>
                    <a:cubicBezTo>
                      <a:pt x="70" y="124"/>
                      <a:pt x="71" y="112"/>
                      <a:pt x="71" y="112"/>
                    </a:cubicBezTo>
                    <a:cubicBezTo>
                      <a:pt x="70" y="105"/>
                      <a:pt x="71" y="94"/>
                      <a:pt x="71" y="94"/>
                    </a:cubicBezTo>
                    <a:cubicBezTo>
                      <a:pt x="74" y="91"/>
                      <a:pt x="70" y="85"/>
                      <a:pt x="73" y="79"/>
                    </a:cubicBezTo>
                    <a:cubicBezTo>
                      <a:pt x="76" y="72"/>
                      <a:pt x="72" y="64"/>
                      <a:pt x="72" y="64"/>
                    </a:cubicBezTo>
                    <a:cubicBezTo>
                      <a:pt x="70" y="59"/>
                      <a:pt x="73" y="57"/>
                      <a:pt x="73" y="57"/>
                    </a:cubicBezTo>
                    <a:cubicBezTo>
                      <a:pt x="73" y="57"/>
                      <a:pt x="75" y="54"/>
                      <a:pt x="75" y="47"/>
                    </a:cubicBezTo>
                    <a:cubicBezTo>
                      <a:pt x="74" y="46"/>
                      <a:pt x="76" y="42"/>
                      <a:pt x="76" y="42"/>
                    </a:cubicBezTo>
                    <a:cubicBezTo>
                      <a:pt x="78" y="39"/>
                      <a:pt x="75" y="38"/>
                      <a:pt x="75" y="38"/>
                    </a:cubicBezTo>
                    <a:cubicBezTo>
                      <a:pt x="71" y="27"/>
                      <a:pt x="77" y="23"/>
                      <a:pt x="77" y="23"/>
                    </a:cubicBezTo>
                    <a:cubicBezTo>
                      <a:pt x="77" y="13"/>
                      <a:pt x="80" y="17"/>
                      <a:pt x="80" y="10"/>
                    </a:cubicBezTo>
                    <a:cubicBezTo>
                      <a:pt x="77" y="9"/>
                      <a:pt x="79" y="0"/>
                      <a:pt x="75" y="4"/>
                    </a:cubicBezTo>
                    <a:cubicBezTo>
                      <a:pt x="72" y="1"/>
                      <a:pt x="67" y="2"/>
                      <a:pt x="67" y="2"/>
                    </a:cubicBezTo>
                    <a:cubicBezTo>
                      <a:pt x="63" y="1"/>
                      <a:pt x="61" y="5"/>
                      <a:pt x="61" y="5"/>
                    </a:cubicBezTo>
                    <a:cubicBezTo>
                      <a:pt x="58" y="8"/>
                      <a:pt x="51" y="8"/>
                      <a:pt x="51" y="8"/>
                    </a:cubicBezTo>
                    <a:cubicBezTo>
                      <a:pt x="46" y="11"/>
                      <a:pt x="41" y="3"/>
                      <a:pt x="40" y="10"/>
                    </a:cubicBezTo>
                    <a:cubicBezTo>
                      <a:pt x="41" y="13"/>
                      <a:pt x="35" y="19"/>
                      <a:pt x="35" y="19"/>
                    </a:cubicBezTo>
                    <a:cubicBezTo>
                      <a:pt x="39" y="24"/>
                      <a:pt x="35" y="27"/>
                      <a:pt x="35" y="27"/>
                    </a:cubicBezTo>
                    <a:cubicBezTo>
                      <a:pt x="35" y="30"/>
                      <a:pt x="29" y="31"/>
                      <a:pt x="29" y="31"/>
                    </a:cubicBezTo>
                    <a:cubicBezTo>
                      <a:pt x="16" y="30"/>
                      <a:pt x="19" y="36"/>
                      <a:pt x="19" y="36"/>
                    </a:cubicBezTo>
                    <a:cubicBezTo>
                      <a:pt x="22" y="39"/>
                      <a:pt x="16" y="39"/>
                      <a:pt x="16" y="39"/>
                    </a:cubicBezTo>
                    <a:cubicBezTo>
                      <a:pt x="12" y="48"/>
                      <a:pt x="10" y="47"/>
                      <a:pt x="10" y="47"/>
                    </a:cubicBezTo>
                    <a:cubicBezTo>
                      <a:pt x="8" y="50"/>
                      <a:pt x="3" y="47"/>
                      <a:pt x="1" y="51"/>
                    </a:cubicBezTo>
                    <a:cubicBezTo>
                      <a:pt x="0" y="51"/>
                      <a:pt x="0" y="55"/>
                      <a:pt x="0" y="55"/>
                    </a:cubicBezTo>
                    <a:cubicBezTo>
                      <a:pt x="0" y="55"/>
                      <a:pt x="4" y="63"/>
                      <a:pt x="4" y="72"/>
                    </a:cubicBezTo>
                    <a:cubicBezTo>
                      <a:pt x="4" y="72"/>
                      <a:pt x="7" y="77"/>
                      <a:pt x="5" y="78"/>
                    </a:cubicBezTo>
                    <a:cubicBezTo>
                      <a:pt x="5" y="78"/>
                      <a:pt x="3" y="81"/>
                      <a:pt x="3" y="84"/>
                    </a:cubicBezTo>
                    <a:cubicBezTo>
                      <a:pt x="3" y="84"/>
                      <a:pt x="10" y="84"/>
                      <a:pt x="10" y="87"/>
                    </a:cubicBezTo>
                    <a:cubicBezTo>
                      <a:pt x="10" y="87"/>
                      <a:pt x="12" y="90"/>
                      <a:pt x="6" y="90"/>
                    </a:cubicBezTo>
                    <a:cubicBezTo>
                      <a:pt x="13" y="91"/>
                      <a:pt x="9" y="96"/>
                      <a:pt x="12" y="97"/>
                    </a:cubicBezTo>
                    <a:cubicBezTo>
                      <a:pt x="12" y="97"/>
                      <a:pt x="16" y="93"/>
                      <a:pt x="15" y="100"/>
                    </a:cubicBezTo>
                    <a:cubicBezTo>
                      <a:pt x="15" y="100"/>
                      <a:pt x="14" y="109"/>
                      <a:pt x="19" y="103"/>
                    </a:cubicBezTo>
                    <a:cubicBezTo>
                      <a:pt x="19" y="103"/>
                      <a:pt x="22" y="97"/>
                      <a:pt x="22" y="107"/>
                    </a:cubicBezTo>
                    <a:cubicBezTo>
                      <a:pt x="22" y="107"/>
                      <a:pt x="19" y="115"/>
                      <a:pt x="28" y="107"/>
                    </a:cubicBezTo>
                    <a:cubicBezTo>
                      <a:pt x="28" y="107"/>
                      <a:pt x="33" y="105"/>
                      <a:pt x="34" y="111"/>
                    </a:cubicBezTo>
                    <a:cubicBezTo>
                      <a:pt x="34" y="111"/>
                      <a:pt x="42" y="113"/>
                      <a:pt x="40" y="122"/>
                    </a:cubicBezTo>
                  </a:path>
                </a:pathLst>
              </a:custGeom>
              <a:solidFill>
                <a:schemeClr val="accent4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38" name="Freeform 1191">
                <a:extLst>
                  <a:ext uri="{FF2B5EF4-FFF2-40B4-BE49-F238E27FC236}">
                    <a16:creationId xmlns:a16="http://schemas.microsoft.com/office/drawing/2014/main" id="{BD73D4EC-7F59-449A-9FDA-B79A6857C8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8462" y="3323770"/>
                <a:ext cx="741579" cy="988730"/>
              </a:xfrm>
              <a:custGeom>
                <a:avLst/>
                <a:gdLst>
                  <a:gd name="T0" fmla="*/ 0 w 105"/>
                  <a:gd name="T1" fmla="*/ 452438 h 140"/>
                  <a:gd name="T2" fmla="*/ 7937 w 105"/>
                  <a:gd name="T3" fmla="*/ 365125 h 140"/>
                  <a:gd name="T4" fmla="*/ 31750 w 105"/>
                  <a:gd name="T5" fmla="*/ 301625 h 140"/>
                  <a:gd name="T6" fmla="*/ 71437 w 105"/>
                  <a:gd name="T7" fmla="*/ 269875 h 140"/>
                  <a:gd name="T8" fmla="*/ 127000 w 105"/>
                  <a:gd name="T9" fmla="*/ 238125 h 140"/>
                  <a:gd name="T10" fmla="*/ 206375 w 105"/>
                  <a:gd name="T11" fmla="*/ 230188 h 140"/>
                  <a:gd name="T12" fmla="*/ 309562 w 105"/>
                  <a:gd name="T13" fmla="*/ 222250 h 140"/>
                  <a:gd name="T14" fmla="*/ 388937 w 105"/>
                  <a:gd name="T15" fmla="*/ 198438 h 140"/>
                  <a:gd name="T16" fmla="*/ 341312 w 105"/>
                  <a:gd name="T17" fmla="*/ 190500 h 140"/>
                  <a:gd name="T18" fmla="*/ 341312 w 105"/>
                  <a:gd name="T19" fmla="*/ 134938 h 140"/>
                  <a:gd name="T20" fmla="*/ 373062 w 105"/>
                  <a:gd name="T21" fmla="*/ 71438 h 140"/>
                  <a:gd name="T22" fmla="*/ 412750 w 105"/>
                  <a:gd name="T23" fmla="*/ 23813 h 140"/>
                  <a:gd name="T24" fmla="*/ 468312 w 105"/>
                  <a:gd name="T25" fmla="*/ 23813 h 140"/>
                  <a:gd name="T26" fmla="*/ 508000 w 105"/>
                  <a:gd name="T27" fmla="*/ 39688 h 140"/>
                  <a:gd name="T28" fmla="*/ 539750 w 105"/>
                  <a:gd name="T29" fmla="*/ 174625 h 140"/>
                  <a:gd name="T30" fmla="*/ 547687 w 105"/>
                  <a:gd name="T31" fmla="*/ 222250 h 140"/>
                  <a:gd name="T32" fmla="*/ 531812 w 105"/>
                  <a:gd name="T33" fmla="*/ 269875 h 140"/>
                  <a:gd name="T34" fmla="*/ 587375 w 105"/>
                  <a:gd name="T35" fmla="*/ 293688 h 140"/>
                  <a:gd name="T36" fmla="*/ 555625 w 105"/>
                  <a:gd name="T37" fmla="*/ 317500 h 140"/>
                  <a:gd name="T38" fmla="*/ 603250 w 105"/>
                  <a:gd name="T39" fmla="*/ 373063 h 140"/>
                  <a:gd name="T40" fmla="*/ 627062 w 105"/>
                  <a:gd name="T41" fmla="*/ 396875 h 140"/>
                  <a:gd name="T42" fmla="*/ 658812 w 105"/>
                  <a:gd name="T43" fmla="*/ 420688 h 140"/>
                  <a:gd name="T44" fmla="*/ 682625 w 105"/>
                  <a:gd name="T45" fmla="*/ 452438 h 140"/>
                  <a:gd name="T46" fmla="*/ 730250 w 105"/>
                  <a:gd name="T47" fmla="*/ 452438 h 140"/>
                  <a:gd name="T48" fmla="*/ 777875 w 105"/>
                  <a:gd name="T49" fmla="*/ 484188 h 140"/>
                  <a:gd name="T50" fmla="*/ 825500 w 105"/>
                  <a:gd name="T51" fmla="*/ 563563 h 140"/>
                  <a:gd name="T52" fmla="*/ 809625 w 105"/>
                  <a:gd name="T53" fmla="*/ 635000 h 140"/>
                  <a:gd name="T54" fmla="*/ 809625 w 105"/>
                  <a:gd name="T55" fmla="*/ 690563 h 140"/>
                  <a:gd name="T56" fmla="*/ 754062 w 105"/>
                  <a:gd name="T57" fmla="*/ 730250 h 140"/>
                  <a:gd name="T58" fmla="*/ 635000 w 105"/>
                  <a:gd name="T59" fmla="*/ 809625 h 140"/>
                  <a:gd name="T60" fmla="*/ 611187 w 105"/>
                  <a:gd name="T61" fmla="*/ 825500 h 140"/>
                  <a:gd name="T62" fmla="*/ 539750 w 105"/>
                  <a:gd name="T63" fmla="*/ 889000 h 140"/>
                  <a:gd name="T64" fmla="*/ 515937 w 105"/>
                  <a:gd name="T65" fmla="*/ 1016000 h 140"/>
                  <a:gd name="T66" fmla="*/ 492125 w 105"/>
                  <a:gd name="T67" fmla="*/ 1111250 h 140"/>
                  <a:gd name="T68" fmla="*/ 412750 w 105"/>
                  <a:gd name="T69" fmla="*/ 1031875 h 140"/>
                  <a:gd name="T70" fmla="*/ 373062 w 105"/>
                  <a:gd name="T71" fmla="*/ 960438 h 140"/>
                  <a:gd name="T72" fmla="*/ 373062 w 105"/>
                  <a:gd name="T73" fmla="*/ 865188 h 140"/>
                  <a:gd name="T74" fmla="*/ 357187 w 105"/>
                  <a:gd name="T75" fmla="*/ 801688 h 140"/>
                  <a:gd name="T76" fmla="*/ 301625 w 105"/>
                  <a:gd name="T77" fmla="*/ 730250 h 140"/>
                  <a:gd name="T78" fmla="*/ 261937 w 105"/>
                  <a:gd name="T79" fmla="*/ 714375 h 140"/>
                  <a:gd name="T80" fmla="*/ 206375 w 105"/>
                  <a:gd name="T81" fmla="*/ 674688 h 140"/>
                  <a:gd name="T82" fmla="*/ 198437 w 105"/>
                  <a:gd name="T83" fmla="*/ 603250 h 140"/>
                  <a:gd name="T84" fmla="*/ 150812 w 105"/>
                  <a:gd name="T85" fmla="*/ 627063 h 140"/>
                  <a:gd name="T86" fmla="*/ 127000 w 105"/>
                  <a:gd name="T87" fmla="*/ 595313 h 140"/>
                  <a:gd name="T88" fmla="*/ 103187 w 105"/>
                  <a:gd name="T89" fmla="*/ 571500 h 140"/>
                  <a:gd name="T90" fmla="*/ 39687 w 105"/>
                  <a:gd name="T91" fmla="*/ 515938 h 140"/>
                  <a:gd name="T92" fmla="*/ 0 w 105"/>
                  <a:gd name="T93" fmla="*/ 452438 h 140"/>
                  <a:gd name="T94" fmla="*/ 0 w 105"/>
                  <a:gd name="T95" fmla="*/ 452438 h 140"/>
                  <a:gd name="T96" fmla="*/ 0 w 105"/>
                  <a:gd name="T97" fmla="*/ 452438 h 14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05"/>
                  <a:gd name="T148" fmla="*/ 0 h 140"/>
                  <a:gd name="T149" fmla="*/ 105 w 105"/>
                  <a:gd name="T150" fmla="*/ 140 h 14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05" h="140">
                    <a:moveTo>
                      <a:pt x="0" y="57"/>
                    </a:moveTo>
                    <a:cubicBezTo>
                      <a:pt x="2" y="50"/>
                      <a:pt x="1" y="46"/>
                      <a:pt x="1" y="46"/>
                    </a:cubicBezTo>
                    <a:cubicBezTo>
                      <a:pt x="0" y="39"/>
                      <a:pt x="4" y="38"/>
                      <a:pt x="4" y="38"/>
                    </a:cubicBezTo>
                    <a:cubicBezTo>
                      <a:pt x="8" y="37"/>
                      <a:pt x="9" y="34"/>
                      <a:pt x="9" y="34"/>
                    </a:cubicBezTo>
                    <a:cubicBezTo>
                      <a:pt x="8" y="27"/>
                      <a:pt x="16" y="30"/>
                      <a:pt x="16" y="30"/>
                    </a:cubicBezTo>
                    <a:cubicBezTo>
                      <a:pt x="25" y="32"/>
                      <a:pt x="26" y="29"/>
                      <a:pt x="26" y="29"/>
                    </a:cubicBezTo>
                    <a:cubicBezTo>
                      <a:pt x="30" y="27"/>
                      <a:pt x="39" y="28"/>
                      <a:pt x="39" y="28"/>
                    </a:cubicBezTo>
                    <a:cubicBezTo>
                      <a:pt x="49" y="28"/>
                      <a:pt x="49" y="25"/>
                      <a:pt x="49" y="25"/>
                    </a:cubicBezTo>
                    <a:cubicBezTo>
                      <a:pt x="48" y="23"/>
                      <a:pt x="43" y="24"/>
                      <a:pt x="43" y="24"/>
                    </a:cubicBezTo>
                    <a:cubicBezTo>
                      <a:pt x="42" y="21"/>
                      <a:pt x="43" y="17"/>
                      <a:pt x="43" y="17"/>
                    </a:cubicBezTo>
                    <a:cubicBezTo>
                      <a:pt x="49" y="16"/>
                      <a:pt x="47" y="9"/>
                      <a:pt x="47" y="9"/>
                    </a:cubicBezTo>
                    <a:cubicBezTo>
                      <a:pt x="46" y="2"/>
                      <a:pt x="52" y="3"/>
                      <a:pt x="52" y="3"/>
                    </a:cubicBezTo>
                    <a:cubicBezTo>
                      <a:pt x="54" y="0"/>
                      <a:pt x="59" y="3"/>
                      <a:pt x="59" y="3"/>
                    </a:cubicBezTo>
                    <a:cubicBezTo>
                      <a:pt x="60" y="6"/>
                      <a:pt x="64" y="5"/>
                      <a:pt x="64" y="5"/>
                    </a:cubicBezTo>
                    <a:cubicBezTo>
                      <a:pt x="64" y="5"/>
                      <a:pt x="68" y="13"/>
                      <a:pt x="68" y="22"/>
                    </a:cubicBezTo>
                    <a:cubicBezTo>
                      <a:pt x="68" y="22"/>
                      <a:pt x="71" y="27"/>
                      <a:pt x="69" y="28"/>
                    </a:cubicBezTo>
                    <a:cubicBezTo>
                      <a:pt x="69" y="28"/>
                      <a:pt x="67" y="31"/>
                      <a:pt x="67" y="34"/>
                    </a:cubicBezTo>
                    <a:cubicBezTo>
                      <a:pt x="67" y="34"/>
                      <a:pt x="74" y="34"/>
                      <a:pt x="74" y="37"/>
                    </a:cubicBezTo>
                    <a:cubicBezTo>
                      <a:pt x="74" y="37"/>
                      <a:pt x="76" y="40"/>
                      <a:pt x="70" y="40"/>
                    </a:cubicBezTo>
                    <a:cubicBezTo>
                      <a:pt x="77" y="41"/>
                      <a:pt x="73" y="46"/>
                      <a:pt x="76" y="47"/>
                    </a:cubicBezTo>
                    <a:cubicBezTo>
                      <a:pt x="76" y="47"/>
                      <a:pt x="80" y="43"/>
                      <a:pt x="79" y="50"/>
                    </a:cubicBezTo>
                    <a:cubicBezTo>
                      <a:pt x="79" y="50"/>
                      <a:pt x="78" y="59"/>
                      <a:pt x="83" y="53"/>
                    </a:cubicBezTo>
                    <a:cubicBezTo>
                      <a:pt x="83" y="53"/>
                      <a:pt x="86" y="47"/>
                      <a:pt x="86" y="57"/>
                    </a:cubicBezTo>
                    <a:cubicBezTo>
                      <a:pt x="86" y="57"/>
                      <a:pt x="83" y="65"/>
                      <a:pt x="92" y="57"/>
                    </a:cubicBezTo>
                    <a:cubicBezTo>
                      <a:pt x="92" y="57"/>
                      <a:pt x="97" y="55"/>
                      <a:pt x="98" y="61"/>
                    </a:cubicBezTo>
                    <a:cubicBezTo>
                      <a:pt x="98" y="61"/>
                      <a:pt x="105" y="62"/>
                      <a:pt x="104" y="71"/>
                    </a:cubicBezTo>
                    <a:cubicBezTo>
                      <a:pt x="104" y="71"/>
                      <a:pt x="99" y="73"/>
                      <a:pt x="102" y="80"/>
                    </a:cubicBezTo>
                    <a:cubicBezTo>
                      <a:pt x="102" y="80"/>
                      <a:pt x="103" y="82"/>
                      <a:pt x="102" y="87"/>
                    </a:cubicBezTo>
                    <a:cubicBezTo>
                      <a:pt x="102" y="87"/>
                      <a:pt x="103" y="93"/>
                      <a:pt x="95" y="92"/>
                    </a:cubicBezTo>
                    <a:cubicBezTo>
                      <a:pt x="95" y="92"/>
                      <a:pt x="88" y="90"/>
                      <a:pt x="80" y="102"/>
                    </a:cubicBezTo>
                    <a:cubicBezTo>
                      <a:pt x="80" y="102"/>
                      <a:pt x="78" y="105"/>
                      <a:pt x="77" y="104"/>
                    </a:cubicBezTo>
                    <a:cubicBezTo>
                      <a:pt x="77" y="104"/>
                      <a:pt x="75" y="110"/>
                      <a:pt x="68" y="112"/>
                    </a:cubicBezTo>
                    <a:cubicBezTo>
                      <a:pt x="68" y="112"/>
                      <a:pt x="62" y="119"/>
                      <a:pt x="65" y="128"/>
                    </a:cubicBezTo>
                    <a:cubicBezTo>
                      <a:pt x="65" y="128"/>
                      <a:pt x="68" y="132"/>
                      <a:pt x="62" y="140"/>
                    </a:cubicBezTo>
                    <a:cubicBezTo>
                      <a:pt x="62" y="140"/>
                      <a:pt x="58" y="129"/>
                      <a:pt x="52" y="130"/>
                    </a:cubicBezTo>
                    <a:cubicBezTo>
                      <a:pt x="52" y="130"/>
                      <a:pt x="53" y="123"/>
                      <a:pt x="47" y="121"/>
                    </a:cubicBezTo>
                    <a:cubicBezTo>
                      <a:pt x="53" y="112"/>
                      <a:pt x="47" y="109"/>
                      <a:pt x="47" y="109"/>
                    </a:cubicBezTo>
                    <a:cubicBezTo>
                      <a:pt x="43" y="107"/>
                      <a:pt x="48" y="103"/>
                      <a:pt x="45" y="101"/>
                    </a:cubicBezTo>
                    <a:cubicBezTo>
                      <a:pt x="42" y="93"/>
                      <a:pt x="38" y="92"/>
                      <a:pt x="38" y="92"/>
                    </a:cubicBezTo>
                    <a:cubicBezTo>
                      <a:pt x="35" y="85"/>
                      <a:pt x="33" y="90"/>
                      <a:pt x="33" y="90"/>
                    </a:cubicBezTo>
                    <a:cubicBezTo>
                      <a:pt x="22" y="92"/>
                      <a:pt x="26" y="85"/>
                      <a:pt x="26" y="85"/>
                    </a:cubicBezTo>
                    <a:cubicBezTo>
                      <a:pt x="28" y="73"/>
                      <a:pt x="25" y="76"/>
                      <a:pt x="25" y="76"/>
                    </a:cubicBezTo>
                    <a:cubicBezTo>
                      <a:pt x="20" y="76"/>
                      <a:pt x="19" y="79"/>
                      <a:pt x="19" y="79"/>
                    </a:cubicBezTo>
                    <a:cubicBezTo>
                      <a:pt x="13" y="80"/>
                      <a:pt x="16" y="75"/>
                      <a:pt x="16" y="75"/>
                    </a:cubicBezTo>
                    <a:cubicBezTo>
                      <a:pt x="16" y="72"/>
                      <a:pt x="13" y="72"/>
                      <a:pt x="13" y="72"/>
                    </a:cubicBezTo>
                    <a:cubicBezTo>
                      <a:pt x="9" y="71"/>
                      <a:pt x="12" y="64"/>
                      <a:pt x="5" y="65"/>
                    </a:cubicBezTo>
                    <a:cubicBezTo>
                      <a:pt x="5" y="61"/>
                      <a:pt x="0" y="57"/>
                      <a:pt x="0" y="57"/>
                    </a:cubicBezTo>
                  </a:path>
                </a:pathLst>
              </a:custGeom>
              <a:solidFill>
                <a:schemeClr val="tx2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39" name="Freeform 1192">
                <a:extLst>
                  <a:ext uri="{FF2B5EF4-FFF2-40B4-BE49-F238E27FC236}">
                    <a16:creationId xmlns:a16="http://schemas.microsoft.com/office/drawing/2014/main" id="{FF2DA939-9ECA-4264-AEE9-52324B5517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1831" y="2730534"/>
                <a:ext cx="1024085" cy="995793"/>
              </a:xfrm>
              <a:custGeom>
                <a:avLst/>
                <a:gdLst>
                  <a:gd name="T0" fmla="*/ 87312 w 145"/>
                  <a:gd name="T1" fmla="*/ 896937 h 141"/>
                  <a:gd name="T2" fmla="*/ 63500 w 145"/>
                  <a:gd name="T3" fmla="*/ 833437 h 141"/>
                  <a:gd name="T4" fmla="*/ 47625 w 145"/>
                  <a:gd name="T5" fmla="*/ 762000 h 141"/>
                  <a:gd name="T6" fmla="*/ 55562 w 145"/>
                  <a:gd name="T7" fmla="*/ 666750 h 141"/>
                  <a:gd name="T8" fmla="*/ 47625 w 145"/>
                  <a:gd name="T9" fmla="*/ 603250 h 141"/>
                  <a:gd name="T10" fmla="*/ 158750 w 145"/>
                  <a:gd name="T11" fmla="*/ 452437 h 141"/>
                  <a:gd name="T12" fmla="*/ 492125 w 145"/>
                  <a:gd name="T13" fmla="*/ 150812 h 141"/>
                  <a:gd name="T14" fmla="*/ 571500 w 145"/>
                  <a:gd name="T15" fmla="*/ 111125 h 141"/>
                  <a:gd name="T16" fmla="*/ 635000 w 145"/>
                  <a:gd name="T17" fmla="*/ 79375 h 141"/>
                  <a:gd name="T18" fmla="*/ 674687 w 145"/>
                  <a:gd name="T19" fmla="*/ 47625 h 141"/>
                  <a:gd name="T20" fmla="*/ 674687 w 145"/>
                  <a:gd name="T21" fmla="*/ 0 h 141"/>
                  <a:gd name="T22" fmla="*/ 738187 w 145"/>
                  <a:gd name="T23" fmla="*/ 31750 h 141"/>
                  <a:gd name="T24" fmla="*/ 785812 w 145"/>
                  <a:gd name="T25" fmla="*/ 47625 h 141"/>
                  <a:gd name="T26" fmla="*/ 817562 w 145"/>
                  <a:gd name="T27" fmla="*/ 71437 h 141"/>
                  <a:gd name="T28" fmla="*/ 793750 w 145"/>
                  <a:gd name="T29" fmla="*/ 119062 h 141"/>
                  <a:gd name="T30" fmla="*/ 817562 w 145"/>
                  <a:gd name="T31" fmla="*/ 134937 h 141"/>
                  <a:gd name="T32" fmla="*/ 865187 w 145"/>
                  <a:gd name="T33" fmla="*/ 166687 h 141"/>
                  <a:gd name="T34" fmla="*/ 920750 w 145"/>
                  <a:gd name="T35" fmla="*/ 198437 h 141"/>
                  <a:gd name="T36" fmla="*/ 992187 w 145"/>
                  <a:gd name="T37" fmla="*/ 198437 h 141"/>
                  <a:gd name="T38" fmla="*/ 1016000 w 145"/>
                  <a:gd name="T39" fmla="*/ 230187 h 141"/>
                  <a:gd name="T40" fmla="*/ 1071562 w 145"/>
                  <a:gd name="T41" fmla="*/ 246062 h 141"/>
                  <a:gd name="T42" fmla="*/ 1055687 w 145"/>
                  <a:gd name="T43" fmla="*/ 285750 h 141"/>
                  <a:gd name="T44" fmla="*/ 1063625 w 145"/>
                  <a:gd name="T45" fmla="*/ 365125 h 141"/>
                  <a:gd name="T46" fmla="*/ 1063625 w 145"/>
                  <a:gd name="T47" fmla="*/ 365125 h 141"/>
                  <a:gd name="T48" fmla="*/ 1119187 w 145"/>
                  <a:gd name="T49" fmla="*/ 420687 h 141"/>
                  <a:gd name="T50" fmla="*/ 1119187 w 145"/>
                  <a:gd name="T51" fmla="*/ 420687 h 141"/>
                  <a:gd name="T52" fmla="*/ 1119187 w 145"/>
                  <a:gd name="T53" fmla="*/ 484187 h 141"/>
                  <a:gd name="T54" fmla="*/ 1071562 w 145"/>
                  <a:gd name="T55" fmla="*/ 515937 h 141"/>
                  <a:gd name="T56" fmla="*/ 992187 w 145"/>
                  <a:gd name="T57" fmla="*/ 555625 h 141"/>
                  <a:gd name="T58" fmla="*/ 968375 w 145"/>
                  <a:gd name="T59" fmla="*/ 579437 h 141"/>
                  <a:gd name="T60" fmla="*/ 920750 w 145"/>
                  <a:gd name="T61" fmla="*/ 642937 h 141"/>
                  <a:gd name="T62" fmla="*/ 849312 w 145"/>
                  <a:gd name="T63" fmla="*/ 674687 h 141"/>
                  <a:gd name="T64" fmla="*/ 841375 w 145"/>
                  <a:gd name="T65" fmla="*/ 706437 h 141"/>
                  <a:gd name="T66" fmla="*/ 801687 w 145"/>
                  <a:gd name="T67" fmla="*/ 690562 h 141"/>
                  <a:gd name="T68" fmla="*/ 746125 w 145"/>
                  <a:gd name="T69" fmla="*/ 690562 h 141"/>
                  <a:gd name="T70" fmla="*/ 706437 w 145"/>
                  <a:gd name="T71" fmla="*/ 738187 h 141"/>
                  <a:gd name="T72" fmla="*/ 674687 w 145"/>
                  <a:gd name="T73" fmla="*/ 801687 h 141"/>
                  <a:gd name="T74" fmla="*/ 674687 w 145"/>
                  <a:gd name="T75" fmla="*/ 857250 h 141"/>
                  <a:gd name="T76" fmla="*/ 722312 w 145"/>
                  <a:gd name="T77" fmla="*/ 865187 h 141"/>
                  <a:gd name="T78" fmla="*/ 642937 w 145"/>
                  <a:gd name="T79" fmla="*/ 889000 h 141"/>
                  <a:gd name="T80" fmla="*/ 539750 w 145"/>
                  <a:gd name="T81" fmla="*/ 896937 h 141"/>
                  <a:gd name="T82" fmla="*/ 460375 w 145"/>
                  <a:gd name="T83" fmla="*/ 904875 h 141"/>
                  <a:gd name="T84" fmla="*/ 404812 w 145"/>
                  <a:gd name="T85" fmla="*/ 936625 h 141"/>
                  <a:gd name="T86" fmla="*/ 365125 w 145"/>
                  <a:gd name="T87" fmla="*/ 968375 h 141"/>
                  <a:gd name="T88" fmla="*/ 341312 w 145"/>
                  <a:gd name="T89" fmla="*/ 1031875 h 141"/>
                  <a:gd name="T90" fmla="*/ 333375 w 145"/>
                  <a:gd name="T91" fmla="*/ 1119187 h 141"/>
                  <a:gd name="T92" fmla="*/ 333375 w 145"/>
                  <a:gd name="T93" fmla="*/ 1119187 h 141"/>
                  <a:gd name="T94" fmla="*/ 277812 w 145"/>
                  <a:gd name="T95" fmla="*/ 1119187 h 141"/>
                  <a:gd name="T96" fmla="*/ 277812 w 145"/>
                  <a:gd name="T97" fmla="*/ 1119187 h 141"/>
                  <a:gd name="T98" fmla="*/ 230187 w 145"/>
                  <a:gd name="T99" fmla="*/ 1087437 h 141"/>
                  <a:gd name="T100" fmla="*/ 182562 w 145"/>
                  <a:gd name="T101" fmla="*/ 1055687 h 141"/>
                  <a:gd name="T102" fmla="*/ 142875 w 145"/>
                  <a:gd name="T103" fmla="*/ 1023937 h 141"/>
                  <a:gd name="T104" fmla="*/ 103187 w 145"/>
                  <a:gd name="T105" fmla="*/ 992187 h 141"/>
                  <a:gd name="T106" fmla="*/ 87312 w 145"/>
                  <a:gd name="T107" fmla="*/ 896937 h 141"/>
                  <a:gd name="T108" fmla="*/ 87312 w 145"/>
                  <a:gd name="T109" fmla="*/ 896937 h 141"/>
                  <a:gd name="T110" fmla="*/ 87312 w 145"/>
                  <a:gd name="T111" fmla="*/ 896937 h 14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45"/>
                  <a:gd name="T169" fmla="*/ 0 h 141"/>
                  <a:gd name="T170" fmla="*/ 145 w 145"/>
                  <a:gd name="T171" fmla="*/ 141 h 14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45" h="141">
                    <a:moveTo>
                      <a:pt x="11" y="113"/>
                    </a:moveTo>
                    <a:cubicBezTo>
                      <a:pt x="11" y="113"/>
                      <a:pt x="13" y="108"/>
                      <a:pt x="8" y="105"/>
                    </a:cubicBezTo>
                    <a:cubicBezTo>
                      <a:pt x="8" y="105"/>
                      <a:pt x="2" y="103"/>
                      <a:pt x="6" y="96"/>
                    </a:cubicBezTo>
                    <a:cubicBezTo>
                      <a:pt x="6" y="96"/>
                      <a:pt x="9" y="93"/>
                      <a:pt x="7" y="84"/>
                    </a:cubicBezTo>
                    <a:cubicBezTo>
                      <a:pt x="7" y="84"/>
                      <a:pt x="5" y="84"/>
                      <a:pt x="6" y="76"/>
                    </a:cubicBezTo>
                    <a:cubicBezTo>
                      <a:pt x="6" y="76"/>
                      <a:pt x="0" y="75"/>
                      <a:pt x="20" y="57"/>
                    </a:cubicBezTo>
                    <a:cubicBezTo>
                      <a:pt x="20" y="57"/>
                      <a:pt x="41" y="31"/>
                      <a:pt x="62" y="19"/>
                    </a:cubicBezTo>
                    <a:cubicBezTo>
                      <a:pt x="62" y="19"/>
                      <a:pt x="61" y="13"/>
                      <a:pt x="72" y="14"/>
                    </a:cubicBezTo>
                    <a:cubicBezTo>
                      <a:pt x="72" y="14"/>
                      <a:pt x="81" y="15"/>
                      <a:pt x="80" y="10"/>
                    </a:cubicBezTo>
                    <a:cubicBezTo>
                      <a:pt x="80" y="10"/>
                      <a:pt x="78" y="5"/>
                      <a:pt x="85" y="6"/>
                    </a:cubicBezTo>
                    <a:cubicBezTo>
                      <a:pt x="85" y="6"/>
                      <a:pt x="85" y="3"/>
                      <a:pt x="85" y="0"/>
                    </a:cubicBezTo>
                    <a:cubicBezTo>
                      <a:pt x="89" y="5"/>
                      <a:pt x="93" y="4"/>
                      <a:pt x="93" y="4"/>
                    </a:cubicBezTo>
                    <a:cubicBezTo>
                      <a:pt x="97" y="3"/>
                      <a:pt x="99" y="6"/>
                      <a:pt x="99" y="6"/>
                    </a:cubicBezTo>
                    <a:cubicBezTo>
                      <a:pt x="103" y="6"/>
                      <a:pt x="103" y="9"/>
                      <a:pt x="103" y="9"/>
                    </a:cubicBezTo>
                    <a:cubicBezTo>
                      <a:pt x="104" y="12"/>
                      <a:pt x="97" y="13"/>
                      <a:pt x="100" y="15"/>
                    </a:cubicBezTo>
                    <a:cubicBezTo>
                      <a:pt x="101" y="19"/>
                      <a:pt x="103" y="17"/>
                      <a:pt x="103" y="17"/>
                    </a:cubicBezTo>
                    <a:cubicBezTo>
                      <a:pt x="108" y="18"/>
                      <a:pt x="109" y="21"/>
                      <a:pt x="109" y="21"/>
                    </a:cubicBezTo>
                    <a:cubicBezTo>
                      <a:pt x="111" y="27"/>
                      <a:pt x="116" y="25"/>
                      <a:pt x="116" y="25"/>
                    </a:cubicBezTo>
                    <a:cubicBezTo>
                      <a:pt x="120" y="23"/>
                      <a:pt x="125" y="25"/>
                      <a:pt x="125" y="25"/>
                    </a:cubicBezTo>
                    <a:cubicBezTo>
                      <a:pt x="129" y="26"/>
                      <a:pt x="128" y="29"/>
                      <a:pt x="128" y="29"/>
                    </a:cubicBezTo>
                    <a:cubicBezTo>
                      <a:pt x="127" y="32"/>
                      <a:pt x="135" y="31"/>
                      <a:pt x="135" y="31"/>
                    </a:cubicBezTo>
                    <a:cubicBezTo>
                      <a:pt x="136" y="33"/>
                      <a:pt x="133" y="36"/>
                      <a:pt x="133" y="36"/>
                    </a:cubicBezTo>
                    <a:cubicBezTo>
                      <a:pt x="132" y="43"/>
                      <a:pt x="134" y="46"/>
                      <a:pt x="134" y="46"/>
                    </a:cubicBezTo>
                    <a:lnTo>
                      <a:pt x="141" y="53"/>
                    </a:lnTo>
                    <a:cubicBezTo>
                      <a:pt x="145" y="58"/>
                      <a:pt x="141" y="61"/>
                      <a:pt x="141" y="61"/>
                    </a:cubicBezTo>
                    <a:cubicBezTo>
                      <a:pt x="141" y="64"/>
                      <a:pt x="135" y="65"/>
                      <a:pt x="135" y="65"/>
                    </a:cubicBezTo>
                    <a:cubicBezTo>
                      <a:pt x="122" y="64"/>
                      <a:pt x="125" y="70"/>
                      <a:pt x="125" y="70"/>
                    </a:cubicBezTo>
                    <a:cubicBezTo>
                      <a:pt x="128" y="73"/>
                      <a:pt x="122" y="73"/>
                      <a:pt x="122" y="73"/>
                    </a:cubicBezTo>
                    <a:cubicBezTo>
                      <a:pt x="118" y="82"/>
                      <a:pt x="116" y="81"/>
                      <a:pt x="116" y="81"/>
                    </a:cubicBezTo>
                    <a:cubicBezTo>
                      <a:pt x="114" y="84"/>
                      <a:pt x="109" y="81"/>
                      <a:pt x="107" y="85"/>
                    </a:cubicBezTo>
                    <a:cubicBezTo>
                      <a:pt x="106" y="85"/>
                      <a:pt x="106" y="89"/>
                      <a:pt x="106" y="89"/>
                    </a:cubicBezTo>
                    <a:cubicBezTo>
                      <a:pt x="106" y="89"/>
                      <a:pt x="102" y="90"/>
                      <a:pt x="101" y="87"/>
                    </a:cubicBezTo>
                    <a:cubicBezTo>
                      <a:pt x="101" y="87"/>
                      <a:pt x="96" y="84"/>
                      <a:pt x="94" y="87"/>
                    </a:cubicBezTo>
                    <a:cubicBezTo>
                      <a:pt x="94" y="87"/>
                      <a:pt x="88" y="86"/>
                      <a:pt x="89" y="93"/>
                    </a:cubicBezTo>
                    <a:cubicBezTo>
                      <a:pt x="89" y="93"/>
                      <a:pt x="91" y="100"/>
                      <a:pt x="85" y="101"/>
                    </a:cubicBezTo>
                    <a:cubicBezTo>
                      <a:pt x="85" y="101"/>
                      <a:pt x="84" y="105"/>
                      <a:pt x="85" y="108"/>
                    </a:cubicBezTo>
                    <a:cubicBezTo>
                      <a:pt x="85" y="108"/>
                      <a:pt x="90" y="107"/>
                      <a:pt x="91" y="109"/>
                    </a:cubicBezTo>
                    <a:cubicBezTo>
                      <a:pt x="91" y="109"/>
                      <a:pt x="91" y="112"/>
                      <a:pt x="81" y="112"/>
                    </a:cubicBezTo>
                    <a:cubicBezTo>
                      <a:pt x="81" y="112"/>
                      <a:pt x="72" y="111"/>
                      <a:pt x="68" y="113"/>
                    </a:cubicBezTo>
                    <a:cubicBezTo>
                      <a:pt x="68" y="113"/>
                      <a:pt x="67" y="116"/>
                      <a:pt x="58" y="114"/>
                    </a:cubicBezTo>
                    <a:cubicBezTo>
                      <a:pt x="58" y="114"/>
                      <a:pt x="50" y="111"/>
                      <a:pt x="51" y="118"/>
                    </a:cubicBezTo>
                    <a:cubicBezTo>
                      <a:pt x="51" y="118"/>
                      <a:pt x="50" y="121"/>
                      <a:pt x="46" y="122"/>
                    </a:cubicBezTo>
                    <a:cubicBezTo>
                      <a:pt x="46" y="122"/>
                      <a:pt x="42" y="123"/>
                      <a:pt x="43" y="130"/>
                    </a:cubicBezTo>
                    <a:cubicBezTo>
                      <a:pt x="43" y="130"/>
                      <a:pt x="45" y="134"/>
                      <a:pt x="42" y="141"/>
                    </a:cubicBezTo>
                    <a:lnTo>
                      <a:pt x="35" y="141"/>
                    </a:lnTo>
                    <a:cubicBezTo>
                      <a:pt x="35" y="141"/>
                      <a:pt x="34" y="137"/>
                      <a:pt x="29" y="137"/>
                    </a:cubicBezTo>
                    <a:cubicBezTo>
                      <a:pt x="29" y="137"/>
                      <a:pt x="24" y="138"/>
                      <a:pt x="23" y="133"/>
                    </a:cubicBezTo>
                    <a:cubicBezTo>
                      <a:pt x="23" y="133"/>
                      <a:pt x="23" y="126"/>
                      <a:pt x="18" y="129"/>
                    </a:cubicBezTo>
                    <a:cubicBezTo>
                      <a:pt x="18" y="129"/>
                      <a:pt x="13" y="128"/>
                      <a:pt x="13" y="125"/>
                    </a:cubicBezTo>
                    <a:cubicBezTo>
                      <a:pt x="13" y="125"/>
                      <a:pt x="10" y="124"/>
                      <a:pt x="11" y="113"/>
                    </a:cubicBezTo>
                  </a:path>
                </a:pathLst>
              </a:custGeom>
              <a:solidFill>
                <a:schemeClr val="tx2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40" name="Freeform 1193">
                <a:extLst>
                  <a:ext uri="{FF2B5EF4-FFF2-40B4-BE49-F238E27FC236}">
                    <a16:creationId xmlns:a16="http://schemas.microsoft.com/office/drawing/2014/main" id="{D65921E5-ED1F-4784-8829-B702E338A9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7966" y="2024299"/>
                <a:ext cx="840457" cy="911042"/>
              </a:xfrm>
              <a:custGeom>
                <a:avLst/>
                <a:gdLst>
                  <a:gd name="T0" fmla="*/ 150812 w 119"/>
                  <a:gd name="T1" fmla="*/ 793750 h 129"/>
                  <a:gd name="T2" fmla="*/ 119062 w 119"/>
                  <a:gd name="T3" fmla="*/ 690562 h 129"/>
                  <a:gd name="T4" fmla="*/ 119062 w 119"/>
                  <a:gd name="T5" fmla="*/ 650875 h 129"/>
                  <a:gd name="T6" fmla="*/ 174625 w 119"/>
                  <a:gd name="T7" fmla="*/ 650875 h 129"/>
                  <a:gd name="T8" fmla="*/ 95250 w 119"/>
                  <a:gd name="T9" fmla="*/ 500062 h 129"/>
                  <a:gd name="T10" fmla="*/ 63500 w 119"/>
                  <a:gd name="T11" fmla="*/ 428625 h 129"/>
                  <a:gd name="T12" fmla="*/ 23812 w 119"/>
                  <a:gd name="T13" fmla="*/ 357187 h 129"/>
                  <a:gd name="T14" fmla="*/ 39687 w 119"/>
                  <a:gd name="T15" fmla="*/ 293687 h 129"/>
                  <a:gd name="T16" fmla="*/ 39687 w 119"/>
                  <a:gd name="T17" fmla="*/ 293687 h 129"/>
                  <a:gd name="T18" fmla="*/ 15875 w 119"/>
                  <a:gd name="T19" fmla="*/ 214312 h 129"/>
                  <a:gd name="T20" fmla="*/ 15875 w 119"/>
                  <a:gd name="T21" fmla="*/ 214312 h 129"/>
                  <a:gd name="T22" fmla="*/ 55562 w 119"/>
                  <a:gd name="T23" fmla="*/ 158750 h 129"/>
                  <a:gd name="T24" fmla="*/ 142875 w 119"/>
                  <a:gd name="T25" fmla="*/ 174625 h 129"/>
                  <a:gd name="T26" fmla="*/ 198437 w 119"/>
                  <a:gd name="T27" fmla="*/ 166687 h 129"/>
                  <a:gd name="T28" fmla="*/ 277812 w 119"/>
                  <a:gd name="T29" fmla="*/ 111125 h 129"/>
                  <a:gd name="T30" fmla="*/ 309562 w 119"/>
                  <a:gd name="T31" fmla="*/ 47625 h 129"/>
                  <a:gd name="T32" fmla="*/ 428625 w 119"/>
                  <a:gd name="T33" fmla="*/ 31750 h 129"/>
                  <a:gd name="T34" fmla="*/ 595312 w 119"/>
                  <a:gd name="T35" fmla="*/ 23812 h 129"/>
                  <a:gd name="T36" fmla="*/ 690562 w 119"/>
                  <a:gd name="T37" fmla="*/ 39687 h 129"/>
                  <a:gd name="T38" fmla="*/ 754062 w 119"/>
                  <a:gd name="T39" fmla="*/ 47625 h 129"/>
                  <a:gd name="T40" fmla="*/ 762000 w 119"/>
                  <a:gd name="T41" fmla="*/ 87312 h 129"/>
                  <a:gd name="T42" fmla="*/ 754062 w 119"/>
                  <a:gd name="T43" fmla="*/ 134937 h 129"/>
                  <a:gd name="T44" fmla="*/ 730250 w 119"/>
                  <a:gd name="T45" fmla="*/ 182562 h 129"/>
                  <a:gd name="T46" fmla="*/ 746125 w 119"/>
                  <a:gd name="T47" fmla="*/ 246062 h 129"/>
                  <a:gd name="T48" fmla="*/ 746125 w 119"/>
                  <a:gd name="T49" fmla="*/ 285750 h 129"/>
                  <a:gd name="T50" fmla="*/ 730250 w 119"/>
                  <a:gd name="T51" fmla="*/ 381000 h 129"/>
                  <a:gd name="T52" fmla="*/ 769937 w 119"/>
                  <a:gd name="T53" fmla="*/ 388937 h 129"/>
                  <a:gd name="T54" fmla="*/ 833437 w 119"/>
                  <a:gd name="T55" fmla="*/ 420687 h 129"/>
                  <a:gd name="T56" fmla="*/ 873125 w 119"/>
                  <a:gd name="T57" fmla="*/ 484187 h 129"/>
                  <a:gd name="T58" fmla="*/ 896937 w 119"/>
                  <a:gd name="T59" fmla="*/ 547687 h 129"/>
                  <a:gd name="T60" fmla="*/ 865187 w 119"/>
                  <a:gd name="T61" fmla="*/ 587375 h 129"/>
                  <a:gd name="T62" fmla="*/ 912812 w 119"/>
                  <a:gd name="T63" fmla="*/ 627062 h 129"/>
                  <a:gd name="T64" fmla="*/ 865187 w 119"/>
                  <a:gd name="T65" fmla="*/ 658812 h 129"/>
                  <a:gd name="T66" fmla="*/ 873125 w 119"/>
                  <a:gd name="T67" fmla="*/ 706437 h 129"/>
                  <a:gd name="T68" fmla="*/ 833437 w 119"/>
                  <a:gd name="T69" fmla="*/ 746125 h 129"/>
                  <a:gd name="T70" fmla="*/ 825500 w 119"/>
                  <a:gd name="T71" fmla="*/ 793750 h 129"/>
                  <a:gd name="T72" fmla="*/ 777875 w 119"/>
                  <a:gd name="T73" fmla="*/ 833437 h 129"/>
                  <a:gd name="T74" fmla="*/ 730250 w 119"/>
                  <a:gd name="T75" fmla="*/ 801687 h 129"/>
                  <a:gd name="T76" fmla="*/ 666750 w 119"/>
                  <a:gd name="T77" fmla="*/ 817562 h 129"/>
                  <a:gd name="T78" fmla="*/ 611187 w 119"/>
                  <a:gd name="T79" fmla="*/ 833437 h 129"/>
                  <a:gd name="T80" fmla="*/ 571500 w 119"/>
                  <a:gd name="T81" fmla="*/ 873125 h 129"/>
                  <a:gd name="T82" fmla="*/ 523875 w 119"/>
                  <a:gd name="T83" fmla="*/ 944562 h 129"/>
                  <a:gd name="T84" fmla="*/ 523875 w 119"/>
                  <a:gd name="T85" fmla="*/ 992187 h 129"/>
                  <a:gd name="T86" fmla="*/ 500062 w 119"/>
                  <a:gd name="T87" fmla="*/ 1023937 h 129"/>
                  <a:gd name="T88" fmla="*/ 468312 w 119"/>
                  <a:gd name="T89" fmla="*/ 992187 h 129"/>
                  <a:gd name="T90" fmla="*/ 396875 w 119"/>
                  <a:gd name="T91" fmla="*/ 992187 h 129"/>
                  <a:gd name="T92" fmla="*/ 341312 w 119"/>
                  <a:gd name="T93" fmla="*/ 960437 h 129"/>
                  <a:gd name="T94" fmla="*/ 293687 w 119"/>
                  <a:gd name="T95" fmla="*/ 928687 h 129"/>
                  <a:gd name="T96" fmla="*/ 269875 w 119"/>
                  <a:gd name="T97" fmla="*/ 912812 h 129"/>
                  <a:gd name="T98" fmla="*/ 293687 w 119"/>
                  <a:gd name="T99" fmla="*/ 865187 h 129"/>
                  <a:gd name="T100" fmla="*/ 261937 w 119"/>
                  <a:gd name="T101" fmla="*/ 841375 h 129"/>
                  <a:gd name="T102" fmla="*/ 214312 w 119"/>
                  <a:gd name="T103" fmla="*/ 825500 h 129"/>
                  <a:gd name="T104" fmla="*/ 150812 w 119"/>
                  <a:gd name="T105" fmla="*/ 793750 h 129"/>
                  <a:gd name="T106" fmla="*/ 150812 w 119"/>
                  <a:gd name="T107" fmla="*/ 793750 h 129"/>
                  <a:gd name="T108" fmla="*/ 150812 w 119"/>
                  <a:gd name="T109" fmla="*/ 793750 h 129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19"/>
                  <a:gd name="T166" fmla="*/ 0 h 129"/>
                  <a:gd name="T167" fmla="*/ 119 w 119"/>
                  <a:gd name="T168" fmla="*/ 129 h 129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19" h="129">
                    <a:moveTo>
                      <a:pt x="19" y="100"/>
                    </a:moveTo>
                    <a:cubicBezTo>
                      <a:pt x="19" y="96"/>
                      <a:pt x="18" y="92"/>
                      <a:pt x="15" y="87"/>
                    </a:cubicBezTo>
                    <a:cubicBezTo>
                      <a:pt x="15" y="87"/>
                      <a:pt x="10" y="84"/>
                      <a:pt x="15" y="82"/>
                    </a:cubicBezTo>
                    <a:cubicBezTo>
                      <a:pt x="15" y="82"/>
                      <a:pt x="18" y="81"/>
                      <a:pt x="22" y="82"/>
                    </a:cubicBezTo>
                    <a:cubicBezTo>
                      <a:pt x="22" y="78"/>
                      <a:pt x="13" y="78"/>
                      <a:pt x="12" y="63"/>
                    </a:cubicBezTo>
                    <a:cubicBezTo>
                      <a:pt x="10" y="61"/>
                      <a:pt x="13" y="54"/>
                      <a:pt x="8" y="54"/>
                    </a:cubicBezTo>
                    <a:cubicBezTo>
                      <a:pt x="3" y="53"/>
                      <a:pt x="6" y="46"/>
                      <a:pt x="3" y="45"/>
                    </a:cubicBezTo>
                    <a:cubicBezTo>
                      <a:pt x="3" y="45"/>
                      <a:pt x="0" y="44"/>
                      <a:pt x="5" y="37"/>
                    </a:cubicBezTo>
                    <a:lnTo>
                      <a:pt x="2" y="27"/>
                    </a:lnTo>
                    <a:cubicBezTo>
                      <a:pt x="2" y="27"/>
                      <a:pt x="2" y="19"/>
                      <a:pt x="7" y="20"/>
                    </a:cubicBezTo>
                    <a:cubicBezTo>
                      <a:pt x="7" y="20"/>
                      <a:pt x="16" y="19"/>
                      <a:pt x="18" y="22"/>
                    </a:cubicBezTo>
                    <a:cubicBezTo>
                      <a:pt x="18" y="22"/>
                      <a:pt x="15" y="29"/>
                      <a:pt x="25" y="21"/>
                    </a:cubicBezTo>
                    <a:cubicBezTo>
                      <a:pt x="25" y="21"/>
                      <a:pt x="32" y="18"/>
                      <a:pt x="35" y="14"/>
                    </a:cubicBezTo>
                    <a:cubicBezTo>
                      <a:pt x="35" y="14"/>
                      <a:pt x="36" y="9"/>
                      <a:pt x="39" y="6"/>
                    </a:cubicBezTo>
                    <a:cubicBezTo>
                      <a:pt x="39" y="6"/>
                      <a:pt x="40" y="1"/>
                      <a:pt x="54" y="4"/>
                    </a:cubicBezTo>
                    <a:cubicBezTo>
                      <a:pt x="54" y="4"/>
                      <a:pt x="69" y="6"/>
                      <a:pt x="75" y="3"/>
                    </a:cubicBezTo>
                    <a:cubicBezTo>
                      <a:pt x="86" y="0"/>
                      <a:pt x="83" y="4"/>
                      <a:pt x="87" y="5"/>
                    </a:cubicBezTo>
                    <a:cubicBezTo>
                      <a:pt x="87" y="5"/>
                      <a:pt x="90" y="6"/>
                      <a:pt x="95" y="6"/>
                    </a:cubicBezTo>
                    <a:cubicBezTo>
                      <a:pt x="95" y="10"/>
                      <a:pt x="96" y="11"/>
                      <a:pt x="96" y="11"/>
                    </a:cubicBezTo>
                    <a:cubicBezTo>
                      <a:pt x="100" y="11"/>
                      <a:pt x="99" y="18"/>
                      <a:pt x="95" y="17"/>
                    </a:cubicBezTo>
                    <a:cubicBezTo>
                      <a:pt x="93" y="19"/>
                      <a:pt x="92" y="23"/>
                      <a:pt x="92" y="23"/>
                    </a:cubicBezTo>
                    <a:cubicBezTo>
                      <a:pt x="91" y="29"/>
                      <a:pt x="94" y="31"/>
                      <a:pt x="94" y="31"/>
                    </a:cubicBezTo>
                    <a:cubicBezTo>
                      <a:pt x="97" y="34"/>
                      <a:pt x="94" y="36"/>
                      <a:pt x="94" y="36"/>
                    </a:cubicBezTo>
                    <a:cubicBezTo>
                      <a:pt x="94" y="46"/>
                      <a:pt x="92" y="48"/>
                      <a:pt x="92" y="48"/>
                    </a:cubicBezTo>
                    <a:cubicBezTo>
                      <a:pt x="93" y="55"/>
                      <a:pt x="97" y="49"/>
                      <a:pt x="97" y="49"/>
                    </a:cubicBezTo>
                    <a:cubicBezTo>
                      <a:pt x="104" y="47"/>
                      <a:pt x="105" y="53"/>
                      <a:pt x="105" y="53"/>
                    </a:cubicBezTo>
                    <a:cubicBezTo>
                      <a:pt x="107" y="60"/>
                      <a:pt x="110" y="61"/>
                      <a:pt x="110" y="61"/>
                    </a:cubicBezTo>
                    <a:cubicBezTo>
                      <a:pt x="119" y="69"/>
                      <a:pt x="113" y="69"/>
                      <a:pt x="113" y="69"/>
                    </a:cubicBezTo>
                    <a:cubicBezTo>
                      <a:pt x="109" y="70"/>
                      <a:pt x="109" y="74"/>
                      <a:pt x="109" y="74"/>
                    </a:cubicBezTo>
                    <a:cubicBezTo>
                      <a:pt x="117" y="74"/>
                      <a:pt x="115" y="79"/>
                      <a:pt x="115" y="79"/>
                    </a:cubicBezTo>
                    <a:cubicBezTo>
                      <a:pt x="116" y="83"/>
                      <a:pt x="109" y="81"/>
                      <a:pt x="109" y="83"/>
                    </a:cubicBezTo>
                    <a:cubicBezTo>
                      <a:pt x="115" y="87"/>
                      <a:pt x="110" y="89"/>
                      <a:pt x="110" y="89"/>
                    </a:cubicBezTo>
                    <a:cubicBezTo>
                      <a:pt x="110" y="92"/>
                      <a:pt x="105" y="94"/>
                      <a:pt x="105" y="94"/>
                    </a:cubicBezTo>
                    <a:cubicBezTo>
                      <a:pt x="102" y="96"/>
                      <a:pt x="104" y="100"/>
                      <a:pt x="104" y="100"/>
                    </a:cubicBezTo>
                    <a:cubicBezTo>
                      <a:pt x="104" y="110"/>
                      <a:pt x="98" y="105"/>
                      <a:pt x="98" y="105"/>
                    </a:cubicBezTo>
                    <a:cubicBezTo>
                      <a:pt x="95" y="105"/>
                      <a:pt x="95" y="101"/>
                      <a:pt x="92" y="101"/>
                    </a:cubicBezTo>
                    <a:cubicBezTo>
                      <a:pt x="89" y="100"/>
                      <a:pt x="89" y="103"/>
                      <a:pt x="84" y="103"/>
                    </a:cubicBezTo>
                    <a:cubicBezTo>
                      <a:pt x="78" y="102"/>
                      <a:pt x="77" y="105"/>
                      <a:pt x="77" y="105"/>
                    </a:cubicBezTo>
                    <a:cubicBezTo>
                      <a:pt x="75" y="107"/>
                      <a:pt x="76" y="112"/>
                      <a:pt x="72" y="110"/>
                    </a:cubicBezTo>
                    <a:cubicBezTo>
                      <a:pt x="65" y="109"/>
                      <a:pt x="66" y="119"/>
                      <a:pt x="66" y="119"/>
                    </a:cubicBezTo>
                    <a:cubicBezTo>
                      <a:pt x="71" y="123"/>
                      <a:pt x="66" y="125"/>
                      <a:pt x="66" y="125"/>
                    </a:cubicBezTo>
                    <a:cubicBezTo>
                      <a:pt x="65" y="128"/>
                      <a:pt x="63" y="129"/>
                      <a:pt x="63" y="129"/>
                    </a:cubicBezTo>
                    <a:cubicBezTo>
                      <a:pt x="63" y="129"/>
                      <a:pt x="63" y="126"/>
                      <a:pt x="59" y="125"/>
                    </a:cubicBezTo>
                    <a:cubicBezTo>
                      <a:pt x="59" y="125"/>
                      <a:pt x="54" y="123"/>
                      <a:pt x="50" y="125"/>
                    </a:cubicBezTo>
                    <a:cubicBezTo>
                      <a:pt x="50" y="125"/>
                      <a:pt x="45" y="127"/>
                      <a:pt x="43" y="121"/>
                    </a:cubicBezTo>
                    <a:cubicBezTo>
                      <a:pt x="43" y="121"/>
                      <a:pt x="42" y="118"/>
                      <a:pt x="37" y="117"/>
                    </a:cubicBezTo>
                    <a:cubicBezTo>
                      <a:pt x="37" y="117"/>
                      <a:pt x="35" y="119"/>
                      <a:pt x="34" y="115"/>
                    </a:cubicBezTo>
                    <a:cubicBezTo>
                      <a:pt x="31" y="113"/>
                      <a:pt x="38" y="112"/>
                      <a:pt x="37" y="109"/>
                    </a:cubicBezTo>
                    <a:cubicBezTo>
                      <a:pt x="37" y="109"/>
                      <a:pt x="37" y="106"/>
                      <a:pt x="33" y="106"/>
                    </a:cubicBezTo>
                    <a:cubicBezTo>
                      <a:pt x="33" y="106"/>
                      <a:pt x="31" y="103"/>
                      <a:pt x="27" y="104"/>
                    </a:cubicBezTo>
                    <a:cubicBezTo>
                      <a:pt x="27" y="104"/>
                      <a:pt x="23" y="105"/>
                      <a:pt x="19" y="100"/>
                    </a:cubicBezTo>
                  </a:path>
                </a:pathLst>
              </a:custGeom>
              <a:solidFill>
                <a:schemeClr val="accent2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41" name="Freeform 1194">
                <a:extLst>
                  <a:ext uri="{FF2B5EF4-FFF2-40B4-BE49-F238E27FC236}">
                    <a16:creationId xmlns:a16="http://schemas.microsoft.com/office/drawing/2014/main" id="{E46E8149-ACFE-4882-93DB-1B2EFE541A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8788" y="2052548"/>
                <a:ext cx="967583" cy="1052291"/>
              </a:xfrm>
              <a:custGeom>
                <a:avLst/>
                <a:gdLst>
                  <a:gd name="T0" fmla="*/ 277812 w 137"/>
                  <a:gd name="T1" fmla="*/ 55562 h 149"/>
                  <a:gd name="T2" fmla="*/ 246062 w 137"/>
                  <a:gd name="T3" fmla="*/ 150812 h 149"/>
                  <a:gd name="T4" fmla="*/ 261937 w 137"/>
                  <a:gd name="T5" fmla="*/ 254000 h 149"/>
                  <a:gd name="T6" fmla="*/ 285750 w 137"/>
                  <a:gd name="T7" fmla="*/ 357187 h 149"/>
                  <a:gd name="T8" fmla="*/ 388937 w 137"/>
                  <a:gd name="T9" fmla="*/ 452437 h 149"/>
                  <a:gd name="T10" fmla="*/ 381000 w 137"/>
                  <a:gd name="T11" fmla="*/ 555625 h 149"/>
                  <a:gd name="T12" fmla="*/ 381000 w 137"/>
                  <a:gd name="T13" fmla="*/ 627062 h 149"/>
                  <a:gd name="T14" fmla="*/ 349250 w 137"/>
                  <a:gd name="T15" fmla="*/ 714375 h 149"/>
                  <a:gd name="T16" fmla="*/ 293687 w 137"/>
                  <a:gd name="T17" fmla="*/ 801687 h 149"/>
                  <a:gd name="T18" fmla="*/ 182562 w 137"/>
                  <a:gd name="T19" fmla="*/ 785812 h 149"/>
                  <a:gd name="T20" fmla="*/ 87312 w 137"/>
                  <a:gd name="T21" fmla="*/ 841375 h 149"/>
                  <a:gd name="T22" fmla="*/ 39687 w 137"/>
                  <a:gd name="T23" fmla="*/ 960437 h 149"/>
                  <a:gd name="T24" fmla="*/ 63500 w 137"/>
                  <a:gd name="T25" fmla="*/ 1008062 h 149"/>
                  <a:gd name="T26" fmla="*/ 55562 w 137"/>
                  <a:gd name="T27" fmla="*/ 1127125 h 149"/>
                  <a:gd name="T28" fmla="*/ 111125 w 137"/>
                  <a:gd name="T29" fmla="*/ 1182687 h 149"/>
                  <a:gd name="T30" fmla="*/ 150812 w 137"/>
                  <a:gd name="T31" fmla="*/ 1111250 h 149"/>
                  <a:gd name="T32" fmla="*/ 317500 w 137"/>
                  <a:gd name="T33" fmla="*/ 1071562 h 149"/>
                  <a:gd name="T34" fmla="*/ 428625 w 137"/>
                  <a:gd name="T35" fmla="*/ 1063625 h 149"/>
                  <a:gd name="T36" fmla="*/ 492125 w 137"/>
                  <a:gd name="T37" fmla="*/ 1095375 h 149"/>
                  <a:gd name="T38" fmla="*/ 595312 w 137"/>
                  <a:gd name="T39" fmla="*/ 1031875 h 149"/>
                  <a:gd name="T40" fmla="*/ 730250 w 137"/>
                  <a:gd name="T41" fmla="*/ 912812 h 149"/>
                  <a:gd name="T42" fmla="*/ 841375 w 137"/>
                  <a:gd name="T43" fmla="*/ 904875 h 149"/>
                  <a:gd name="T44" fmla="*/ 857250 w 137"/>
                  <a:gd name="T45" fmla="*/ 825500 h 149"/>
                  <a:gd name="T46" fmla="*/ 865187 w 137"/>
                  <a:gd name="T47" fmla="*/ 698500 h 149"/>
                  <a:gd name="T48" fmla="*/ 912812 w 137"/>
                  <a:gd name="T49" fmla="*/ 563562 h 149"/>
                  <a:gd name="T50" fmla="*/ 944562 w 137"/>
                  <a:gd name="T51" fmla="*/ 508000 h 149"/>
                  <a:gd name="T52" fmla="*/ 960437 w 137"/>
                  <a:gd name="T53" fmla="*/ 444500 h 149"/>
                  <a:gd name="T54" fmla="*/ 984250 w 137"/>
                  <a:gd name="T55" fmla="*/ 357187 h 149"/>
                  <a:gd name="T56" fmla="*/ 1031875 w 137"/>
                  <a:gd name="T57" fmla="*/ 341312 h 149"/>
                  <a:gd name="T58" fmla="*/ 1079500 w 137"/>
                  <a:gd name="T59" fmla="*/ 285750 h 149"/>
                  <a:gd name="T60" fmla="*/ 904875 w 137"/>
                  <a:gd name="T61" fmla="*/ 238125 h 149"/>
                  <a:gd name="T62" fmla="*/ 881062 w 137"/>
                  <a:gd name="T63" fmla="*/ 174625 h 149"/>
                  <a:gd name="T64" fmla="*/ 849312 w 137"/>
                  <a:gd name="T65" fmla="*/ 150812 h 149"/>
                  <a:gd name="T66" fmla="*/ 785812 w 137"/>
                  <a:gd name="T67" fmla="*/ 150812 h 149"/>
                  <a:gd name="T68" fmla="*/ 611187 w 137"/>
                  <a:gd name="T69" fmla="*/ 95250 h 149"/>
                  <a:gd name="T70" fmla="*/ 500062 w 137"/>
                  <a:gd name="T71" fmla="*/ 55562 h 149"/>
                  <a:gd name="T72" fmla="*/ 357187 w 137"/>
                  <a:gd name="T73" fmla="*/ 15875 h 149"/>
                  <a:gd name="T74" fmla="*/ 269875 w 137"/>
                  <a:gd name="T75" fmla="*/ 15875 h 14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37"/>
                  <a:gd name="T115" fmla="*/ 0 h 149"/>
                  <a:gd name="T116" fmla="*/ 137 w 137"/>
                  <a:gd name="T117" fmla="*/ 149 h 149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37" h="149">
                    <a:moveTo>
                      <a:pt x="34" y="2"/>
                    </a:moveTo>
                    <a:cubicBezTo>
                      <a:pt x="34" y="5"/>
                      <a:pt x="35" y="7"/>
                      <a:pt x="35" y="7"/>
                    </a:cubicBezTo>
                    <a:cubicBezTo>
                      <a:pt x="39" y="7"/>
                      <a:pt x="38" y="14"/>
                      <a:pt x="34" y="13"/>
                    </a:cubicBezTo>
                    <a:cubicBezTo>
                      <a:pt x="32" y="15"/>
                      <a:pt x="31" y="19"/>
                      <a:pt x="31" y="19"/>
                    </a:cubicBezTo>
                    <a:cubicBezTo>
                      <a:pt x="30" y="25"/>
                      <a:pt x="33" y="27"/>
                      <a:pt x="33" y="27"/>
                    </a:cubicBezTo>
                    <a:cubicBezTo>
                      <a:pt x="36" y="30"/>
                      <a:pt x="33" y="32"/>
                      <a:pt x="33" y="32"/>
                    </a:cubicBezTo>
                    <a:cubicBezTo>
                      <a:pt x="33" y="42"/>
                      <a:pt x="31" y="44"/>
                      <a:pt x="31" y="44"/>
                    </a:cubicBezTo>
                    <a:cubicBezTo>
                      <a:pt x="32" y="51"/>
                      <a:pt x="36" y="45"/>
                      <a:pt x="36" y="45"/>
                    </a:cubicBezTo>
                    <a:cubicBezTo>
                      <a:pt x="43" y="43"/>
                      <a:pt x="44" y="49"/>
                      <a:pt x="44" y="49"/>
                    </a:cubicBezTo>
                    <a:cubicBezTo>
                      <a:pt x="46" y="56"/>
                      <a:pt x="49" y="57"/>
                      <a:pt x="49" y="57"/>
                    </a:cubicBezTo>
                    <a:cubicBezTo>
                      <a:pt x="58" y="65"/>
                      <a:pt x="52" y="65"/>
                      <a:pt x="52" y="65"/>
                    </a:cubicBezTo>
                    <a:cubicBezTo>
                      <a:pt x="48" y="66"/>
                      <a:pt x="48" y="70"/>
                      <a:pt x="48" y="70"/>
                    </a:cubicBezTo>
                    <a:cubicBezTo>
                      <a:pt x="56" y="70"/>
                      <a:pt x="54" y="75"/>
                      <a:pt x="54" y="75"/>
                    </a:cubicBezTo>
                    <a:cubicBezTo>
                      <a:pt x="55" y="79"/>
                      <a:pt x="48" y="77"/>
                      <a:pt x="48" y="79"/>
                    </a:cubicBezTo>
                    <a:cubicBezTo>
                      <a:pt x="54" y="83"/>
                      <a:pt x="49" y="85"/>
                      <a:pt x="49" y="85"/>
                    </a:cubicBezTo>
                    <a:cubicBezTo>
                      <a:pt x="49" y="88"/>
                      <a:pt x="44" y="90"/>
                      <a:pt x="44" y="90"/>
                    </a:cubicBezTo>
                    <a:cubicBezTo>
                      <a:pt x="41" y="92"/>
                      <a:pt x="43" y="96"/>
                      <a:pt x="43" y="96"/>
                    </a:cubicBezTo>
                    <a:cubicBezTo>
                      <a:pt x="43" y="106"/>
                      <a:pt x="37" y="101"/>
                      <a:pt x="37" y="101"/>
                    </a:cubicBezTo>
                    <a:cubicBezTo>
                      <a:pt x="34" y="101"/>
                      <a:pt x="34" y="97"/>
                      <a:pt x="31" y="97"/>
                    </a:cubicBezTo>
                    <a:cubicBezTo>
                      <a:pt x="28" y="96"/>
                      <a:pt x="28" y="99"/>
                      <a:pt x="23" y="99"/>
                    </a:cubicBezTo>
                    <a:cubicBezTo>
                      <a:pt x="17" y="98"/>
                      <a:pt x="16" y="101"/>
                      <a:pt x="16" y="101"/>
                    </a:cubicBezTo>
                    <a:cubicBezTo>
                      <a:pt x="14" y="103"/>
                      <a:pt x="15" y="108"/>
                      <a:pt x="11" y="106"/>
                    </a:cubicBezTo>
                    <a:cubicBezTo>
                      <a:pt x="4" y="105"/>
                      <a:pt x="5" y="115"/>
                      <a:pt x="5" y="115"/>
                    </a:cubicBezTo>
                    <a:cubicBezTo>
                      <a:pt x="10" y="119"/>
                      <a:pt x="5" y="121"/>
                      <a:pt x="5" y="121"/>
                    </a:cubicBezTo>
                    <a:cubicBezTo>
                      <a:pt x="4" y="124"/>
                      <a:pt x="2" y="125"/>
                      <a:pt x="2" y="125"/>
                    </a:cubicBezTo>
                    <a:cubicBezTo>
                      <a:pt x="0" y="128"/>
                      <a:pt x="8" y="127"/>
                      <a:pt x="8" y="127"/>
                    </a:cubicBezTo>
                    <a:cubicBezTo>
                      <a:pt x="9" y="129"/>
                      <a:pt x="6" y="132"/>
                      <a:pt x="6" y="132"/>
                    </a:cubicBezTo>
                    <a:cubicBezTo>
                      <a:pt x="5" y="139"/>
                      <a:pt x="7" y="142"/>
                      <a:pt x="7" y="142"/>
                    </a:cubicBezTo>
                    <a:lnTo>
                      <a:pt x="14" y="149"/>
                    </a:lnTo>
                    <a:cubicBezTo>
                      <a:pt x="14" y="149"/>
                      <a:pt x="20" y="143"/>
                      <a:pt x="19" y="140"/>
                    </a:cubicBezTo>
                    <a:cubicBezTo>
                      <a:pt x="20" y="133"/>
                      <a:pt x="25" y="141"/>
                      <a:pt x="30" y="138"/>
                    </a:cubicBezTo>
                    <a:cubicBezTo>
                      <a:pt x="30" y="138"/>
                      <a:pt x="37" y="138"/>
                      <a:pt x="40" y="135"/>
                    </a:cubicBezTo>
                    <a:cubicBezTo>
                      <a:pt x="40" y="135"/>
                      <a:pt x="42" y="131"/>
                      <a:pt x="46" y="132"/>
                    </a:cubicBezTo>
                    <a:cubicBezTo>
                      <a:pt x="46" y="132"/>
                      <a:pt x="51" y="131"/>
                      <a:pt x="54" y="134"/>
                    </a:cubicBezTo>
                    <a:cubicBezTo>
                      <a:pt x="58" y="130"/>
                      <a:pt x="56" y="139"/>
                      <a:pt x="58" y="140"/>
                    </a:cubicBezTo>
                    <a:cubicBezTo>
                      <a:pt x="61" y="140"/>
                      <a:pt x="62" y="138"/>
                      <a:pt x="62" y="138"/>
                    </a:cubicBezTo>
                    <a:cubicBezTo>
                      <a:pt x="65" y="131"/>
                      <a:pt x="67" y="135"/>
                      <a:pt x="67" y="135"/>
                    </a:cubicBezTo>
                    <a:cubicBezTo>
                      <a:pt x="71" y="136"/>
                      <a:pt x="75" y="130"/>
                      <a:pt x="75" y="130"/>
                    </a:cubicBezTo>
                    <a:cubicBezTo>
                      <a:pt x="82" y="125"/>
                      <a:pt x="83" y="121"/>
                      <a:pt x="83" y="121"/>
                    </a:cubicBezTo>
                    <a:cubicBezTo>
                      <a:pt x="87" y="114"/>
                      <a:pt x="92" y="115"/>
                      <a:pt x="92" y="115"/>
                    </a:cubicBezTo>
                    <a:cubicBezTo>
                      <a:pt x="96" y="116"/>
                      <a:pt x="98" y="113"/>
                      <a:pt x="98" y="113"/>
                    </a:cubicBezTo>
                    <a:cubicBezTo>
                      <a:pt x="101" y="109"/>
                      <a:pt x="102" y="115"/>
                      <a:pt x="106" y="114"/>
                    </a:cubicBezTo>
                    <a:cubicBezTo>
                      <a:pt x="109" y="113"/>
                      <a:pt x="107" y="110"/>
                      <a:pt x="107" y="110"/>
                    </a:cubicBezTo>
                    <a:cubicBezTo>
                      <a:pt x="104" y="105"/>
                      <a:pt x="108" y="104"/>
                      <a:pt x="108" y="104"/>
                    </a:cubicBezTo>
                    <a:cubicBezTo>
                      <a:pt x="111" y="99"/>
                      <a:pt x="109" y="96"/>
                      <a:pt x="109" y="96"/>
                    </a:cubicBezTo>
                    <a:cubicBezTo>
                      <a:pt x="107" y="93"/>
                      <a:pt x="110" y="92"/>
                      <a:pt x="109" y="88"/>
                    </a:cubicBezTo>
                    <a:cubicBezTo>
                      <a:pt x="109" y="82"/>
                      <a:pt x="106" y="77"/>
                      <a:pt x="110" y="77"/>
                    </a:cubicBezTo>
                    <a:cubicBezTo>
                      <a:pt x="114" y="76"/>
                      <a:pt x="115" y="71"/>
                      <a:pt x="115" y="71"/>
                    </a:cubicBezTo>
                    <a:lnTo>
                      <a:pt x="119" y="64"/>
                    </a:lnTo>
                    <a:cubicBezTo>
                      <a:pt x="123" y="64"/>
                      <a:pt x="121" y="56"/>
                      <a:pt x="121" y="56"/>
                    </a:cubicBezTo>
                    <a:cubicBezTo>
                      <a:pt x="126" y="53"/>
                      <a:pt x="123" y="52"/>
                      <a:pt x="123" y="52"/>
                    </a:cubicBezTo>
                    <a:cubicBezTo>
                      <a:pt x="121" y="47"/>
                      <a:pt x="124" y="45"/>
                      <a:pt x="124" y="45"/>
                    </a:cubicBezTo>
                    <a:cubicBezTo>
                      <a:pt x="124" y="48"/>
                      <a:pt x="124" y="49"/>
                      <a:pt x="128" y="50"/>
                    </a:cubicBezTo>
                    <a:cubicBezTo>
                      <a:pt x="127" y="46"/>
                      <a:pt x="130" y="43"/>
                      <a:pt x="130" y="43"/>
                    </a:cubicBezTo>
                    <a:cubicBezTo>
                      <a:pt x="132" y="39"/>
                      <a:pt x="134" y="42"/>
                      <a:pt x="134" y="42"/>
                    </a:cubicBezTo>
                    <a:cubicBezTo>
                      <a:pt x="133" y="39"/>
                      <a:pt x="136" y="36"/>
                      <a:pt x="136" y="36"/>
                    </a:cubicBezTo>
                    <a:cubicBezTo>
                      <a:pt x="137" y="29"/>
                      <a:pt x="124" y="29"/>
                      <a:pt x="124" y="32"/>
                    </a:cubicBezTo>
                    <a:cubicBezTo>
                      <a:pt x="113" y="33"/>
                      <a:pt x="114" y="30"/>
                      <a:pt x="114" y="30"/>
                    </a:cubicBezTo>
                    <a:cubicBezTo>
                      <a:pt x="118" y="27"/>
                      <a:pt x="113" y="27"/>
                      <a:pt x="113" y="27"/>
                    </a:cubicBezTo>
                    <a:cubicBezTo>
                      <a:pt x="110" y="25"/>
                      <a:pt x="111" y="22"/>
                      <a:pt x="111" y="22"/>
                    </a:cubicBezTo>
                    <a:cubicBezTo>
                      <a:pt x="112" y="19"/>
                      <a:pt x="107" y="19"/>
                      <a:pt x="107" y="19"/>
                    </a:cubicBezTo>
                    <a:lnTo>
                      <a:pt x="99" y="19"/>
                    </a:lnTo>
                    <a:cubicBezTo>
                      <a:pt x="93" y="19"/>
                      <a:pt x="92" y="13"/>
                      <a:pt x="81" y="13"/>
                    </a:cubicBezTo>
                    <a:cubicBezTo>
                      <a:pt x="76" y="14"/>
                      <a:pt x="77" y="12"/>
                      <a:pt x="77" y="12"/>
                    </a:cubicBezTo>
                    <a:cubicBezTo>
                      <a:pt x="76" y="8"/>
                      <a:pt x="69" y="9"/>
                      <a:pt x="69" y="9"/>
                    </a:cubicBezTo>
                    <a:cubicBezTo>
                      <a:pt x="63" y="10"/>
                      <a:pt x="63" y="7"/>
                      <a:pt x="63" y="7"/>
                    </a:cubicBezTo>
                    <a:cubicBezTo>
                      <a:pt x="62" y="3"/>
                      <a:pt x="55" y="4"/>
                      <a:pt x="55" y="4"/>
                    </a:cubicBezTo>
                    <a:cubicBezTo>
                      <a:pt x="47" y="4"/>
                      <a:pt x="48" y="0"/>
                      <a:pt x="45" y="2"/>
                    </a:cubicBezTo>
                    <a:cubicBezTo>
                      <a:pt x="41" y="2"/>
                      <a:pt x="37" y="2"/>
                      <a:pt x="34" y="2"/>
                    </a:cubicBezTo>
                  </a:path>
                </a:pathLst>
              </a:custGeom>
              <a:solidFill>
                <a:schemeClr val="accent2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  <p:sp>
            <p:nvSpPr>
              <p:cNvPr id="42" name="Freeform 1195">
                <a:extLst>
                  <a:ext uri="{FF2B5EF4-FFF2-40B4-BE49-F238E27FC236}">
                    <a16:creationId xmlns:a16="http://schemas.microsoft.com/office/drawing/2014/main" id="{D49F4387-0086-4627-8BEA-B7DA3BA2A0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3304" y="2250294"/>
                <a:ext cx="889894" cy="1158224"/>
              </a:xfrm>
              <a:custGeom>
                <a:avLst/>
                <a:gdLst>
                  <a:gd name="T0" fmla="*/ 285750 w 126"/>
                  <a:gd name="T1" fmla="*/ 63500 h 164"/>
                  <a:gd name="T2" fmla="*/ 420688 w 126"/>
                  <a:gd name="T3" fmla="*/ 39688 h 164"/>
                  <a:gd name="T4" fmla="*/ 484188 w 126"/>
                  <a:gd name="T5" fmla="*/ 63500 h 164"/>
                  <a:gd name="T6" fmla="*/ 571500 w 126"/>
                  <a:gd name="T7" fmla="*/ 71438 h 164"/>
                  <a:gd name="T8" fmla="*/ 642938 w 126"/>
                  <a:gd name="T9" fmla="*/ 166688 h 164"/>
                  <a:gd name="T10" fmla="*/ 793750 w 126"/>
                  <a:gd name="T11" fmla="*/ 47625 h 164"/>
                  <a:gd name="T12" fmla="*/ 865188 w 126"/>
                  <a:gd name="T13" fmla="*/ 198438 h 164"/>
                  <a:gd name="T14" fmla="*/ 825500 w 126"/>
                  <a:gd name="T15" fmla="*/ 285750 h 164"/>
                  <a:gd name="T16" fmla="*/ 833438 w 126"/>
                  <a:gd name="T17" fmla="*/ 357188 h 164"/>
                  <a:gd name="T18" fmla="*/ 873125 w 126"/>
                  <a:gd name="T19" fmla="*/ 468313 h 164"/>
                  <a:gd name="T20" fmla="*/ 912813 w 126"/>
                  <a:gd name="T21" fmla="*/ 650875 h 164"/>
                  <a:gd name="T22" fmla="*/ 912813 w 126"/>
                  <a:gd name="T23" fmla="*/ 793750 h 164"/>
                  <a:gd name="T24" fmla="*/ 976313 w 126"/>
                  <a:gd name="T25" fmla="*/ 936625 h 164"/>
                  <a:gd name="T26" fmla="*/ 984250 w 126"/>
                  <a:gd name="T27" fmla="*/ 1071563 h 164"/>
                  <a:gd name="T28" fmla="*/ 873125 w 126"/>
                  <a:gd name="T29" fmla="*/ 1166813 h 164"/>
                  <a:gd name="T30" fmla="*/ 881063 w 126"/>
                  <a:gd name="T31" fmla="*/ 1254125 h 164"/>
                  <a:gd name="T32" fmla="*/ 706438 w 126"/>
                  <a:gd name="T33" fmla="*/ 1293813 h 164"/>
                  <a:gd name="T34" fmla="*/ 690563 w 126"/>
                  <a:gd name="T35" fmla="*/ 1174750 h 164"/>
                  <a:gd name="T36" fmla="*/ 595313 w 126"/>
                  <a:gd name="T37" fmla="*/ 1150938 h 164"/>
                  <a:gd name="T38" fmla="*/ 460375 w 126"/>
                  <a:gd name="T39" fmla="*/ 1166813 h 164"/>
                  <a:gd name="T40" fmla="*/ 246063 w 126"/>
                  <a:gd name="T41" fmla="*/ 1166813 h 164"/>
                  <a:gd name="T42" fmla="*/ 134938 w 126"/>
                  <a:gd name="T43" fmla="*/ 1071563 h 164"/>
                  <a:gd name="T44" fmla="*/ 174625 w 126"/>
                  <a:gd name="T45" fmla="*/ 944563 h 164"/>
                  <a:gd name="T46" fmla="*/ 103188 w 126"/>
                  <a:gd name="T47" fmla="*/ 857250 h 164"/>
                  <a:gd name="T48" fmla="*/ 39688 w 126"/>
                  <a:gd name="T49" fmla="*/ 746125 h 164"/>
                  <a:gd name="T50" fmla="*/ 23813 w 126"/>
                  <a:gd name="T51" fmla="*/ 650875 h 164"/>
                  <a:gd name="T52" fmla="*/ 39688 w 126"/>
                  <a:gd name="T53" fmla="*/ 539750 h 164"/>
                  <a:gd name="T54" fmla="*/ 47625 w 126"/>
                  <a:gd name="T55" fmla="*/ 388938 h 164"/>
                  <a:gd name="T56" fmla="*/ 87313 w 126"/>
                  <a:gd name="T57" fmla="*/ 341313 h 164"/>
                  <a:gd name="T58" fmla="*/ 119063 w 126"/>
                  <a:gd name="T59" fmla="*/ 285750 h 164"/>
                  <a:gd name="T60" fmla="*/ 150813 w 126"/>
                  <a:gd name="T61" fmla="*/ 190500 h 164"/>
                  <a:gd name="T62" fmla="*/ 190500 w 126"/>
                  <a:gd name="T63" fmla="*/ 174625 h 164"/>
                  <a:gd name="T64" fmla="*/ 238125 w 126"/>
                  <a:gd name="T65" fmla="*/ 111125 h 164"/>
                  <a:gd name="T66" fmla="*/ 238125 w 126"/>
                  <a:gd name="T67" fmla="*/ 111125 h 16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26"/>
                  <a:gd name="T103" fmla="*/ 0 h 164"/>
                  <a:gd name="T104" fmla="*/ 126 w 126"/>
                  <a:gd name="T105" fmla="*/ 164 h 16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26" h="164">
                    <a:moveTo>
                      <a:pt x="30" y="14"/>
                    </a:moveTo>
                    <a:cubicBezTo>
                      <a:pt x="30" y="14"/>
                      <a:pt x="36" y="17"/>
                      <a:pt x="36" y="8"/>
                    </a:cubicBezTo>
                    <a:cubicBezTo>
                      <a:pt x="36" y="8"/>
                      <a:pt x="37" y="0"/>
                      <a:pt x="42" y="6"/>
                    </a:cubicBezTo>
                    <a:cubicBezTo>
                      <a:pt x="42" y="6"/>
                      <a:pt x="47" y="11"/>
                      <a:pt x="53" y="5"/>
                    </a:cubicBezTo>
                    <a:cubicBezTo>
                      <a:pt x="53" y="5"/>
                      <a:pt x="52" y="3"/>
                      <a:pt x="58" y="0"/>
                    </a:cubicBezTo>
                    <a:cubicBezTo>
                      <a:pt x="60" y="2"/>
                      <a:pt x="57" y="7"/>
                      <a:pt x="61" y="8"/>
                    </a:cubicBezTo>
                    <a:cubicBezTo>
                      <a:pt x="61" y="8"/>
                      <a:pt x="61" y="12"/>
                      <a:pt x="65" y="10"/>
                    </a:cubicBezTo>
                    <a:cubicBezTo>
                      <a:pt x="65" y="10"/>
                      <a:pt x="66" y="6"/>
                      <a:pt x="72" y="9"/>
                    </a:cubicBezTo>
                    <a:cubicBezTo>
                      <a:pt x="72" y="9"/>
                      <a:pt x="75" y="8"/>
                      <a:pt x="75" y="13"/>
                    </a:cubicBezTo>
                    <a:cubicBezTo>
                      <a:pt x="75" y="13"/>
                      <a:pt x="73" y="18"/>
                      <a:pt x="81" y="21"/>
                    </a:cubicBezTo>
                    <a:cubicBezTo>
                      <a:pt x="81" y="21"/>
                      <a:pt x="81" y="9"/>
                      <a:pt x="92" y="9"/>
                    </a:cubicBezTo>
                    <a:cubicBezTo>
                      <a:pt x="92" y="9"/>
                      <a:pt x="97" y="2"/>
                      <a:pt x="100" y="6"/>
                    </a:cubicBezTo>
                    <a:cubicBezTo>
                      <a:pt x="100" y="6"/>
                      <a:pt x="104" y="10"/>
                      <a:pt x="104" y="15"/>
                    </a:cubicBezTo>
                    <a:cubicBezTo>
                      <a:pt x="104" y="15"/>
                      <a:pt x="105" y="24"/>
                      <a:pt x="109" y="25"/>
                    </a:cubicBezTo>
                    <a:cubicBezTo>
                      <a:pt x="109" y="25"/>
                      <a:pt x="114" y="34"/>
                      <a:pt x="104" y="36"/>
                    </a:cubicBezTo>
                    <a:lnTo>
                      <a:pt x="105" y="45"/>
                    </a:lnTo>
                    <a:cubicBezTo>
                      <a:pt x="105" y="45"/>
                      <a:pt x="110" y="42"/>
                      <a:pt x="114" y="50"/>
                    </a:cubicBezTo>
                    <a:cubicBezTo>
                      <a:pt x="113" y="57"/>
                      <a:pt x="109" y="57"/>
                      <a:pt x="110" y="59"/>
                    </a:cubicBezTo>
                    <a:cubicBezTo>
                      <a:pt x="110" y="59"/>
                      <a:pt x="116" y="62"/>
                      <a:pt x="115" y="72"/>
                    </a:cubicBezTo>
                    <a:cubicBezTo>
                      <a:pt x="115" y="72"/>
                      <a:pt x="120" y="74"/>
                      <a:pt x="115" y="82"/>
                    </a:cubicBezTo>
                    <a:cubicBezTo>
                      <a:pt x="115" y="82"/>
                      <a:pt x="112" y="84"/>
                      <a:pt x="114" y="92"/>
                    </a:cubicBezTo>
                    <a:cubicBezTo>
                      <a:pt x="113" y="97"/>
                      <a:pt x="109" y="98"/>
                      <a:pt x="115" y="100"/>
                    </a:cubicBezTo>
                    <a:cubicBezTo>
                      <a:pt x="115" y="100"/>
                      <a:pt x="119" y="100"/>
                      <a:pt x="119" y="108"/>
                    </a:cubicBezTo>
                    <a:cubicBezTo>
                      <a:pt x="119" y="108"/>
                      <a:pt x="124" y="109"/>
                      <a:pt x="123" y="118"/>
                    </a:cubicBezTo>
                    <a:cubicBezTo>
                      <a:pt x="123" y="118"/>
                      <a:pt x="126" y="122"/>
                      <a:pt x="122" y="125"/>
                    </a:cubicBezTo>
                    <a:cubicBezTo>
                      <a:pt x="122" y="125"/>
                      <a:pt x="120" y="132"/>
                      <a:pt x="124" y="135"/>
                    </a:cubicBezTo>
                    <a:cubicBezTo>
                      <a:pt x="124" y="135"/>
                      <a:pt x="126" y="137"/>
                      <a:pt x="118" y="143"/>
                    </a:cubicBezTo>
                    <a:cubicBezTo>
                      <a:pt x="118" y="143"/>
                      <a:pt x="115" y="146"/>
                      <a:pt x="110" y="147"/>
                    </a:cubicBezTo>
                    <a:cubicBezTo>
                      <a:pt x="110" y="147"/>
                      <a:pt x="109" y="149"/>
                      <a:pt x="110" y="153"/>
                    </a:cubicBezTo>
                    <a:cubicBezTo>
                      <a:pt x="110" y="153"/>
                      <a:pt x="113" y="155"/>
                      <a:pt x="111" y="158"/>
                    </a:cubicBezTo>
                    <a:cubicBezTo>
                      <a:pt x="108" y="161"/>
                      <a:pt x="103" y="158"/>
                      <a:pt x="101" y="162"/>
                    </a:cubicBezTo>
                    <a:cubicBezTo>
                      <a:pt x="99" y="164"/>
                      <a:pt x="89" y="163"/>
                      <a:pt x="89" y="163"/>
                    </a:cubicBezTo>
                    <a:cubicBezTo>
                      <a:pt x="84" y="160"/>
                      <a:pt x="87" y="155"/>
                      <a:pt x="87" y="155"/>
                    </a:cubicBezTo>
                    <a:cubicBezTo>
                      <a:pt x="89" y="153"/>
                      <a:pt x="87" y="148"/>
                      <a:pt x="87" y="148"/>
                    </a:cubicBezTo>
                    <a:cubicBezTo>
                      <a:pt x="83" y="147"/>
                      <a:pt x="88" y="138"/>
                      <a:pt x="80" y="141"/>
                    </a:cubicBezTo>
                    <a:cubicBezTo>
                      <a:pt x="77" y="141"/>
                      <a:pt x="75" y="141"/>
                      <a:pt x="75" y="145"/>
                    </a:cubicBezTo>
                    <a:cubicBezTo>
                      <a:pt x="70" y="148"/>
                      <a:pt x="66" y="146"/>
                      <a:pt x="66" y="146"/>
                    </a:cubicBezTo>
                    <a:cubicBezTo>
                      <a:pt x="66" y="146"/>
                      <a:pt x="61" y="143"/>
                      <a:pt x="58" y="147"/>
                    </a:cubicBezTo>
                    <a:cubicBezTo>
                      <a:pt x="57" y="150"/>
                      <a:pt x="55" y="144"/>
                      <a:pt x="46" y="147"/>
                    </a:cubicBezTo>
                    <a:cubicBezTo>
                      <a:pt x="42" y="150"/>
                      <a:pt x="38" y="145"/>
                      <a:pt x="31" y="147"/>
                    </a:cubicBezTo>
                    <a:cubicBezTo>
                      <a:pt x="29" y="144"/>
                      <a:pt x="22" y="144"/>
                      <a:pt x="22" y="144"/>
                    </a:cubicBezTo>
                    <a:cubicBezTo>
                      <a:pt x="17" y="139"/>
                      <a:pt x="17" y="135"/>
                      <a:pt x="17" y="135"/>
                    </a:cubicBezTo>
                    <a:cubicBezTo>
                      <a:pt x="16" y="128"/>
                      <a:pt x="20" y="128"/>
                      <a:pt x="20" y="128"/>
                    </a:cubicBezTo>
                    <a:cubicBezTo>
                      <a:pt x="25" y="126"/>
                      <a:pt x="19" y="124"/>
                      <a:pt x="22" y="119"/>
                    </a:cubicBezTo>
                    <a:cubicBezTo>
                      <a:pt x="22" y="111"/>
                      <a:pt x="20" y="110"/>
                      <a:pt x="20" y="110"/>
                    </a:cubicBezTo>
                    <a:cubicBezTo>
                      <a:pt x="17" y="114"/>
                      <a:pt x="13" y="108"/>
                      <a:pt x="13" y="108"/>
                    </a:cubicBezTo>
                    <a:cubicBezTo>
                      <a:pt x="10" y="108"/>
                      <a:pt x="11" y="104"/>
                      <a:pt x="6" y="100"/>
                    </a:cubicBezTo>
                    <a:cubicBezTo>
                      <a:pt x="1" y="97"/>
                      <a:pt x="5" y="94"/>
                      <a:pt x="5" y="94"/>
                    </a:cubicBezTo>
                    <a:cubicBezTo>
                      <a:pt x="8" y="89"/>
                      <a:pt x="3" y="90"/>
                      <a:pt x="3" y="86"/>
                    </a:cubicBezTo>
                    <a:cubicBezTo>
                      <a:pt x="6" y="86"/>
                      <a:pt x="3" y="82"/>
                      <a:pt x="3" y="82"/>
                    </a:cubicBezTo>
                    <a:cubicBezTo>
                      <a:pt x="0" y="77"/>
                      <a:pt x="4" y="76"/>
                      <a:pt x="4" y="76"/>
                    </a:cubicBezTo>
                    <a:cubicBezTo>
                      <a:pt x="7" y="71"/>
                      <a:pt x="5" y="68"/>
                      <a:pt x="5" y="68"/>
                    </a:cubicBezTo>
                    <a:cubicBezTo>
                      <a:pt x="3" y="65"/>
                      <a:pt x="6" y="64"/>
                      <a:pt x="5" y="60"/>
                    </a:cubicBezTo>
                    <a:cubicBezTo>
                      <a:pt x="5" y="54"/>
                      <a:pt x="2" y="49"/>
                      <a:pt x="6" y="49"/>
                    </a:cubicBezTo>
                    <a:cubicBezTo>
                      <a:pt x="10" y="48"/>
                      <a:pt x="11" y="43"/>
                      <a:pt x="11" y="43"/>
                    </a:cubicBezTo>
                    <a:lnTo>
                      <a:pt x="15" y="36"/>
                    </a:lnTo>
                    <a:cubicBezTo>
                      <a:pt x="19" y="36"/>
                      <a:pt x="17" y="28"/>
                      <a:pt x="17" y="28"/>
                    </a:cubicBezTo>
                    <a:cubicBezTo>
                      <a:pt x="22" y="25"/>
                      <a:pt x="19" y="24"/>
                      <a:pt x="19" y="24"/>
                    </a:cubicBezTo>
                    <a:cubicBezTo>
                      <a:pt x="17" y="19"/>
                      <a:pt x="20" y="17"/>
                      <a:pt x="20" y="17"/>
                    </a:cubicBezTo>
                    <a:cubicBezTo>
                      <a:pt x="20" y="20"/>
                      <a:pt x="20" y="21"/>
                      <a:pt x="24" y="22"/>
                    </a:cubicBezTo>
                    <a:cubicBezTo>
                      <a:pt x="23" y="18"/>
                      <a:pt x="26" y="15"/>
                      <a:pt x="26" y="15"/>
                    </a:cubicBezTo>
                    <a:cubicBezTo>
                      <a:pt x="28" y="11"/>
                      <a:pt x="30" y="14"/>
                      <a:pt x="30" y="14"/>
                    </a:cubicBezTo>
                  </a:path>
                </a:pathLst>
              </a:custGeom>
              <a:solidFill>
                <a:schemeClr val="accent3"/>
              </a:solidFill>
              <a:ln w="1270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uk-UA" sz="1600" dirty="0"/>
              </a:p>
            </p:txBody>
          </p:sp>
        </p:grpSp>
        <p:grpSp>
          <p:nvGrpSpPr>
            <p:cNvPr id="346" name="Групувати 345">
              <a:extLst>
                <a:ext uri="{FF2B5EF4-FFF2-40B4-BE49-F238E27FC236}">
                  <a16:creationId xmlns:a16="http://schemas.microsoft.com/office/drawing/2014/main" id="{CB4A8256-AA31-4E4F-89A9-3E0D1D4DE527}"/>
                </a:ext>
              </a:extLst>
            </p:cNvPr>
            <p:cNvGrpSpPr/>
            <p:nvPr/>
          </p:nvGrpSpPr>
          <p:grpSpPr>
            <a:xfrm>
              <a:off x="843349" y="2383665"/>
              <a:ext cx="3930095" cy="1979655"/>
              <a:chOff x="843349" y="2383665"/>
              <a:chExt cx="3930095" cy="1979655"/>
            </a:xfrm>
          </p:grpSpPr>
          <p:sp>
            <p:nvSpPr>
              <p:cNvPr id="326" name="Овал 325">
                <a:extLst>
                  <a:ext uri="{FF2B5EF4-FFF2-40B4-BE49-F238E27FC236}">
                    <a16:creationId xmlns:a16="http://schemas.microsoft.com/office/drawing/2014/main" id="{55B6231F-36F8-4382-B7C5-ED5B9BAAE579}"/>
                  </a:ext>
                </a:extLst>
              </p:cNvPr>
              <p:cNvSpPr/>
              <p:nvPr/>
            </p:nvSpPr>
            <p:spPr>
              <a:xfrm>
                <a:off x="843349" y="3295670"/>
                <a:ext cx="288000" cy="288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uk-UA" sz="1200" b="1" dirty="0">
                    <a:solidFill>
                      <a:schemeClr val="tx1"/>
                    </a:solidFill>
                  </a:rPr>
                  <a:t>2</a:t>
                </a:r>
              </a:p>
            </p:txBody>
          </p:sp>
          <p:sp>
            <p:nvSpPr>
              <p:cNvPr id="327" name="Овал 326">
                <a:extLst>
                  <a:ext uri="{FF2B5EF4-FFF2-40B4-BE49-F238E27FC236}">
                    <a16:creationId xmlns:a16="http://schemas.microsoft.com/office/drawing/2014/main" id="{6A9ABF0D-1A62-4CC5-A3E4-1394D2310180}"/>
                  </a:ext>
                </a:extLst>
              </p:cNvPr>
              <p:cNvSpPr/>
              <p:nvPr/>
            </p:nvSpPr>
            <p:spPr>
              <a:xfrm>
                <a:off x="1471768" y="2383665"/>
                <a:ext cx="288000" cy="288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uk-UA" sz="1200" b="1" dirty="0">
                    <a:solidFill>
                      <a:schemeClr val="tx1"/>
                    </a:solidFill>
                  </a:rPr>
                  <a:t>8</a:t>
                </a:r>
              </a:p>
            </p:txBody>
          </p:sp>
          <p:sp>
            <p:nvSpPr>
              <p:cNvPr id="328" name="Овал 327">
                <a:extLst>
                  <a:ext uri="{FF2B5EF4-FFF2-40B4-BE49-F238E27FC236}">
                    <a16:creationId xmlns:a16="http://schemas.microsoft.com/office/drawing/2014/main" id="{23AE8882-5CE0-4E43-B062-F8BCDBA8D4DE}"/>
                  </a:ext>
                </a:extLst>
              </p:cNvPr>
              <p:cNvSpPr/>
              <p:nvPr/>
            </p:nvSpPr>
            <p:spPr>
              <a:xfrm>
                <a:off x="1744138" y="3154917"/>
                <a:ext cx="288000" cy="288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uk-UA" sz="1200" b="1" dirty="0">
                    <a:solidFill>
                      <a:schemeClr val="tx1"/>
                    </a:solidFill>
                  </a:rPr>
                  <a:t>6</a:t>
                </a:r>
              </a:p>
            </p:txBody>
          </p:sp>
          <p:sp>
            <p:nvSpPr>
              <p:cNvPr id="329" name="Овал 328">
                <a:extLst>
                  <a:ext uri="{FF2B5EF4-FFF2-40B4-BE49-F238E27FC236}">
                    <a16:creationId xmlns:a16="http://schemas.microsoft.com/office/drawing/2014/main" id="{0A43DC5D-B103-4A2C-B0E8-72135E7E9593}"/>
                  </a:ext>
                </a:extLst>
              </p:cNvPr>
              <p:cNvSpPr/>
              <p:nvPr/>
            </p:nvSpPr>
            <p:spPr>
              <a:xfrm>
                <a:off x="2807209" y="2784955"/>
                <a:ext cx="288000" cy="288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uk-UA" sz="1200" b="1" dirty="0">
                    <a:solidFill>
                      <a:schemeClr val="tx1"/>
                    </a:solidFill>
                  </a:rPr>
                  <a:t>3</a:t>
                </a:r>
              </a:p>
            </p:txBody>
          </p:sp>
          <p:sp>
            <p:nvSpPr>
              <p:cNvPr id="330" name="Овал 329">
                <a:extLst>
                  <a:ext uri="{FF2B5EF4-FFF2-40B4-BE49-F238E27FC236}">
                    <a16:creationId xmlns:a16="http://schemas.microsoft.com/office/drawing/2014/main" id="{298D1E8D-32A9-4D15-A899-BF60C6110901}"/>
                  </a:ext>
                </a:extLst>
              </p:cNvPr>
              <p:cNvSpPr/>
              <p:nvPr/>
            </p:nvSpPr>
            <p:spPr>
              <a:xfrm>
                <a:off x="3459799" y="3260678"/>
                <a:ext cx="288000" cy="288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uk-UA" sz="1200" b="1" dirty="0">
                    <a:solidFill>
                      <a:schemeClr val="tx1"/>
                    </a:solidFill>
                  </a:rPr>
                  <a:t>7</a:t>
                </a:r>
              </a:p>
            </p:txBody>
          </p:sp>
          <p:sp>
            <p:nvSpPr>
              <p:cNvPr id="331" name="Овал 330">
                <a:extLst>
                  <a:ext uri="{FF2B5EF4-FFF2-40B4-BE49-F238E27FC236}">
                    <a16:creationId xmlns:a16="http://schemas.microsoft.com/office/drawing/2014/main" id="{68AAD837-BE8A-4643-8B51-9039A63CC5FE}"/>
                  </a:ext>
                </a:extLst>
              </p:cNvPr>
              <p:cNvSpPr/>
              <p:nvPr/>
            </p:nvSpPr>
            <p:spPr>
              <a:xfrm>
                <a:off x="3178305" y="4075320"/>
                <a:ext cx="288000" cy="288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uk-UA" sz="1200" b="1" dirty="0">
                    <a:solidFill>
                      <a:schemeClr val="tx1"/>
                    </a:solidFill>
                  </a:rPr>
                  <a:t>1</a:t>
                </a:r>
              </a:p>
            </p:txBody>
          </p:sp>
          <p:sp>
            <p:nvSpPr>
              <p:cNvPr id="332" name="Овал 331">
                <a:extLst>
                  <a:ext uri="{FF2B5EF4-FFF2-40B4-BE49-F238E27FC236}">
                    <a16:creationId xmlns:a16="http://schemas.microsoft.com/office/drawing/2014/main" id="{368CA27E-633A-4893-9974-E7AF2639E3CD}"/>
                  </a:ext>
                </a:extLst>
              </p:cNvPr>
              <p:cNvSpPr/>
              <p:nvPr/>
            </p:nvSpPr>
            <p:spPr>
              <a:xfrm>
                <a:off x="4485444" y="3746680"/>
                <a:ext cx="288000" cy="288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uk-UA" sz="1200" b="1" dirty="0">
                    <a:solidFill>
                      <a:schemeClr val="tx1"/>
                    </a:solidFill>
                  </a:rPr>
                  <a:t>4</a:t>
                </a:r>
              </a:p>
            </p:txBody>
          </p:sp>
          <p:sp>
            <p:nvSpPr>
              <p:cNvPr id="333" name="Овал 332">
                <a:extLst>
                  <a:ext uri="{FF2B5EF4-FFF2-40B4-BE49-F238E27FC236}">
                    <a16:creationId xmlns:a16="http://schemas.microsoft.com/office/drawing/2014/main" id="{5470FF86-77F7-4A6A-A3C4-70F637E312DC}"/>
                  </a:ext>
                </a:extLst>
              </p:cNvPr>
              <p:cNvSpPr/>
              <p:nvPr/>
            </p:nvSpPr>
            <p:spPr>
              <a:xfrm>
                <a:off x="4439381" y="2994789"/>
                <a:ext cx="288000" cy="288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uk-UA" sz="1200" b="1" dirty="0">
                    <a:solidFill>
                      <a:schemeClr val="tx1"/>
                    </a:solidFill>
                  </a:rPr>
                  <a:t>5</a:t>
                </a:r>
              </a:p>
            </p:txBody>
          </p:sp>
        </p:grpSp>
      </p:grpSp>
      <p:sp>
        <p:nvSpPr>
          <p:cNvPr id="344" name="TextBox 343">
            <a:extLst>
              <a:ext uri="{FF2B5EF4-FFF2-40B4-BE49-F238E27FC236}">
                <a16:creationId xmlns:a16="http://schemas.microsoft.com/office/drawing/2014/main" id="{B993E5AE-364B-4118-867B-47FA16948B8E}"/>
              </a:ext>
            </a:extLst>
          </p:cNvPr>
          <p:cNvSpPr txBox="1"/>
          <p:nvPr/>
        </p:nvSpPr>
        <p:spPr>
          <a:xfrm>
            <a:off x="515938" y="1269000"/>
            <a:ext cx="5400000" cy="300517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r>
              <a:rPr lang="uk-UA" sz="1200" b="1" i="0" u="none" strike="noStrike" dirty="0">
                <a:solidFill>
                  <a:srgbClr val="000000"/>
                </a:solidFill>
                <a:effectLst/>
              </a:rPr>
              <a:t>ПОДІЛ УКРАЇНИ НА МАКРОРЕГІОНИ</a:t>
            </a:r>
            <a:endParaRPr lang="uk-UA" sz="1200" b="1" dirty="0"/>
          </a:p>
        </p:txBody>
      </p:sp>
      <p:sp>
        <p:nvSpPr>
          <p:cNvPr id="345" name="TextBox 344">
            <a:extLst>
              <a:ext uri="{FF2B5EF4-FFF2-40B4-BE49-F238E27FC236}">
                <a16:creationId xmlns:a16="http://schemas.microsoft.com/office/drawing/2014/main" id="{890F61AA-D989-4767-892E-E424F378D657}"/>
              </a:ext>
            </a:extLst>
          </p:cNvPr>
          <p:cNvSpPr txBox="1"/>
          <p:nvPr/>
        </p:nvSpPr>
        <p:spPr>
          <a:xfrm>
            <a:off x="6183313" y="1269000"/>
            <a:ext cx="5400675" cy="300517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r>
              <a:rPr lang="uk-UA" sz="1200" b="1" i="0" u="none" strike="noStrike" dirty="0">
                <a:solidFill>
                  <a:srgbClr val="000000"/>
                </a:solidFill>
                <a:effectLst/>
              </a:rPr>
              <a:t>ПОРІВНЯННЯ ІНДЕКСУ ТУРИСТИЧНОЇ ПРИВАБЛИВОСТІ МАКРОРЕГІОНІВ</a:t>
            </a:r>
            <a:endParaRPr lang="uk-UA" sz="1200" b="1" dirty="0"/>
          </a:p>
        </p:txBody>
      </p:sp>
      <p:sp>
        <p:nvSpPr>
          <p:cNvPr id="354" name="TextBox 353">
            <a:extLst>
              <a:ext uri="{FF2B5EF4-FFF2-40B4-BE49-F238E27FC236}">
                <a16:creationId xmlns:a16="http://schemas.microsoft.com/office/drawing/2014/main" id="{F520962F-89B0-4715-8E09-21CFF19D3544}"/>
              </a:ext>
            </a:extLst>
          </p:cNvPr>
          <p:cNvSpPr txBox="1"/>
          <p:nvPr/>
        </p:nvSpPr>
        <p:spPr>
          <a:xfrm>
            <a:off x="10585451" y="2948697"/>
            <a:ext cx="1090612" cy="329981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uk-UA" sz="800" b="1" i="0" u="none" strike="noStrike" dirty="0">
                <a:solidFill>
                  <a:srgbClr val="000000"/>
                </a:solidFill>
                <a:effectLst/>
              </a:rPr>
              <a:t>Середнє</a:t>
            </a:r>
            <a:r>
              <a:rPr lang="uk-UA" sz="800" b="0" i="0" u="none" strike="noStrike" dirty="0">
                <a:solidFill>
                  <a:srgbClr val="000000"/>
                </a:solidFill>
                <a:effectLst/>
              </a:rPr>
              <a:t> </a:t>
            </a:r>
            <a:endParaRPr lang="uk-UA" sz="800" b="1" u="sng" dirty="0"/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F8021899-75CC-4EA7-95CA-B19109BC9FB7}"/>
              </a:ext>
            </a:extLst>
          </p:cNvPr>
          <p:cNvSpPr txBox="1"/>
          <p:nvPr/>
        </p:nvSpPr>
        <p:spPr>
          <a:xfrm>
            <a:off x="11037887" y="2376599"/>
            <a:ext cx="638176" cy="329981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uk-UA" sz="800" b="1" i="0" u="none" strike="noStrike" dirty="0">
                <a:solidFill>
                  <a:srgbClr val="619047"/>
                </a:solidFill>
                <a:effectLst/>
              </a:rPr>
              <a:t>Середнє + стандартне відхилення</a:t>
            </a:r>
            <a:endParaRPr lang="uk-UA" sz="800" b="1" u="sng" dirty="0">
              <a:solidFill>
                <a:srgbClr val="619047"/>
              </a:solidFill>
            </a:endParaRPr>
          </a:p>
        </p:txBody>
      </p:sp>
      <p:sp>
        <p:nvSpPr>
          <p:cNvPr id="358" name="TextBox 357">
            <a:extLst>
              <a:ext uri="{FF2B5EF4-FFF2-40B4-BE49-F238E27FC236}">
                <a16:creationId xmlns:a16="http://schemas.microsoft.com/office/drawing/2014/main" id="{2EB50A18-789E-468A-9426-5499A49BFCC8}"/>
              </a:ext>
            </a:extLst>
          </p:cNvPr>
          <p:cNvSpPr txBox="1"/>
          <p:nvPr/>
        </p:nvSpPr>
        <p:spPr>
          <a:xfrm>
            <a:off x="11037887" y="3520012"/>
            <a:ext cx="638176" cy="329981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uk-UA" sz="800" b="1" i="0" u="none" strike="noStrike" dirty="0">
                <a:solidFill>
                  <a:schemeClr val="accent1"/>
                </a:solidFill>
                <a:effectLst/>
              </a:rPr>
              <a:t>Середнє – стандартне відхилення</a:t>
            </a:r>
            <a:endParaRPr lang="uk-UA" sz="800" b="1" u="sng" dirty="0">
              <a:solidFill>
                <a:schemeClr val="accent1"/>
              </a:solidFill>
            </a:endParaRPr>
          </a:p>
        </p:txBody>
      </p:sp>
      <p:sp>
        <p:nvSpPr>
          <p:cNvPr id="2" name="Права фігурна дужка 1">
            <a:extLst>
              <a:ext uri="{FF2B5EF4-FFF2-40B4-BE49-F238E27FC236}">
                <a16:creationId xmlns:a16="http://schemas.microsoft.com/office/drawing/2014/main" id="{0469D5E5-D8D2-40A7-8B42-08E579E802AE}"/>
              </a:ext>
            </a:extLst>
          </p:cNvPr>
          <p:cNvSpPr/>
          <p:nvPr/>
        </p:nvSpPr>
        <p:spPr>
          <a:xfrm rot="5400000">
            <a:off x="9021434" y="3749312"/>
            <a:ext cx="286028" cy="2641345"/>
          </a:xfrm>
          <a:prstGeom prst="rightBrac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0" name="Виноска: лінія 9">
            <a:extLst>
              <a:ext uri="{FF2B5EF4-FFF2-40B4-BE49-F238E27FC236}">
                <a16:creationId xmlns:a16="http://schemas.microsoft.com/office/drawing/2014/main" id="{24A81F54-E913-4C82-98C7-EF97DDB315B3}"/>
              </a:ext>
            </a:extLst>
          </p:cNvPr>
          <p:cNvSpPr/>
          <p:nvPr/>
        </p:nvSpPr>
        <p:spPr>
          <a:xfrm>
            <a:off x="4613163" y="5522976"/>
            <a:ext cx="1689100" cy="612648"/>
          </a:xfrm>
          <a:prstGeom prst="borderCallout1">
            <a:avLst>
              <a:gd name="adj1" fmla="val -15814"/>
              <a:gd name="adj2" fmla="val 88541"/>
              <a:gd name="adj3" fmla="val -98026"/>
              <a:gd name="adj4" fmla="val 13661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000" dirty="0">
                <a:solidFill>
                  <a:schemeClr val="bg1"/>
                </a:solidFill>
              </a:rPr>
              <a:t>Найперспективніший для стимулювання розвитку туризму регіон</a:t>
            </a:r>
          </a:p>
        </p:txBody>
      </p:sp>
      <p:sp>
        <p:nvSpPr>
          <p:cNvPr id="74" name="Виноска: лінія 73">
            <a:extLst>
              <a:ext uri="{FF2B5EF4-FFF2-40B4-BE49-F238E27FC236}">
                <a16:creationId xmlns:a16="http://schemas.microsoft.com/office/drawing/2014/main" id="{989286E4-CF7F-4AEE-BB1F-AAD71370A965}"/>
              </a:ext>
            </a:extLst>
          </p:cNvPr>
          <p:cNvSpPr/>
          <p:nvPr/>
        </p:nvSpPr>
        <p:spPr>
          <a:xfrm>
            <a:off x="6590053" y="5522976"/>
            <a:ext cx="1689100" cy="612648"/>
          </a:xfrm>
          <a:prstGeom prst="borderCallout1">
            <a:avLst>
              <a:gd name="adj1" fmla="val -14243"/>
              <a:gd name="adj2" fmla="val 50150"/>
              <a:gd name="adj3" fmla="val -100288"/>
              <a:gd name="adj4" fmla="val 50716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000" dirty="0">
                <a:solidFill>
                  <a:schemeClr val="bg1"/>
                </a:solidFill>
              </a:rPr>
              <a:t>Регіон з розвинутим туристичним потенціалом </a:t>
            </a:r>
          </a:p>
        </p:txBody>
      </p:sp>
      <p:sp>
        <p:nvSpPr>
          <p:cNvPr id="75" name="Виноска: лінія 74">
            <a:extLst>
              <a:ext uri="{FF2B5EF4-FFF2-40B4-BE49-F238E27FC236}">
                <a16:creationId xmlns:a16="http://schemas.microsoft.com/office/drawing/2014/main" id="{997F9F35-9467-4773-A185-E4DA39497DD7}"/>
              </a:ext>
            </a:extLst>
          </p:cNvPr>
          <p:cNvSpPr/>
          <p:nvPr/>
        </p:nvSpPr>
        <p:spPr>
          <a:xfrm>
            <a:off x="8566944" y="5522976"/>
            <a:ext cx="2316956" cy="612648"/>
          </a:xfrm>
          <a:prstGeom prst="borderCallout1">
            <a:avLst>
              <a:gd name="adj1" fmla="val -14243"/>
              <a:gd name="adj2" fmla="val 50244"/>
              <a:gd name="adj3" fmla="val -41467"/>
              <a:gd name="adj4" fmla="val 25826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000" dirty="0">
                <a:solidFill>
                  <a:schemeClr val="bg1"/>
                </a:solidFill>
              </a:rPr>
              <a:t>Регіони без сильного туристичного магніту чи з суттєво нижчим рівнем розвитку туризму</a:t>
            </a:r>
          </a:p>
        </p:txBody>
      </p:sp>
      <p:graphicFrame>
        <p:nvGraphicFramePr>
          <p:cNvPr id="13" name="Chart 3">
            <a:extLst>
              <a:ext uri="{FF2B5EF4-FFF2-40B4-BE49-F238E27FC236}">
                <a16:creationId xmlns:a16="http://schemas.microsoft.com/office/drawing/2014/main" id="{13B5E79F-D568-0F89-8FD6-9E820B4E7F3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29897629"/>
              </p:ext>
            </p:extLst>
          </p:nvPr>
        </p:nvGraphicFramePr>
        <p:xfrm>
          <a:off x="6091238" y="1871663"/>
          <a:ext cx="4875212" cy="2922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280" name="Місце для тексту 2">
            <a:extLst>
              <a:ext uri="{FF2B5EF4-FFF2-40B4-BE49-F238E27FC236}">
                <a16:creationId xmlns:a16="http://schemas.microsoft.com/office/drawing/2014/main" id="{DD10EC83-2502-4BAA-A90A-A6E96AD1460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423150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025326-E974-4E7E-9724-CA3EE9471C89}" type="datetime'''2'''''''''''''''''''''''''''''">
              <a:rPr lang="uk-UA" altLang="en-US" sz="1000" smtClean="0"/>
              <a:pPr/>
              <a:t>2</a:t>
            </a:fld>
            <a:endParaRPr lang="uk-UA" sz="1000" dirty="0"/>
          </a:p>
        </p:txBody>
      </p:sp>
      <p:sp>
        <p:nvSpPr>
          <p:cNvPr id="278" name="Місце для тексту 2">
            <a:extLst>
              <a:ext uri="{FF2B5EF4-FFF2-40B4-BE49-F238E27FC236}">
                <a16:creationId xmlns:a16="http://schemas.microsoft.com/office/drawing/2014/main" id="{DD10EC83-2502-4BAA-A90A-A6E96AD1460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934200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A9E4EB-B583-4B0E-B5C3-B44EC7AB24BA}" type="datetime'''''''''''''''''''''''''''''''''''1'''''''''''''''''">
              <a:rPr lang="uk-UA" altLang="en-US" sz="1000" smtClean="0"/>
              <a:pPr/>
              <a:t>1</a:t>
            </a:fld>
            <a:endParaRPr lang="uk-UA" sz="1000" dirty="0"/>
          </a:p>
        </p:txBody>
      </p:sp>
      <p:sp>
        <p:nvSpPr>
          <p:cNvPr id="286" name="Місце для тексту 2">
            <a:extLst>
              <a:ext uri="{FF2B5EF4-FFF2-40B4-BE49-F238E27FC236}">
                <a16:creationId xmlns:a16="http://schemas.microsoft.com/office/drawing/2014/main" id="{DD10EC83-2502-4BAA-A90A-A6E96AD1460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891588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557888-DF37-4710-9F53-78E3EF60D2E9}" type="datetime'''''''5'''''''''''''''''''''''''''''''''''">
              <a:rPr lang="uk-UA" altLang="en-US" sz="1000" smtClean="0"/>
              <a:pPr/>
              <a:t>5</a:t>
            </a:fld>
            <a:endParaRPr lang="uk-UA" sz="1000" dirty="0"/>
          </a:p>
        </p:txBody>
      </p:sp>
      <p:sp>
        <p:nvSpPr>
          <p:cNvPr id="282" name="Місце для тексту 2">
            <a:extLst>
              <a:ext uri="{FF2B5EF4-FFF2-40B4-BE49-F238E27FC236}">
                <a16:creationId xmlns:a16="http://schemas.microsoft.com/office/drawing/2014/main" id="{DD10EC83-2502-4BAA-A90A-A6E96AD1460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913688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A26218-5DB8-40F3-800F-27109DFC0A74}" type="datetime'''''''''3'''''''''''''''''''''''''''''''''''''''''''">
              <a:rPr lang="uk-UA" altLang="en-US" sz="1000" smtClean="0"/>
              <a:pPr/>
              <a:t>3</a:t>
            </a:fld>
            <a:endParaRPr lang="uk-UA" sz="1000" dirty="0"/>
          </a:p>
        </p:txBody>
      </p:sp>
      <p:sp>
        <p:nvSpPr>
          <p:cNvPr id="284" name="Місце для тексту 2">
            <a:extLst>
              <a:ext uri="{FF2B5EF4-FFF2-40B4-BE49-F238E27FC236}">
                <a16:creationId xmlns:a16="http://schemas.microsoft.com/office/drawing/2014/main" id="{DD10EC83-2502-4BAA-A90A-A6E96AD1460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402638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B54E85-F6F7-4B54-9474-08BDE1F7C4E2}" type="datetime'''''''''''''''''''''''''''''''''''''''''''''4'''''">
              <a:rPr lang="uk-UA" altLang="en-US" sz="1000" smtClean="0"/>
              <a:pPr/>
              <a:t>4</a:t>
            </a:fld>
            <a:endParaRPr lang="uk-UA" sz="1000" dirty="0"/>
          </a:p>
        </p:txBody>
      </p:sp>
      <p:sp>
        <p:nvSpPr>
          <p:cNvPr id="288" name="Місце для тексту 2">
            <a:extLst>
              <a:ext uri="{FF2B5EF4-FFF2-40B4-BE49-F238E27FC236}">
                <a16:creationId xmlns:a16="http://schemas.microsoft.com/office/drawing/2014/main" id="{DD10EC83-2502-4BAA-A90A-A6E96AD1460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9380538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FD1C85-A988-4E45-BB55-F92CD5F3043A}" type="datetime'''''''''6'">
              <a:rPr lang="uk-UA" altLang="en-US" sz="1000" smtClean="0"/>
              <a:pPr/>
              <a:t>6</a:t>
            </a:fld>
            <a:endParaRPr lang="uk-UA" sz="1000" dirty="0"/>
          </a:p>
        </p:txBody>
      </p:sp>
      <p:sp>
        <p:nvSpPr>
          <p:cNvPr id="292" name="Місце для тексту 2">
            <a:extLst>
              <a:ext uri="{FF2B5EF4-FFF2-40B4-BE49-F238E27FC236}">
                <a16:creationId xmlns:a16="http://schemas.microsoft.com/office/drawing/2014/main" id="{DD10EC83-2502-4BAA-A90A-A6E96AD1460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0360025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15111C-EC89-484A-91A5-DB19CB284871}" type="datetime'''8'''''''''''''''''''''''''''''''''''''''''''''''''''''''">
              <a:rPr lang="uk-UA" altLang="en-US" sz="1000" smtClean="0"/>
              <a:pPr/>
              <a:t>8</a:t>
            </a:fld>
            <a:endParaRPr lang="uk-UA" sz="1000" dirty="0"/>
          </a:p>
        </p:txBody>
      </p:sp>
      <p:sp>
        <p:nvSpPr>
          <p:cNvPr id="290" name="Місце для тексту 2">
            <a:extLst>
              <a:ext uri="{FF2B5EF4-FFF2-40B4-BE49-F238E27FC236}">
                <a16:creationId xmlns:a16="http://schemas.microsoft.com/office/drawing/2014/main" id="{DD10EC83-2502-4BAA-A90A-A6E96AD1460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9871075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7D2476-FD0C-4ACF-9550-08FEE79105E8}" type="datetime'7'''''''">
              <a:rPr lang="uk-UA" altLang="en-US" sz="1000" smtClean="0"/>
              <a:pPr/>
              <a:t>7</a:t>
            </a:fld>
            <a:endParaRPr lang="uk-UA" sz="1000" dirty="0"/>
          </a:p>
        </p:txBody>
      </p:sp>
      <p:cxnSp>
        <p:nvCxnSpPr>
          <p:cNvPr id="322" name="Пряма сполучна лінія 321">
            <a:extLst>
              <a:ext uri="{FF2B5EF4-FFF2-40B4-BE49-F238E27FC236}">
                <a16:creationId xmlns:a16="http://schemas.microsoft.com/office/drawing/2014/main" id="{A799A8CD-B462-4E18-BDF9-9554AD18DEA6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6480175" y="3554413"/>
            <a:ext cx="44037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2" name="Пряма сполучна лінія 311">
            <a:extLst>
              <a:ext uri="{FF2B5EF4-FFF2-40B4-BE49-F238E27FC236}">
                <a16:creationId xmlns:a16="http://schemas.microsoft.com/office/drawing/2014/main" id="{064EEF99-BD88-47D5-B263-C1A29F9A3F48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6480175" y="3025775"/>
            <a:ext cx="44037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7" name="Пряма сполучна лінія 316">
            <a:extLst>
              <a:ext uri="{FF2B5EF4-FFF2-40B4-BE49-F238E27FC236}">
                <a16:creationId xmlns:a16="http://schemas.microsoft.com/office/drawing/2014/main" id="{5F15E72C-2A5C-4817-9435-74E070BB1198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480175" y="2498725"/>
            <a:ext cx="44037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0" name="Місце для тексту 2">
            <a:extLst>
              <a:ext uri="{FF2B5EF4-FFF2-40B4-BE49-F238E27FC236}">
                <a16:creationId xmlns:a16="http://schemas.microsoft.com/office/drawing/2014/main" id="{DD10EC83-2502-4BAA-A90A-A6E96AD1460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183313" y="1668464"/>
            <a:ext cx="2039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576BCD9-CBD7-41B6-B8C4-7783955520E7}" type="datetime'Інде''''кс ''тур''ист''''ично''''ї'' ''пр''ивабли''вос''ті'''">
              <a:rPr lang="ru-RU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Індекс туристичної привабливості</a:t>
            </a:fld>
            <a:endParaRPr lang="uk-UA" sz="1000" dirty="0"/>
          </a:p>
        </p:txBody>
      </p:sp>
      <p:sp>
        <p:nvSpPr>
          <p:cNvPr id="76" name="Стрілка: вправо 75">
            <a:extLst>
              <a:ext uri="{FF2B5EF4-FFF2-40B4-BE49-F238E27FC236}">
                <a16:creationId xmlns:a16="http://schemas.microsoft.com/office/drawing/2014/main" id="{1844A5BD-B022-4F9E-8CDF-4BE51DDC8980}"/>
              </a:ext>
            </a:extLst>
          </p:cNvPr>
          <p:cNvSpPr/>
          <p:nvPr/>
        </p:nvSpPr>
        <p:spPr>
          <a:xfrm>
            <a:off x="5493876" y="3099830"/>
            <a:ext cx="252000" cy="252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77" name="Picture 180" descr="Check Mark Button on Apple iOS 14.6">
            <a:extLst>
              <a:ext uri="{FF2B5EF4-FFF2-40B4-BE49-F238E27FC236}">
                <a16:creationId xmlns:a16="http://schemas.microsoft.com/office/drawing/2014/main" id="{A8D3E765-5E25-431D-94C7-F3CF595C6A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5108" y="5391919"/>
            <a:ext cx="232833" cy="232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02538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'єкт 6" hidden="1">
            <a:extLst>
              <a:ext uri="{FF2B5EF4-FFF2-40B4-BE49-F238E27FC236}">
                <a16:creationId xmlns:a16="http://schemas.microsoft.com/office/drawing/2014/main" id="{5E5FF50D-F96D-4904-A92C-F99C8A8081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5688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7" name="Об'єкт 6" hidden="1">
                        <a:extLst>
                          <a:ext uri="{FF2B5EF4-FFF2-40B4-BE49-F238E27FC236}">
                            <a16:creationId xmlns:a16="http://schemas.microsoft.com/office/drawing/2014/main" id="{5E5FF50D-F96D-4904-A92C-F99C8A8081E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6" name="Прямокутник 355">
            <a:extLst>
              <a:ext uri="{FF2B5EF4-FFF2-40B4-BE49-F238E27FC236}">
                <a16:creationId xmlns:a16="http://schemas.microsoft.com/office/drawing/2014/main" id="{E130A6AA-FF2E-4488-B475-85F52ABB7C03}"/>
              </a:ext>
            </a:extLst>
          </p:cNvPr>
          <p:cNvSpPr/>
          <p:nvPr/>
        </p:nvSpPr>
        <p:spPr>
          <a:xfrm>
            <a:off x="6489784" y="3557032"/>
            <a:ext cx="4403725" cy="104630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uk-UA" sz="1000" dirty="0">
                <a:solidFill>
                  <a:schemeClr val="tx1"/>
                </a:solidFill>
              </a:rPr>
              <a:t>Області з суттєво нижчим</a:t>
            </a:r>
          </a:p>
          <a:p>
            <a:pPr algn="r"/>
            <a:r>
              <a:rPr lang="uk-UA" sz="1000" dirty="0">
                <a:solidFill>
                  <a:schemeClr val="tx1"/>
                </a:solidFill>
              </a:rPr>
              <a:t>рівнем розвитку туризму</a:t>
            </a:r>
          </a:p>
        </p:txBody>
      </p:sp>
      <p:sp>
        <p:nvSpPr>
          <p:cNvPr id="355" name="Прямокутник 354">
            <a:extLst>
              <a:ext uri="{FF2B5EF4-FFF2-40B4-BE49-F238E27FC236}">
                <a16:creationId xmlns:a16="http://schemas.microsoft.com/office/drawing/2014/main" id="{0F8EC2FB-DF9F-49B8-98A1-B8BC071E805C}"/>
              </a:ext>
            </a:extLst>
          </p:cNvPr>
          <p:cNvSpPr/>
          <p:nvPr/>
        </p:nvSpPr>
        <p:spPr>
          <a:xfrm>
            <a:off x="6489784" y="1970088"/>
            <a:ext cx="4403725" cy="521929"/>
          </a:xfrm>
          <a:prstGeom prst="rect">
            <a:avLst/>
          </a:prstGeom>
          <a:solidFill>
            <a:schemeClr val="bg1">
              <a:lumMod val="6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uk-UA" sz="1000" b="0" i="0" u="none" strike="noStrike" dirty="0">
                <a:solidFill>
                  <a:srgbClr val="000000"/>
                </a:solidFill>
                <a:effectLst/>
              </a:rPr>
              <a:t>Області, в яких є сильний</a:t>
            </a:r>
          </a:p>
          <a:p>
            <a:pPr algn="r"/>
            <a:r>
              <a:rPr lang="uk-UA" sz="1000" b="0" i="0" u="none" strike="noStrike" dirty="0">
                <a:solidFill>
                  <a:srgbClr val="000000"/>
                </a:solidFill>
                <a:effectLst/>
              </a:rPr>
              <a:t>туристичний магніт</a:t>
            </a:r>
            <a:endParaRPr lang="uk-UA" sz="1000" b="1" u="sng" dirty="0"/>
          </a:p>
        </p:txBody>
      </p:sp>
      <p:sp>
        <p:nvSpPr>
          <p:cNvPr id="8" name="Прямокутник 7" hidden="1">
            <a:extLst>
              <a:ext uri="{FF2B5EF4-FFF2-40B4-BE49-F238E27FC236}">
                <a16:creationId xmlns:a16="http://schemas.microsoft.com/office/drawing/2014/main" id="{BA8A7333-567E-4D9F-BE90-59920FB8F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-Ukraine Head LOGO" panose="00000605000000000000" pitchFamily="50" charset="-52"/>
              <a:ea typeface="+mn-ea"/>
              <a:cs typeface="Arial" panose="020B0604020202020204" pitchFamily="34" charset="0"/>
              <a:sym typeface="e-Ukraine Head LOGO" panose="00000605000000000000" pitchFamily="50" charset="-52"/>
            </a:endParaRPr>
          </a:p>
        </p:txBody>
      </p:sp>
      <p:sp>
        <p:nvSpPr>
          <p:cNvPr id="71" name="Місце для тексту 3">
            <a:extLst>
              <a:ext uri="{FF2B5EF4-FFF2-40B4-BE49-F238E27FC236}">
                <a16:creationId xmlns:a16="http://schemas.microsoft.com/office/drawing/2014/main" id="{E57AD8F6-B769-4F9E-82F0-56EFACE37D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7" y="189401"/>
            <a:ext cx="11160126" cy="647212"/>
          </a:xfrm>
          <a:ln>
            <a:noFill/>
          </a:ln>
        </p:spPr>
        <p:txBody>
          <a:bodyPr anchor="ctr"/>
          <a:lstStyle/>
          <a:p>
            <a:r>
              <a:rPr lang="uk-UA" dirty="0">
                <a:solidFill>
                  <a:schemeClr val="tx1"/>
                </a:solidFill>
              </a:rPr>
              <a:t>Базуючись на аналізі міжнародного досвіду було вирішено фокусуватися на кластерах, тож було визначено найбільш привабливий </a:t>
            </a:r>
            <a:r>
              <a:rPr lang="uk-UA" dirty="0" err="1">
                <a:solidFill>
                  <a:schemeClr val="tx1"/>
                </a:solidFill>
              </a:rPr>
              <a:t>макрорегіон</a:t>
            </a:r>
            <a:endParaRPr lang="uk-UA" dirty="0">
              <a:solidFill>
                <a:schemeClr val="tx1"/>
              </a:solidFill>
            </a:endParaRPr>
          </a:p>
        </p:txBody>
      </p:sp>
      <p:grpSp>
        <p:nvGrpSpPr>
          <p:cNvPr id="17" name="Групувати 16">
            <a:extLst>
              <a:ext uri="{FF2B5EF4-FFF2-40B4-BE49-F238E27FC236}">
                <a16:creationId xmlns:a16="http://schemas.microsoft.com/office/drawing/2014/main" id="{3A47DA56-44D4-4A48-8AF3-D8FFD4B5D902}"/>
              </a:ext>
            </a:extLst>
          </p:cNvPr>
          <p:cNvGrpSpPr/>
          <p:nvPr/>
        </p:nvGrpSpPr>
        <p:grpSpPr>
          <a:xfrm>
            <a:off x="515938" y="1668464"/>
            <a:ext cx="4729162" cy="3206163"/>
            <a:chOff x="982889" y="1847742"/>
            <a:chExt cx="6448195" cy="4371596"/>
          </a:xfrm>
          <a:solidFill>
            <a:schemeClr val="bg1">
              <a:lumMod val="75000"/>
            </a:schemeClr>
          </a:solidFill>
        </p:grpSpPr>
        <p:sp>
          <p:nvSpPr>
            <p:cNvPr id="18" name="Freeform 1159">
              <a:extLst>
                <a:ext uri="{FF2B5EF4-FFF2-40B4-BE49-F238E27FC236}">
                  <a16:creationId xmlns:a16="http://schemas.microsoft.com/office/drawing/2014/main" id="{D57A8FA8-B4FE-4BBA-A910-5815191526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0541" y="4121820"/>
              <a:ext cx="1108836" cy="1031103"/>
            </a:xfrm>
            <a:custGeom>
              <a:avLst/>
              <a:gdLst>
                <a:gd name="T0" fmla="*/ 47625 w 157"/>
                <a:gd name="T1" fmla="*/ 436563 h 146"/>
                <a:gd name="T2" fmla="*/ 198437 w 157"/>
                <a:gd name="T3" fmla="*/ 396875 h 146"/>
                <a:gd name="T4" fmla="*/ 277812 w 157"/>
                <a:gd name="T5" fmla="*/ 357188 h 146"/>
                <a:gd name="T6" fmla="*/ 261937 w 157"/>
                <a:gd name="T7" fmla="*/ 222250 h 146"/>
                <a:gd name="T8" fmla="*/ 261937 w 157"/>
                <a:gd name="T9" fmla="*/ 142875 h 146"/>
                <a:gd name="T10" fmla="*/ 230187 w 157"/>
                <a:gd name="T11" fmla="*/ 87313 h 146"/>
                <a:gd name="T12" fmla="*/ 341312 w 157"/>
                <a:gd name="T13" fmla="*/ 39688 h 146"/>
                <a:gd name="T14" fmla="*/ 373062 w 157"/>
                <a:gd name="T15" fmla="*/ 39688 h 146"/>
                <a:gd name="T16" fmla="*/ 523875 w 157"/>
                <a:gd name="T17" fmla="*/ 39688 h 146"/>
                <a:gd name="T18" fmla="*/ 650875 w 157"/>
                <a:gd name="T19" fmla="*/ 47625 h 146"/>
                <a:gd name="T20" fmla="*/ 722312 w 157"/>
                <a:gd name="T21" fmla="*/ 55563 h 146"/>
                <a:gd name="T22" fmla="*/ 746125 w 157"/>
                <a:gd name="T23" fmla="*/ 158750 h 146"/>
                <a:gd name="T24" fmla="*/ 825500 w 157"/>
                <a:gd name="T25" fmla="*/ 182563 h 146"/>
                <a:gd name="T26" fmla="*/ 904875 w 157"/>
                <a:gd name="T27" fmla="*/ 182563 h 146"/>
                <a:gd name="T28" fmla="*/ 976312 w 157"/>
                <a:gd name="T29" fmla="*/ 198438 h 146"/>
                <a:gd name="T30" fmla="*/ 1031875 w 157"/>
                <a:gd name="T31" fmla="*/ 301625 h 146"/>
                <a:gd name="T32" fmla="*/ 1135062 w 157"/>
                <a:gd name="T33" fmla="*/ 341313 h 146"/>
                <a:gd name="T34" fmla="*/ 1230312 w 157"/>
                <a:gd name="T35" fmla="*/ 404813 h 146"/>
                <a:gd name="T36" fmla="*/ 1190625 w 157"/>
                <a:gd name="T37" fmla="*/ 452438 h 146"/>
                <a:gd name="T38" fmla="*/ 1119187 w 157"/>
                <a:gd name="T39" fmla="*/ 515938 h 146"/>
                <a:gd name="T40" fmla="*/ 1166812 w 157"/>
                <a:gd name="T41" fmla="*/ 627063 h 146"/>
                <a:gd name="T42" fmla="*/ 1206500 w 157"/>
                <a:gd name="T43" fmla="*/ 690563 h 146"/>
                <a:gd name="T44" fmla="*/ 1103312 w 157"/>
                <a:gd name="T45" fmla="*/ 825500 h 146"/>
                <a:gd name="T46" fmla="*/ 785812 w 157"/>
                <a:gd name="T47" fmla="*/ 896938 h 146"/>
                <a:gd name="T48" fmla="*/ 595312 w 157"/>
                <a:gd name="T49" fmla="*/ 1039813 h 146"/>
                <a:gd name="T50" fmla="*/ 508000 w 157"/>
                <a:gd name="T51" fmla="*/ 1119188 h 146"/>
                <a:gd name="T52" fmla="*/ 484187 w 157"/>
                <a:gd name="T53" fmla="*/ 1079500 h 146"/>
                <a:gd name="T54" fmla="*/ 420687 w 157"/>
                <a:gd name="T55" fmla="*/ 1150938 h 146"/>
                <a:gd name="T56" fmla="*/ 333375 w 157"/>
                <a:gd name="T57" fmla="*/ 1047750 h 146"/>
                <a:gd name="T58" fmla="*/ 238125 w 157"/>
                <a:gd name="T59" fmla="*/ 968375 h 146"/>
                <a:gd name="T60" fmla="*/ 214312 w 157"/>
                <a:gd name="T61" fmla="*/ 889000 h 146"/>
                <a:gd name="T62" fmla="*/ 230187 w 157"/>
                <a:gd name="T63" fmla="*/ 801688 h 146"/>
                <a:gd name="T64" fmla="*/ 166687 w 157"/>
                <a:gd name="T65" fmla="*/ 738188 h 146"/>
                <a:gd name="T66" fmla="*/ 119062 w 157"/>
                <a:gd name="T67" fmla="*/ 595313 h 146"/>
                <a:gd name="T68" fmla="*/ 23812 w 157"/>
                <a:gd name="T69" fmla="*/ 531813 h 146"/>
                <a:gd name="T70" fmla="*/ 0 w 157"/>
                <a:gd name="T71" fmla="*/ 452438 h 14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57"/>
                <a:gd name="T109" fmla="*/ 0 h 146"/>
                <a:gd name="T110" fmla="*/ 157 w 157"/>
                <a:gd name="T111" fmla="*/ 146 h 14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57" h="146">
                  <a:moveTo>
                    <a:pt x="0" y="57"/>
                  </a:moveTo>
                  <a:cubicBezTo>
                    <a:pt x="0" y="57"/>
                    <a:pt x="2" y="54"/>
                    <a:pt x="6" y="55"/>
                  </a:cubicBezTo>
                  <a:cubicBezTo>
                    <a:pt x="6" y="55"/>
                    <a:pt x="11" y="53"/>
                    <a:pt x="13" y="51"/>
                  </a:cubicBezTo>
                  <a:cubicBezTo>
                    <a:pt x="13" y="51"/>
                    <a:pt x="18" y="47"/>
                    <a:pt x="25" y="50"/>
                  </a:cubicBezTo>
                  <a:cubicBezTo>
                    <a:pt x="25" y="50"/>
                    <a:pt x="26" y="52"/>
                    <a:pt x="32" y="51"/>
                  </a:cubicBezTo>
                  <a:cubicBezTo>
                    <a:pt x="32" y="51"/>
                    <a:pt x="36" y="53"/>
                    <a:pt x="35" y="45"/>
                  </a:cubicBezTo>
                  <a:cubicBezTo>
                    <a:pt x="35" y="45"/>
                    <a:pt x="34" y="41"/>
                    <a:pt x="35" y="39"/>
                  </a:cubicBezTo>
                  <a:cubicBezTo>
                    <a:pt x="39" y="34"/>
                    <a:pt x="31" y="37"/>
                    <a:pt x="33" y="28"/>
                  </a:cubicBezTo>
                  <a:cubicBezTo>
                    <a:pt x="33" y="28"/>
                    <a:pt x="28" y="25"/>
                    <a:pt x="28" y="23"/>
                  </a:cubicBezTo>
                  <a:cubicBezTo>
                    <a:pt x="28" y="19"/>
                    <a:pt x="36" y="20"/>
                    <a:pt x="33" y="18"/>
                  </a:cubicBezTo>
                  <a:cubicBezTo>
                    <a:pt x="33" y="18"/>
                    <a:pt x="30" y="15"/>
                    <a:pt x="27" y="15"/>
                  </a:cubicBezTo>
                  <a:cubicBezTo>
                    <a:pt x="27" y="15"/>
                    <a:pt x="30" y="13"/>
                    <a:pt x="29" y="11"/>
                  </a:cubicBezTo>
                  <a:cubicBezTo>
                    <a:pt x="29" y="11"/>
                    <a:pt x="28" y="7"/>
                    <a:pt x="36" y="8"/>
                  </a:cubicBezTo>
                  <a:cubicBezTo>
                    <a:pt x="36" y="8"/>
                    <a:pt x="37" y="3"/>
                    <a:pt x="43" y="5"/>
                  </a:cubicBezTo>
                  <a:cubicBezTo>
                    <a:pt x="44" y="4"/>
                    <a:pt x="44" y="4"/>
                    <a:pt x="45" y="4"/>
                  </a:cubicBezTo>
                  <a:cubicBezTo>
                    <a:pt x="46" y="5"/>
                    <a:pt x="46" y="5"/>
                    <a:pt x="47" y="5"/>
                  </a:cubicBezTo>
                  <a:cubicBezTo>
                    <a:pt x="47" y="5"/>
                    <a:pt x="50" y="3"/>
                    <a:pt x="58" y="5"/>
                  </a:cubicBezTo>
                  <a:cubicBezTo>
                    <a:pt x="58" y="5"/>
                    <a:pt x="62" y="8"/>
                    <a:pt x="66" y="5"/>
                  </a:cubicBezTo>
                  <a:cubicBezTo>
                    <a:pt x="66" y="5"/>
                    <a:pt x="70" y="0"/>
                    <a:pt x="75" y="4"/>
                  </a:cubicBezTo>
                  <a:cubicBezTo>
                    <a:pt x="75" y="4"/>
                    <a:pt x="77" y="7"/>
                    <a:pt x="82" y="6"/>
                  </a:cubicBezTo>
                  <a:cubicBezTo>
                    <a:pt x="82" y="6"/>
                    <a:pt x="87" y="2"/>
                    <a:pt x="87" y="8"/>
                  </a:cubicBezTo>
                  <a:cubicBezTo>
                    <a:pt x="87" y="8"/>
                    <a:pt x="88" y="10"/>
                    <a:pt x="91" y="7"/>
                  </a:cubicBezTo>
                  <a:cubicBezTo>
                    <a:pt x="91" y="7"/>
                    <a:pt x="89" y="10"/>
                    <a:pt x="93" y="15"/>
                  </a:cubicBezTo>
                  <a:cubicBezTo>
                    <a:pt x="93" y="15"/>
                    <a:pt x="100" y="16"/>
                    <a:pt x="94" y="20"/>
                  </a:cubicBezTo>
                  <a:cubicBezTo>
                    <a:pt x="94" y="20"/>
                    <a:pt x="94" y="24"/>
                    <a:pt x="98" y="22"/>
                  </a:cubicBezTo>
                  <a:cubicBezTo>
                    <a:pt x="98" y="22"/>
                    <a:pt x="99" y="19"/>
                    <a:pt x="104" y="23"/>
                  </a:cubicBezTo>
                  <a:cubicBezTo>
                    <a:pt x="104" y="23"/>
                    <a:pt x="104" y="27"/>
                    <a:pt x="109" y="22"/>
                  </a:cubicBezTo>
                  <a:cubicBezTo>
                    <a:pt x="109" y="22"/>
                    <a:pt x="112" y="25"/>
                    <a:pt x="114" y="23"/>
                  </a:cubicBezTo>
                  <a:cubicBezTo>
                    <a:pt x="114" y="23"/>
                    <a:pt x="115" y="20"/>
                    <a:pt x="120" y="22"/>
                  </a:cubicBezTo>
                  <a:cubicBezTo>
                    <a:pt x="120" y="26"/>
                    <a:pt x="123" y="25"/>
                    <a:pt x="123" y="25"/>
                  </a:cubicBezTo>
                  <a:cubicBezTo>
                    <a:pt x="126" y="25"/>
                    <a:pt x="126" y="30"/>
                    <a:pt x="126" y="30"/>
                  </a:cubicBezTo>
                  <a:cubicBezTo>
                    <a:pt x="128" y="33"/>
                    <a:pt x="130" y="38"/>
                    <a:pt x="130" y="38"/>
                  </a:cubicBezTo>
                  <a:cubicBezTo>
                    <a:pt x="135" y="37"/>
                    <a:pt x="137" y="41"/>
                    <a:pt x="137" y="41"/>
                  </a:cubicBezTo>
                  <a:cubicBezTo>
                    <a:pt x="138" y="43"/>
                    <a:pt x="140" y="38"/>
                    <a:pt x="143" y="43"/>
                  </a:cubicBezTo>
                  <a:cubicBezTo>
                    <a:pt x="146" y="43"/>
                    <a:pt x="150" y="47"/>
                    <a:pt x="150" y="47"/>
                  </a:cubicBezTo>
                  <a:cubicBezTo>
                    <a:pt x="157" y="47"/>
                    <a:pt x="155" y="51"/>
                    <a:pt x="155" y="51"/>
                  </a:cubicBezTo>
                  <a:cubicBezTo>
                    <a:pt x="147" y="53"/>
                    <a:pt x="152" y="55"/>
                    <a:pt x="152" y="55"/>
                  </a:cubicBezTo>
                  <a:cubicBezTo>
                    <a:pt x="152" y="55"/>
                    <a:pt x="156" y="56"/>
                    <a:pt x="150" y="57"/>
                  </a:cubicBezTo>
                  <a:cubicBezTo>
                    <a:pt x="147" y="57"/>
                    <a:pt x="151" y="62"/>
                    <a:pt x="146" y="60"/>
                  </a:cubicBezTo>
                  <a:cubicBezTo>
                    <a:pt x="137" y="61"/>
                    <a:pt x="141" y="65"/>
                    <a:pt x="141" y="65"/>
                  </a:cubicBezTo>
                  <a:cubicBezTo>
                    <a:pt x="143" y="69"/>
                    <a:pt x="139" y="71"/>
                    <a:pt x="139" y="71"/>
                  </a:cubicBezTo>
                  <a:cubicBezTo>
                    <a:pt x="147" y="72"/>
                    <a:pt x="147" y="79"/>
                    <a:pt x="147" y="79"/>
                  </a:cubicBezTo>
                  <a:cubicBezTo>
                    <a:pt x="156" y="79"/>
                    <a:pt x="154" y="83"/>
                    <a:pt x="154" y="83"/>
                  </a:cubicBezTo>
                  <a:cubicBezTo>
                    <a:pt x="155" y="86"/>
                    <a:pt x="152" y="87"/>
                    <a:pt x="152" y="87"/>
                  </a:cubicBezTo>
                  <a:cubicBezTo>
                    <a:pt x="144" y="88"/>
                    <a:pt x="151" y="93"/>
                    <a:pt x="151" y="93"/>
                  </a:cubicBezTo>
                  <a:cubicBezTo>
                    <a:pt x="144" y="98"/>
                    <a:pt x="139" y="104"/>
                    <a:pt x="139" y="104"/>
                  </a:cubicBezTo>
                  <a:cubicBezTo>
                    <a:pt x="125" y="98"/>
                    <a:pt x="113" y="115"/>
                    <a:pt x="113" y="115"/>
                  </a:cubicBezTo>
                  <a:cubicBezTo>
                    <a:pt x="106" y="109"/>
                    <a:pt x="99" y="113"/>
                    <a:pt x="99" y="113"/>
                  </a:cubicBezTo>
                  <a:cubicBezTo>
                    <a:pt x="86" y="115"/>
                    <a:pt x="82" y="124"/>
                    <a:pt x="82" y="124"/>
                  </a:cubicBezTo>
                  <a:cubicBezTo>
                    <a:pt x="81" y="128"/>
                    <a:pt x="75" y="131"/>
                    <a:pt x="75" y="131"/>
                  </a:cubicBezTo>
                  <a:lnTo>
                    <a:pt x="64" y="141"/>
                  </a:lnTo>
                  <a:cubicBezTo>
                    <a:pt x="59" y="143"/>
                    <a:pt x="61" y="136"/>
                    <a:pt x="61" y="136"/>
                  </a:cubicBezTo>
                  <a:cubicBezTo>
                    <a:pt x="60" y="131"/>
                    <a:pt x="57" y="137"/>
                    <a:pt x="57" y="137"/>
                  </a:cubicBezTo>
                  <a:cubicBezTo>
                    <a:pt x="56" y="141"/>
                    <a:pt x="55" y="143"/>
                    <a:pt x="53" y="145"/>
                  </a:cubicBezTo>
                  <a:cubicBezTo>
                    <a:pt x="46" y="146"/>
                    <a:pt x="48" y="142"/>
                    <a:pt x="48" y="142"/>
                  </a:cubicBezTo>
                  <a:cubicBezTo>
                    <a:pt x="48" y="130"/>
                    <a:pt x="42" y="132"/>
                    <a:pt x="42" y="132"/>
                  </a:cubicBezTo>
                  <a:cubicBezTo>
                    <a:pt x="37" y="131"/>
                    <a:pt x="37" y="127"/>
                    <a:pt x="37" y="127"/>
                  </a:cubicBezTo>
                  <a:cubicBezTo>
                    <a:pt x="29" y="126"/>
                    <a:pt x="30" y="122"/>
                    <a:pt x="30" y="122"/>
                  </a:cubicBezTo>
                  <a:cubicBezTo>
                    <a:pt x="31" y="119"/>
                    <a:pt x="27" y="117"/>
                    <a:pt x="27" y="117"/>
                  </a:cubicBezTo>
                  <a:cubicBezTo>
                    <a:pt x="20" y="117"/>
                    <a:pt x="27" y="112"/>
                    <a:pt x="27" y="112"/>
                  </a:cubicBezTo>
                  <a:cubicBezTo>
                    <a:pt x="31" y="111"/>
                    <a:pt x="29" y="107"/>
                    <a:pt x="29" y="107"/>
                  </a:cubicBezTo>
                  <a:cubicBezTo>
                    <a:pt x="36" y="103"/>
                    <a:pt x="29" y="101"/>
                    <a:pt x="29" y="101"/>
                  </a:cubicBezTo>
                  <a:cubicBezTo>
                    <a:pt x="29" y="96"/>
                    <a:pt x="24" y="97"/>
                    <a:pt x="24" y="97"/>
                  </a:cubicBezTo>
                  <a:cubicBezTo>
                    <a:pt x="22" y="97"/>
                    <a:pt x="21" y="93"/>
                    <a:pt x="21" y="93"/>
                  </a:cubicBezTo>
                  <a:cubicBezTo>
                    <a:pt x="16" y="92"/>
                    <a:pt x="18" y="86"/>
                    <a:pt x="18" y="86"/>
                  </a:cubicBezTo>
                  <a:cubicBezTo>
                    <a:pt x="13" y="83"/>
                    <a:pt x="15" y="75"/>
                    <a:pt x="15" y="75"/>
                  </a:cubicBezTo>
                  <a:cubicBezTo>
                    <a:pt x="12" y="64"/>
                    <a:pt x="9" y="72"/>
                    <a:pt x="9" y="72"/>
                  </a:cubicBezTo>
                  <a:cubicBezTo>
                    <a:pt x="3" y="75"/>
                    <a:pt x="3" y="67"/>
                    <a:pt x="3" y="67"/>
                  </a:cubicBezTo>
                  <a:cubicBezTo>
                    <a:pt x="0" y="63"/>
                    <a:pt x="0" y="57"/>
                    <a:pt x="0" y="57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19" name="Freeform 1155">
              <a:extLst>
                <a:ext uri="{FF2B5EF4-FFF2-40B4-BE49-F238E27FC236}">
                  <a16:creationId xmlns:a16="http://schemas.microsoft.com/office/drawing/2014/main" id="{981F5C58-8F3A-40C4-A668-924B5F88B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7841" y="5209421"/>
              <a:ext cx="1624410" cy="1009917"/>
            </a:xfrm>
            <a:custGeom>
              <a:avLst/>
              <a:gdLst>
                <a:gd name="T0" fmla="*/ 571500 w 230"/>
                <a:gd name="T1" fmla="*/ 63500 h 143"/>
                <a:gd name="T2" fmla="*/ 642938 w 230"/>
                <a:gd name="T3" fmla="*/ 103187 h 143"/>
                <a:gd name="T4" fmla="*/ 730250 w 230"/>
                <a:gd name="T5" fmla="*/ 111125 h 143"/>
                <a:gd name="T6" fmla="*/ 738188 w 230"/>
                <a:gd name="T7" fmla="*/ 158750 h 143"/>
                <a:gd name="T8" fmla="*/ 762000 w 230"/>
                <a:gd name="T9" fmla="*/ 134937 h 143"/>
                <a:gd name="T10" fmla="*/ 833438 w 230"/>
                <a:gd name="T11" fmla="*/ 158750 h 143"/>
                <a:gd name="T12" fmla="*/ 912813 w 230"/>
                <a:gd name="T13" fmla="*/ 174625 h 143"/>
                <a:gd name="T14" fmla="*/ 873125 w 230"/>
                <a:gd name="T15" fmla="*/ 142875 h 143"/>
                <a:gd name="T16" fmla="*/ 920750 w 230"/>
                <a:gd name="T17" fmla="*/ 190500 h 143"/>
                <a:gd name="T18" fmla="*/ 936625 w 230"/>
                <a:gd name="T19" fmla="*/ 222250 h 143"/>
                <a:gd name="T20" fmla="*/ 968375 w 230"/>
                <a:gd name="T21" fmla="*/ 246062 h 143"/>
                <a:gd name="T22" fmla="*/ 1000125 w 230"/>
                <a:gd name="T23" fmla="*/ 222250 h 143"/>
                <a:gd name="T24" fmla="*/ 1008063 w 230"/>
                <a:gd name="T25" fmla="*/ 285750 h 143"/>
                <a:gd name="T26" fmla="*/ 1119188 w 230"/>
                <a:gd name="T27" fmla="*/ 357187 h 143"/>
                <a:gd name="T28" fmla="*/ 1150938 w 230"/>
                <a:gd name="T29" fmla="*/ 396875 h 143"/>
                <a:gd name="T30" fmla="*/ 1150938 w 230"/>
                <a:gd name="T31" fmla="*/ 444500 h 143"/>
                <a:gd name="T32" fmla="*/ 1214438 w 230"/>
                <a:gd name="T33" fmla="*/ 523875 h 143"/>
                <a:gd name="T34" fmla="*/ 1341438 w 230"/>
                <a:gd name="T35" fmla="*/ 539750 h 143"/>
                <a:gd name="T36" fmla="*/ 1150938 w 230"/>
                <a:gd name="T37" fmla="*/ 349250 h 143"/>
                <a:gd name="T38" fmla="*/ 1039813 w 230"/>
                <a:gd name="T39" fmla="*/ 166687 h 143"/>
                <a:gd name="T40" fmla="*/ 968375 w 230"/>
                <a:gd name="T41" fmla="*/ 63500 h 143"/>
                <a:gd name="T42" fmla="*/ 1008063 w 230"/>
                <a:gd name="T43" fmla="*/ 55562 h 143"/>
                <a:gd name="T44" fmla="*/ 1023938 w 230"/>
                <a:gd name="T45" fmla="*/ 39687 h 143"/>
                <a:gd name="T46" fmla="*/ 1111250 w 230"/>
                <a:gd name="T47" fmla="*/ 277812 h 143"/>
                <a:gd name="T48" fmla="*/ 1293813 w 230"/>
                <a:gd name="T49" fmla="*/ 500062 h 143"/>
                <a:gd name="T50" fmla="*/ 1484313 w 230"/>
                <a:gd name="T51" fmla="*/ 412750 h 143"/>
                <a:gd name="T52" fmla="*/ 1658938 w 230"/>
                <a:gd name="T53" fmla="*/ 404812 h 143"/>
                <a:gd name="T54" fmla="*/ 1825625 w 230"/>
                <a:gd name="T55" fmla="*/ 444500 h 143"/>
                <a:gd name="T56" fmla="*/ 1746250 w 230"/>
                <a:gd name="T57" fmla="*/ 595312 h 143"/>
                <a:gd name="T58" fmla="*/ 1674813 w 230"/>
                <a:gd name="T59" fmla="*/ 682625 h 143"/>
                <a:gd name="T60" fmla="*/ 1547813 w 230"/>
                <a:gd name="T61" fmla="*/ 690562 h 143"/>
                <a:gd name="T62" fmla="*/ 1444625 w 230"/>
                <a:gd name="T63" fmla="*/ 650875 h 143"/>
                <a:gd name="T64" fmla="*/ 1309688 w 230"/>
                <a:gd name="T65" fmla="*/ 690562 h 143"/>
                <a:gd name="T66" fmla="*/ 1198563 w 230"/>
                <a:gd name="T67" fmla="*/ 833437 h 143"/>
                <a:gd name="T68" fmla="*/ 1055688 w 230"/>
                <a:gd name="T69" fmla="*/ 833437 h 143"/>
                <a:gd name="T70" fmla="*/ 896938 w 230"/>
                <a:gd name="T71" fmla="*/ 944562 h 143"/>
                <a:gd name="T72" fmla="*/ 730250 w 230"/>
                <a:gd name="T73" fmla="*/ 1119187 h 143"/>
                <a:gd name="T74" fmla="*/ 547688 w 230"/>
                <a:gd name="T75" fmla="*/ 1079500 h 143"/>
                <a:gd name="T76" fmla="*/ 444500 w 230"/>
                <a:gd name="T77" fmla="*/ 1000125 h 143"/>
                <a:gd name="T78" fmla="*/ 539750 w 230"/>
                <a:gd name="T79" fmla="*/ 833437 h 143"/>
                <a:gd name="T80" fmla="*/ 428625 w 230"/>
                <a:gd name="T81" fmla="*/ 627062 h 143"/>
                <a:gd name="T82" fmla="*/ 277813 w 230"/>
                <a:gd name="T83" fmla="*/ 579437 h 143"/>
                <a:gd name="T84" fmla="*/ 79375 w 230"/>
                <a:gd name="T85" fmla="*/ 563562 h 143"/>
                <a:gd name="T86" fmla="*/ 158750 w 230"/>
                <a:gd name="T87" fmla="*/ 412750 h 143"/>
                <a:gd name="T88" fmla="*/ 325438 w 230"/>
                <a:gd name="T89" fmla="*/ 277812 h 143"/>
                <a:gd name="T90" fmla="*/ 428625 w 230"/>
                <a:gd name="T91" fmla="*/ 238125 h 143"/>
                <a:gd name="T92" fmla="*/ 492125 w 230"/>
                <a:gd name="T93" fmla="*/ 214312 h 143"/>
                <a:gd name="T94" fmla="*/ 555625 w 230"/>
                <a:gd name="T95" fmla="*/ 198437 h 143"/>
                <a:gd name="T96" fmla="*/ 571500 w 230"/>
                <a:gd name="T97" fmla="*/ 158750 h 143"/>
                <a:gd name="T98" fmla="*/ 531813 w 230"/>
                <a:gd name="T99" fmla="*/ 103187 h 143"/>
                <a:gd name="T100" fmla="*/ 515938 w 230"/>
                <a:gd name="T101" fmla="*/ 71437 h 143"/>
                <a:gd name="T102" fmla="*/ 508000 w 230"/>
                <a:gd name="T103" fmla="*/ 7937 h 143"/>
                <a:gd name="T104" fmla="*/ 563563 w 230"/>
                <a:gd name="T105" fmla="*/ 23812 h 143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30"/>
                <a:gd name="T160" fmla="*/ 0 h 143"/>
                <a:gd name="T161" fmla="*/ 230 w 230"/>
                <a:gd name="T162" fmla="*/ 143 h 143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30" h="143">
                  <a:moveTo>
                    <a:pt x="71" y="3"/>
                  </a:moveTo>
                  <a:cubicBezTo>
                    <a:pt x="71" y="6"/>
                    <a:pt x="72" y="8"/>
                    <a:pt x="72" y="8"/>
                  </a:cubicBezTo>
                  <a:cubicBezTo>
                    <a:pt x="75" y="5"/>
                    <a:pt x="78" y="10"/>
                    <a:pt x="78" y="10"/>
                  </a:cubicBezTo>
                  <a:cubicBezTo>
                    <a:pt x="78" y="15"/>
                    <a:pt x="81" y="13"/>
                    <a:pt x="81" y="13"/>
                  </a:cubicBezTo>
                  <a:cubicBezTo>
                    <a:pt x="81" y="8"/>
                    <a:pt x="84" y="9"/>
                    <a:pt x="84" y="9"/>
                  </a:cubicBezTo>
                  <a:cubicBezTo>
                    <a:pt x="90" y="7"/>
                    <a:pt x="92" y="14"/>
                    <a:pt x="92" y="14"/>
                  </a:cubicBezTo>
                  <a:lnTo>
                    <a:pt x="93" y="20"/>
                  </a:lnTo>
                  <a:cubicBezTo>
                    <a:pt x="94" y="16"/>
                    <a:pt x="96" y="17"/>
                    <a:pt x="96" y="17"/>
                  </a:cubicBezTo>
                  <a:cubicBezTo>
                    <a:pt x="96" y="14"/>
                    <a:pt x="100" y="15"/>
                    <a:pt x="100" y="15"/>
                  </a:cubicBezTo>
                  <a:cubicBezTo>
                    <a:pt x="104" y="14"/>
                    <a:pt x="105" y="20"/>
                    <a:pt x="105" y="20"/>
                  </a:cubicBezTo>
                  <a:cubicBezTo>
                    <a:pt x="105" y="26"/>
                    <a:pt x="110" y="26"/>
                    <a:pt x="110" y="26"/>
                  </a:cubicBezTo>
                  <a:cubicBezTo>
                    <a:pt x="113" y="26"/>
                    <a:pt x="115" y="22"/>
                    <a:pt x="115" y="22"/>
                  </a:cubicBezTo>
                  <a:cubicBezTo>
                    <a:pt x="115" y="19"/>
                    <a:pt x="112" y="19"/>
                    <a:pt x="112" y="19"/>
                  </a:cubicBezTo>
                  <a:cubicBezTo>
                    <a:pt x="111" y="19"/>
                    <a:pt x="110" y="18"/>
                    <a:pt x="110" y="18"/>
                  </a:cubicBezTo>
                  <a:cubicBezTo>
                    <a:pt x="112" y="13"/>
                    <a:pt x="118" y="18"/>
                    <a:pt x="118" y="18"/>
                  </a:cubicBezTo>
                  <a:cubicBezTo>
                    <a:pt x="118" y="23"/>
                    <a:pt x="116" y="24"/>
                    <a:pt x="116" y="24"/>
                  </a:cubicBezTo>
                  <a:cubicBezTo>
                    <a:pt x="112" y="29"/>
                    <a:pt x="113" y="32"/>
                    <a:pt x="113" y="32"/>
                  </a:cubicBezTo>
                  <a:cubicBezTo>
                    <a:pt x="116" y="33"/>
                    <a:pt x="118" y="28"/>
                    <a:pt x="118" y="28"/>
                  </a:cubicBezTo>
                  <a:cubicBezTo>
                    <a:pt x="121" y="23"/>
                    <a:pt x="124" y="22"/>
                    <a:pt x="124" y="22"/>
                  </a:cubicBezTo>
                  <a:cubicBezTo>
                    <a:pt x="122" y="27"/>
                    <a:pt x="122" y="31"/>
                    <a:pt x="122" y="31"/>
                  </a:cubicBezTo>
                  <a:lnTo>
                    <a:pt x="126" y="28"/>
                  </a:lnTo>
                  <a:cubicBezTo>
                    <a:pt x="128" y="30"/>
                    <a:pt x="127" y="36"/>
                    <a:pt x="127" y="36"/>
                  </a:cubicBezTo>
                  <a:cubicBezTo>
                    <a:pt x="133" y="36"/>
                    <a:pt x="135" y="39"/>
                    <a:pt x="135" y="39"/>
                  </a:cubicBezTo>
                  <a:cubicBezTo>
                    <a:pt x="139" y="40"/>
                    <a:pt x="141" y="45"/>
                    <a:pt x="141" y="45"/>
                  </a:cubicBezTo>
                  <a:cubicBezTo>
                    <a:pt x="145" y="47"/>
                    <a:pt x="145" y="50"/>
                    <a:pt x="145" y="50"/>
                  </a:cubicBezTo>
                  <a:lnTo>
                    <a:pt x="145" y="56"/>
                  </a:lnTo>
                  <a:cubicBezTo>
                    <a:pt x="143" y="60"/>
                    <a:pt x="146" y="63"/>
                    <a:pt x="146" y="63"/>
                  </a:cubicBezTo>
                  <a:cubicBezTo>
                    <a:pt x="150" y="63"/>
                    <a:pt x="153" y="66"/>
                    <a:pt x="153" y="66"/>
                  </a:cubicBezTo>
                  <a:cubicBezTo>
                    <a:pt x="160" y="67"/>
                    <a:pt x="165" y="71"/>
                    <a:pt x="165" y="71"/>
                  </a:cubicBezTo>
                  <a:cubicBezTo>
                    <a:pt x="166" y="69"/>
                    <a:pt x="169" y="68"/>
                    <a:pt x="169" y="68"/>
                  </a:cubicBezTo>
                  <a:cubicBezTo>
                    <a:pt x="163" y="68"/>
                    <a:pt x="158" y="61"/>
                    <a:pt x="158" y="61"/>
                  </a:cubicBezTo>
                  <a:cubicBezTo>
                    <a:pt x="152" y="54"/>
                    <a:pt x="145" y="44"/>
                    <a:pt x="145" y="44"/>
                  </a:cubicBezTo>
                  <a:cubicBezTo>
                    <a:pt x="138" y="36"/>
                    <a:pt x="135" y="28"/>
                    <a:pt x="135" y="28"/>
                  </a:cubicBezTo>
                  <a:cubicBezTo>
                    <a:pt x="129" y="32"/>
                    <a:pt x="131" y="21"/>
                    <a:pt x="131" y="21"/>
                  </a:cubicBezTo>
                  <a:cubicBezTo>
                    <a:pt x="128" y="20"/>
                    <a:pt x="130" y="14"/>
                    <a:pt x="130" y="14"/>
                  </a:cubicBezTo>
                  <a:cubicBezTo>
                    <a:pt x="125" y="14"/>
                    <a:pt x="122" y="8"/>
                    <a:pt x="122" y="8"/>
                  </a:cubicBezTo>
                  <a:cubicBezTo>
                    <a:pt x="121" y="6"/>
                    <a:pt x="127" y="7"/>
                    <a:pt x="127" y="7"/>
                  </a:cubicBezTo>
                  <a:lnTo>
                    <a:pt x="129" y="5"/>
                  </a:lnTo>
                  <a:cubicBezTo>
                    <a:pt x="129" y="11"/>
                    <a:pt x="132" y="15"/>
                    <a:pt x="132" y="15"/>
                  </a:cubicBezTo>
                  <a:cubicBezTo>
                    <a:pt x="132" y="22"/>
                    <a:pt x="140" y="35"/>
                    <a:pt x="140" y="35"/>
                  </a:cubicBezTo>
                  <a:cubicBezTo>
                    <a:pt x="142" y="37"/>
                    <a:pt x="150" y="49"/>
                    <a:pt x="150" y="49"/>
                  </a:cubicBezTo>
                  <a:cubicBezTo>
                    <a:pt x="156" y="57"/>
                    <a:pt x="163" y="63"/>
                    <a:pt x="163" y="63"/>
                  </a:cubicBezTo>
                  <a:cubicBezTo>
                    <a:pt x="166" y="69"/>
                    <a:pt x="179" y="63"/>
                    <a:pt x="179" y="63"/>
                  </a:cubicBezTo>
                  <a:cubicBezTo>
                    <a:pt x="182" y="61"/>
                    <a:pt x="187" y="52"/>
                    <a:pt x="187" y="52"/>
                  </a:cubicBezTo>
                  <a:cubicBezTo>
                    <a:pt x="192" y="62"/>
                    <a:pt x="199" y="56"/>
                    <a:pt x="199" y="56"/>
                  </a:cubicBezTo>
                  <a:cubicBezTo>
                    <a:pt x="201" y="50"/>
                    <a:pt x="209" y="51"/>
                    <a:pt x="209" y="51"/>
                  </a:cubicBezTo>
                  <a:cubicBezTo>
                    <a:pt x="217" y="49"/>
                    <a:pt x="223" y="51"/>
                    <a:pt x="223" y="51"/>
                  </a:cubicBezTo>
                  <a:cubicBezTo>
                    <a:pt x="229" y="52"/>
                    <a:pt x="230" y="56"/>
                    <a:pt x="230" y="56"/>
                  </a:cubicBezTo>
                  <a:cubicBezTo>
                    <a:pt x="229" y="61"/>
                    <a:pt x="221" y="65"/>
                    <a:pt x="221" y="65"/>
                  </a:cubicBezTo>
                  <a:cubicBezTo>
                    <a:pt x="219" y="68"/>
                    <a:pt x="220" y="75"/>
                    <a:pt x="220" y="75"/>
                  </a:cubicBezTo>
                  <a:cubicBezTo>
                    <a:pt x="227" y="81"/>
                    <a:pt x="217" y="82"/>
                    <a:pt x="217" y="82"/>
                  </a:cubicBezTo>
                  <a:cubicBezTo>
                    <a:pt x="212" y="81"/>
                    <a:pt x="211" y="86"/>
                    <a:pt x="211" y="86"/>
                  </a:cubicBezTo>
                  <a:cubicBezTo>
                    <a:pt x="208" y="87"/>
                    <a:pt x="200" y="84"/>
                    <a:pt x="200" y="84"/>
                  </a:cubicBezTo>
                  <a:cubicBezTo>
                    <a:pt x="199" y="88"/>
                    <a:pt x="195" y="87"/>
                    <a:pt x="195" y="87"/>
                  </a:cubicBezTo>
                  <a:cubicBezTo>
                    <a:pt x="191" y="91"/>
                    <a:pt x="187" y="85"/>
                    <a:pt x="187" y="85"/>
                  </a:cubicBezTo>
                  <a:cubicBezTo>
                    <a:pt x="185" y="82"/>
                    <a:pt x="182" y="82"/>
                    <a:pt x="182" y="82"/>
                  </a:cubicBezTo>
                  <a:cubicBezTo>
                    <a:pt x="178" y="76"/>
                    <a:pt x="169" y="80"/>
                    <a:pt x="169" y="80"/>
                  </a:cubicBezTo>
                  <a:cubicBezTo>
                    <a:pt x="165" y="85"/>
                    <a:pt x="165" y="87"/>
                    <a:pt x="165" y="87"/>
                  </a:cubicBezTo>
                  <a:cubicBezTo>
                    <a:pt x="163" y="92"/>
                    <a:pt x="158" y="95"/>
                    <a:pt x="158" y="95"/>
                  </a:cubicBezTo>
                  <a:cubicBezTo>
                    <a:pt x="150" y="96"/>
                    <a:pt x="151" y="105"/>
                    <a:pt x="151" y="105"/>
                  </a:cubicBezTo>
                  <a:cubicBezTo>
                    <a:pt x="148" y="109"/>
                    <a:pt x="143" y="102"/>
                    <a:pt x="143" y="102"/>
                  </a:cubicBezTo>
                  <a:cubicBezTo>
                    <a:pt x="138" y="106"/>
                    <a:pt x="133" y="105"/>
                    <a:pt x="133" y="105"/>
                  </a:cubicBezTo>
                  <a:cubicBezTo>
                    <a:pt x="128" y="105"/>
                    <a:pt x="125" y="110"/>
                    <a:pt x="125" y="110"/>
                  </a:cubicBezTo>
                  <a:cubicBezTo>
                    <a:pt x="121" y="108"/>
                    <a:pt x="113" y="119"/>
                    <a:pt x="113" y="119"/>
                  </a:cubicBezTo>
                  <a:cubicBezTo>
                    <a:pt x="109" y="121"/>
                    <a:pt x="113" y="129"/>
                    <a:pt x="105" y="128"/>
                  </a:cubicBezTo>
                  <a:cubicBezTo>
                    <a:pt x="101" y="134"/>
                    <a:pt x="97" y="139"/>
                    <a:pt x="92" y="141"/>
                  </a:cubicBezTo>
                  <a:cubicBezTo>
                    <a:pt x="82" y="143"/>
                    <a:pt x="74" y="141"/>
                    <a:pt x="74" y="141"/>
                  </a:cubicBezTo>
                  <a:cubicBezTo>
                    <a:pt x="72" y="138"/>
                    <a:pt x="69" y="136"/>
                    <a:pt x="69" y="136"/>
                  </a:cubicBezTo>
                  <a:cubicBezTo>
                    <a:pt x="69" y="132"/>
                    <a:pt x="62" y="134"/>
                    <a:pt x="62" y="134"/>
                  </a:cubicBezTo>
                  <a:cubicBezTo>
                    <a:pt x="58" y="132"/>
                    <a:pt x="56" y="126"/>
                    <a:pt x="56" y="126"/>
                  </a:cubicBezTo>
                  <a:cubicBezTo>
                    <a:pt x="56" y="124"/>
                    <a:pt x="60" y="126"/>
                    <a:pt x="65" y="121"/>
                  </a:cubicBezTo>
                  <a:cubicBezTo>
                    <a:pt x="65" y="116"/>
                    <a:pt x="59" y="114"/>
                    <a:pt x="68" y="105"/>
                  </a:cubicBezTo>
                  <a:cubicBezTo>
                    <a:pt x="70" y="96"/>
                    <a:pt x="64" y="87"/>
                    <a:pt x="64" y="87"/>
                  </a:cubicBezTo>
                  <a:cubicBezTo>
                    <a:pt x="61" y="81"/>
                    <a:pt x="54" y="79"/>
                    <a:pt x="54" y="79"/>
                  </a:cubicBezTo>
                  <a:cubicBezTo>
                    <a:pt x="46" y="86"/>
                    <a:pt x="43" y="81"/>
                    <a:pt x="43" y="81"/>
                  </a:cubicBezTo>
                  <a:cubicBezTo>
                    <a:pt x="42" y="78"/>
                    <a:pt x="35" y="73"/>
                    <a:pt x="35" y="73"/>
                  </a:cubicBezTo>
                  <a:cubicBezTo>
                    <a:pt x="26" y="66"/>
                    <a:pt x="22" y="68"/>
                    <a:pt x="22" y="68"/>
                  </a:cubicBezTo>
                  <a:cubicBezTo>
                    <a:pt x="18" y="67"/>
                    <a:pt x="15" y="74"/>
                    <a:pt x="10" y="71"/>
                  </a:cubicBezTo>
                  <a:cubicBezTo>
                    <a:pt x="0" y="65"/>
                    <a:pt x="10" y="59"/>
                    <a:pt x="10" y="59"/>
                  </a:cubicBezTo>
                  <a:cubicBezTo>
                    <a:pt x="11" y="56"/>
                    <a:pt x="20" y="52"/>
                    <a:pt x="20" y="52"/>
                  </a:cubicBezTo>
                  <a:cubicBezTo>
                    <a:pt x="23" y="47"/>
                    <a:pt x="32" y="43"/>
                    <a:pt x="32" y="43"/>
                  </a:cubicBezTo>
                  <a:cubicBezTo>
                    <a:pt x="35" y="38"/>
                    <a:pt x="41" y="35"/>
                    <a:pt x="41" y="35"/>
                  </a:cubicBezTo>
                  <a:cubicBezTo>
                    <a:pt x="50" y="35"/>
                    <a:pt x="54" y="30"/>
                    <a:pt x="54" y="30"/>
                  </a:cubicBezTo>
                  <a:lnTo>
                    <a:pt x="62" y="27"/>
                  </a:lnTo>
                  <a:cubicBezTo>
                    <a:pt x="71" y="29"/>
                    <a:pt x="70" y="25"/>
                    <a:pt x="70" y="25"/>
                  </a:cubicBezTo>
                  <a:lnTo>
                    <a:pt x="72" y="20"/>
                  </a:lnTo>
                  <a:cubicBezTo>
                    <a:pt x="62" y="26"/>
                    <a:pt x="67" y="13"/>
                    <a:pt x="67" y="13"/>
                  </a:cubicBezTo>
                  <a:lnTo>
                    <a:pt x="65" y="9"/>
                  </a:lnTo>
                  <a:cubicBezTo>
                    <a:pt x="65" y="7"/>
                    <a:pt x="64" y="7"/>
                    <a:pt x="63" y="6"/>
                  </a:cubicBezTo>
                  <a:cubicBezTo>
                    <a:pt x="65" y="4"/>
                    <a:pt x="64" y="1"/>
                    <a:pt x="64" y="1"/>
                  </a:cubicBezTo>
                  <a:cubicBezTo>
                    <a:pt x="68" y="0"/>
                    <a:pt x="71" y="3"/>
                    <a:pt x="71" y="3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20" name="Freeform 1156">
              <a:extLst>
                <a:ext uri="{FF2B5EF4-FFF2-40B4-BE49-F238E27FC236}">
                  <a16:creationId xmlns:a16="http://schemas.microsoft.com/office/drawing/2014/main" id="{E6450110-AD38-4F84-BCB5-9DCE06C7F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619" y="4143008"/>
              <a:ext cx="1200651" cy="1631403"/>
            </a:xfrm>
            <a:custGeom>
              <a:avLst/>
              <a:gdLst>
                <a:gd name="T0" fmla="*/ 396875 w 170"/>
                <a:gd name="T1" fmla="*/ 63500 h 231"/>
                <a:gd name="T2" fmla="*/ 523875 w 170"/>
                <a:gd name="T3" fmla="*/ 79375 h 231"/>
                <a:gd name="T4" fmla="*/ 658813 w 170"/>
                <a:gd name="T5" fmla="*/ 55562 h 231"/>
                <a:gd name="T6" fmla="*/ 754063 w 170"/>
                <a:gd name="T7" fmla="*/ 0 h 231"/>
                <a:gd name="T8" fmla="*/ 904875 w 170"/>
                <a:gd name="T9" fmla="*/ 47625 h 231"/>
                <a:gd name="T10" fmla="*/ 889000 w 170"/>
                <a:gd name="T11" fmla="*/ 158750 h 231"/>
                <a:gd name="T12" fmla="*/ 944563 w 170"/>
                <a:gd name="T13" fmla="*/ 309562 h 231"/>
                <a:gd name="T14" fmla="*/ 1119188 w 170"/>
                <a:gd name="T15" fmla="*/ 396875 h 231"/>
                <a:gd name="T16" fmla="*/ 1135063 w 170"/>
                <a:gd name="T17" fmla="*/ 555625 h 231"/>
                <a:gd name="T18" fmla="*/ 1238250 w 170"/>
                <a:gd name="T19" fmla="*/ 635000 h 231"/>
                <a:gd name="T20" fmla="*/ 1262063 w 170"/>
                <a:gd name="T21" fmla="*/ 762000 h 231"/>
                <a:gd name="T22" fmla="*/ 1238250 w 170"/>
                <a:gd name="T23" fmla="*/ 825500 h 231"/>
                <a:gd name="T24" fmla="*/ 1277938 w 170"/>
                <a:gd name="T25" fmla="*/ 960437 h 231"/>
                <a:gd name="T26" fmla="*/ 1135063 w 170"/>
                <a:gd name="T27" fmla="*/ 1000125 h 231"/>
                <a:gd name="T28" fmla="*/ 1071563 w 170"/>
                <a:gd name="T29" fmla="*/ 1150937 h 231"/>
                <a:gd name="T30" fmla="*/ 1000125 w 170"/>
                <a:gd name="T31" fmla="*/ 1270000 h 231"/>
                <a:gd name="T32" fmla="*/ 952500 w 170"/>
                <a:gd name="T33" fmla="*/ 1198562 h 231"/>
                <a:gd name="T34" fmla="*/ 920750 w 170"/>
                <a:gd name="T35" fmla="*/ 1158875 h 231"/>
                <a:gd name="T36" fmla="*/ 849313 w 170"/>
                <a:gd name="T37" fmla="*/ 1174750 h 231"/>
                <a:gd name="T38" fmla="*/ 896938 w 170"/>
                <a:gd name="T39" fmla="*/ 1206500 h 231"/>
                <a:gd name="T40" fmla="*/ 944563 w 170"/>
                <a:gd name="T41" fmla="*/ 1270000 h 231"/>
                <a:gd name="T42" fmla="*/ 936625 w 170"/>
                <a:gd name="T43" fmla="*/ 1357312 h 231"/>
                <a:gd name="T44" fmla="*/ 833438 w 170"/>
                <a:gd name="T45" fmla="*/ 1428750 h 231"/>
                <a:gd name="T46" fmla="*/ 785813 w 170"/>
                <a:gd name="T47" fmla="*/ 1452562 h 231"/>
                <a:gd name="T48" fmla="*/ 698500 w 170"/>
                <a:gd name="T49" fmla="*/ 1508125 h 231"/>
                <a:gd name="T50" fmla="*/ 642938 w 170"/>
                <a:gd name="T51" fmla="*/ 1555750 h 231"/>
                <a:gd name="T52" fmla="*/ 642938 w 170"/>
                <a:gd name="T53" fmla="*/ 1508125 h 231"/>
                <a:gd name="T54" fmla="*/ 635000 w 170"/>
                <a:gd name="T55" fmla="*/ 1468437 h 231"/>
                <a:gd name="T56" fmla="*/ 619125 w 170"/>
                <a:gd name="T57" fmla="*/ 1627187 h 231"/>
                <a:gd name="T58" fmla="*/ 674688 w 170"/>
                <a:gd name="T59" fmla="*/ 1746250 h 231"/>
                <a:gd name="T60" fmla="*/ 611188 w 170"/>
                <a:gd name="T61" fmla="*/ 1738312 h 231"/>
                <a:gd name="T62" fmla="*/ 404813 w 170"/>
                <a:gd name="T63" fmla="*/ 1722437 h 231"/>
                <a:gd name="T64" fmla="*/ 309563 w 170"/>
                <a:gd name="T65" fmla="*/ 1785937 h 231"/>
                <a:gd name="T66" fmla="*/ 269875 w 170"/>
                <a:gd name="T67" fmla="*/ 1754187 h 231"/>
                <a:gd name="T68" fmla="*/ 158750 w 170"/>
                <a:gd name="T69" fmla="*/ 1793875 h 231"/>
                <a:gd name="T70" fmla="*/ 23813 w 170"/>
                <a:gd name="T71" fmla="*/ 1666875 h 231"/>
                <a:gd name="T72" fmla="*/ 63500 w 170"/>
                <a:gd name="T73" fmla="*/ 1627187 h 231"/>
                <a:gd name="T74" fmla="*/ 142875 w 170"/>
                <a:gd name="T75" fmla="*/ 1547812 h 231"/>
                <a:gd name="T76" fmla="*/ 214313 w 170"/>
                <a:gd name="T77" fmla="*/ 1444625 h 231"/>
                <a:gd name="T78" fmla="*/ 301625 w 170"/>
                <a:gd name="T79" fmla="*/ 1349375 h 231"/>
                <a:gd name="T80" fmla="*/ 349250 w 170"/>
                <a:gd name="T81" fmla="*/ 1254125 h 231"/>
                <a:gd name="T82" fmla="*/ 325438 w 170"/>
                <a:gd name="T83" fmla="*/ 1166812 h 231"/>
                <a:gd name="T84" fmla="*/ 365125 w 170"/>
                <a:gd name="T85" fmla="*/ 1039812 h 231"/>
                <a:gd name="T86" fmla="*/ 452438 w 170"/>
                <a:gd name="T87" fmla="*/ 1071562 h 231"/>
                <a:gd name="T88" fmla="*/ 508000 w 170"/>
                <a:gd name="T89" fmla="*/ 1071562 h 231"/>
                <a:gd name="T90" fmla="*/ 603250 w 170"/>
                <a:gd name="T91" fmla="*/ 1087437 h 231"/>
                <a:gd name="T92" fmla="*/ 706438 w 170"/>
                <a:gd name="T93" fmla="*/ 1111250 h 231"/>
                <a:gd name="T94" fmla="*/ 833438 w 170"/>
                <a:gd name="T95" fmla="*/ 1103312 h 231"/>
                <a:gd name="T96" fmla="*/ 738188 w 170"/>
                <a:gd name="T97" fmla="*/ 1016000 h 231"/>
                <a:gd name="T98" fmla="*/ 762000 w 170"/>
                <a:gd name="T99" fmla="*/ 889000 h 231"/>
                <a:gd name="T100" fmla="*/ 619125 w 170"/>
                <a:gd name="T101" fmla="*/ 762000 h 231"/>
                <a:gd name="T102" fmla="*/ 627063 w 170"/>
                <a:gd name="T103" fmla="*/ 690562 h 231"/>
                <a:gd name="T104" fmla="*/ 587375 w 170"/>
                <a:gd name="T105" fmla="*/ 658812 h 231"/>
                <a:gd name="T106" fmla="*/ 579438 w 170"/>
                <a:gd name="T107" fmla="*/ 531812 h 231"/>
                <a:gd name="T108" fmla="*/ 444500 w 170"/>
                <a:gd name="T109" fmla="*/ 460375 h 231"/>
                <a:gd name="T110" fmla="*/ 460375 w 170"/>
                <a:gd name="T111" fmla="*/ 317500 h 231"/>
                <a:gd name="T112" fmla="*/ 468313 w 170"/>
                <a:gd name="T113" fmla="*/ 238125 h 231"/>
                <a:gd name="T114" fmla="*/ 404813 w 170"/>
                <a:gd name="T115" fmla="*/ 134937 h 231"/>
                <a:gd name="T116" fmla="*/ 341313 w 170"/>
                <a:gd name="T117" fmla="*/ 119062 h 2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70"/>
                <a:gd name="T178" fmla="*/ 0 h 231"/>
                <a:gd name="T179" fmla="*/ 170 w 170"/>
                <a:gd name="T180" fmla="*/ 231 h 23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70" h="231">
                  <a:moveTo>
                    <a:pt x="43" y="15"/>
                  </a:moveTo>
                  <a:cubicBezTo>
                    <a:pt x="48" y="13"/>
                    <a:pt x="50" y="8"/>
                    <a:pt x="50" y="8"/>
                  </a:cubicBezTo>
                  <a:cubicBezTo>
                    <a:pt x="51" y="0"/>
                    <a:pt x="54" y="7"/>
                    <a:pt x="54" y="7"/>
                  </a:cubicBezTo>
                  <a:cubicBezTo>
                    <a:pt x="59" y="11"/>
                    <a:pt x="66" y="10"/>
                    <a:pt x="66" y="10"/>
                  </a:cubicBezTo>
                  <a:cubicBezTo>
                    <a:pt x="71" y="5"/>
                    <a:pt x="74" y="10"/>
                    <a:pt x="74" y="10"/>
                  </a:cubicBezTo>
                  <a:cubicBezTo>
                    <a:pt x="83" y="11"/>
                    <a:pt x="83" y="7"/>
                    <a:pt x="83" y="7"/>
                  </a:cubicBezTo>
                  <a:cubicBezTo>
                    <a:pt x="82" y="2"/>
                    <a:pt x="89" y="2"/>
                    <a:pt x="89" y="2"/>
                  </a:cubicBezTo>
                  <a:cubicBezTo>
                    <a:pt x="94" y="3"/>
                    <a:pt x="95" y="0"/>
                    <a:pt x="95" y="0"/>
                  </a:cubicBezTo>
                  <a:cubicBezTo>
                    <a:pt x="100" y="0"/>
                    <a:pt x="102" y="8"/>
                    <a:pt x="107" y="6"/>
                  </a:cubicBezTo>
                  <a:cubicBezTo>
                    <a:pt x="111" y="7"/>
                    <a:pt x="114" y="6"/>
                    <a:pt x="114" y="6"/>
                  </a:cubicBezTo>
                  <a:cubicBezTo>
                    <a:pt x="116" y="10"/>
                    <a:pt x="113" y="10"/>
                    <a:pt x="113" y="10"/>
                  </a:cubicBezTo>
                  <a:cubicBezTo>
                    <a:pt x="107" y="13"/>
                    <a:pt x="112" y="20"/>
                    <a:pt x="112" y="20"/>
                  </a:cubicBezTo>
                  <a:cubicBezTo>
                    <a:pt x="117" y="22"/>
                    <a:pt x="116" y="32"/>
                    <a:pt x="116" y="32"/>
                  </a:cubicBezTo>
                  <a:cubicBezTo>
                    <a:pt x="120" y="32"/>
                    <a:pt x="119" y="39"/>
                    <a:pt x="119" y="39"/>
                  </a:cubicBezTo>
                  <a:cubicBezTo>
                    <a:pt x="118" y="50"/>
                    <a:pt x="129" y="46"/>
                    <a:pt x="129" y="46"/>
                  </a:cubicBezTo>
                  <a:cubicBezTo>
                    <a:pt x="136" y="47"/>
                    <a:pt x="141" y="44"/>
                    <a:pt x="141" y="50"/>
                  </a:cubicBezTo>
                  <a:cubicBezTo>
                    <a:pt x="146" y="56"/>
                    <a:pt x="142" y="60"/>
                    <a:pt x="142" y="60"/>
                  </a:cubicBezTo>
                  <a:cubicBezTo>
                    <a:pt x="141" y="64"/>
                    <a:pt x="143" y="70"/>
                    <a:pt x="143" y="70"/>
                  </a:cubicBezTo>
                  <a:cubicBezTo>
                    <a:pt x="144" y="75"/>
                    <a:pt x="152" y="74"/>
                    <a:pt x="152" y="74"/>
                  </a:cubicBezTo>
                  <a:cubicBezTo>
                    <a:pt x="163" y="73"/>
                    <a:pt x="156" y="79"/>
                    <a:pt x="156" y="80"/>
                  </a:cubicBezTo>
                  <a:cubicBezTo>
                    <a:pt x="157" y="83"/>
                    <a:pt x="164" y="83"/>
                    <a:pt x="165" y="86"/>
                  </a:cubicBezTo>
                  <a:cubicBezTo>
                    <a:pt x="170" y="95"/>
                    <a:pt x="159" y="96"/>
                    <a:pt x="159" y="96"/>
                  </a:cubicBezTo>
                  <a:cubicBezTo>
                    <a:pt x="150" y="97"/>
                    <a:pt x="152" y="100"/>
                    <a:pt x="152" y="100"/>
                  </a:cubicBezTo>
                  <a:cubicBezTo>
                    <a:pt x="151" y="103"/>
                    <a:pt x="156" y="104"/>
                    <a:pt x="156" y="104"/>
                  </a:cubicBezTo>
                  <a:cubicBezTo>
                    <a:pt x="160" y="108"/>
                    <a:pt x="159" y="113"/>
                    <a:pt x="159" y="113"/>
                  </a:cubicBezTo>
                  <a:cubicBezTo>
                    <a:pt x="157" y="121"/>
                    <a:pt x="161" y="121"/>
                    <a:pt x="161" y="121"/>
                  </a:cubicBezTo>
                  <a:cubicBezTo>
                    <a:pt x="158" y="124"/>
                    <a:pt x="153" y="124"/>
                    <a:pt x="153" y="124"/>
                  </a:cubicBezTo>
                  <a:cubicBezTo>
                    <a:pt x="151" y="126"/>
                    <a:pt x="143" y="126"/>
                    <a:pt x="143" y="126"/>
                  </a:cubicBezTo>
                  <a:cubicBezTo>
                    <a:pt x="138" y="125"/>
                    <a:pt x="141" y="135"/>
                    <a:pt x="141" y="135"/>
                  </a:cubicBezTo>
                  <a:cubicBezTo>
                    <a:pt x="141" y="142"/>
                    <a:pt x="135" y="145"/>
                    <a:pt x="135" y="145"/>
                  </a:cubicBezTo>
                  <a:cubicBezTo>
                    <a:pt x="136" y="149"/>
                    <a:pt x="131" y="153"/>
                    <a:pt x="131" y="153"/>
                  </a:cubicBezTo>
                  <a:cubicBezTo>
                    <a:pt x="129" y="160"/>
                    <a:pt x="126" y="160"/>
                    <a:pt x="126" y="160"/>
                  </a:cubicBezTo>
                  <a:cubicBezTo>
                    <a:pt x="121" y="157"/>
                    <a:pt x="120" y="151"/>
                    <a:pt x="120" y="151"/>
                  </a:cubicBezTo>
                  <a:lnTo>
                    <a:pt x="116" y="146"/>
                  </a:lnTo>
                  <a:cubicBezTo>
                    <a:pt x="115" y="142"/>
                    <a:pt x="111" y="139"/>
                    <a:pt x="106" y="142"/>
                  </a:cubicBezTo>
                  <a:cubicBezTo>
                    <a:pt x="101" y="146"/>
                    <a:pt x="107" y="148"/>
                    <a:pt x="107" y="148"/>
                  </a:cubicBezTo>
                  <a:lnTo>
                    <a:pt x="113" y="152"/>
                  </a:lnTo>
                  <a:cubicBezTo>
                    <a:pt x="118" y="155"/>
                    <a:pt x="119" y="160"/>
                    <a:pt x="119" y="160"/>
                  </a:cubicBezTo>
                  <a:cubicBezTo>
                    <a:pt x="124" y="168"/>
                    <a:pt x="118" y="171"/>
                    <a:pt x="118" y="171"/>
                  </a:cubicBezTo>
                  <a:lnTo>
                    <a:pt x="105" y="185"/>
                  </a:lnTo>
                  <a:lnTo>
                    <a:pt x="105" y="180"/>
                  </a:lnTo>
                  <a:lnTo>
                    <a:pt x="99" y="183"/>
                  </a:lnTo>
                  <a:cubicBezTo>
                    <a:pt x="93" y="184"/>
                    <a:pt x="94" y="189"/>
                    <a:pt x="94" y="189"/>
                  </a:cubicBezTo>
                  <a:cubicBezTo>
                    <a:pt x="92" y="192"/>
                    <a:pt x="88" y="190"/>
                    <a:pt x="88" y="190"/>
                  </a:cubicBezTo>
                  <a:cubicBezTo>
                    <a:pt x="86" y="193"/>
                    <a:pt x="91" y="193"/>
                    <a:pt x="89" y="197"/>
                  </a:cubicBezTo>
                  <a:cubicBezTo>
                    <a:pt x="85" y="201"/>
                    <a:pt x="81" y="196"/>
                    <a:pt x="81" y="196"/>
                  </a:cubicBezTo>
                  <a:lnTo>
                    <a:pt x="81" y="190"/>
                  </a:lnTo>
                  <a:lnTo>
                    <a:pt x="80" y="185"/>
                  </a:lnTo>
                  <a:cubicBezTo>
                    <a:pt x="76" y="187"/>
                    <a:pt x="78" y="194"/>
                    <a:pt x="78" y="194"/>
                  </a:cubicBezTo>
                  <a:cubicBezTo>
                    <a:pt x="74" y="201"/>
                    <a:pt x="78" y="205"/>
                    <a:pt x="78" y="205"/>
                  </a:cubicBezTo>
                  <a:cubicBezTo>
                    <a:pt x="76" y="214"/>
                    <a:pt x="80" y="211"/>
                    <a:pt x="80" y="211"/>
                  </a:cubicBezTo>
                  <a:cubicBezTo>
                    <a:pt x="86" y="211"/>
                    <a:pt x="85" y="220"/>
                    <a:pt x="85" y="220"/>
                  </a:cubicBezTo>
                  <a:cubicBezTo>
                    <a:pt x="84" y="230"/>
                    <a:pt x="79" y="230"/>
                    <a:pt x="79" y="230"/>
                  </a:cubicBezTo>
                  <a:cubicBezTo>
                    <a:pt x="79" y="230"/>
                    <a:pt x="81" y="222"/>
                    <a:pt x="77" y="219"/>
                  </a:cubicBezTo>
                  <a:cubicBezTo>
                    <a:pt x="77" y="219"/>
                    <a:pt x="76" y="214"/>
                    <a:pt x="67" y="213"/>
                  </a:cubicBezTo>
                  <a:cubicBezTo>
                    <a:pt x="67" y="213"/>
                    <a:pt x="56" y="211"/>
                    <a:pt x="51" y="217"/>
                  </a:cubicBezTo>
                  <a:cubicBezTo>
                    <a:pt x="51" y="217"/>
                    <a:pt x="42" y="217"/>
                    <a:pt x="39" y="225"/>
                  </a:cubicBezTo>
                  <a:lnTo>
                    <a:pt x="34" y="221"/>
                  </a:lnTo>
                  <a:cubicBezTo>
                    <a:pt x="34" y="221"/>
                    <a:pt x="30" y="222"/>
                    <a:pt x="31" y="225"/>
                  </a:cubicBezTo>
                  <a:cubicBezTo>
                    <a:pt x="31" y="225"/>
                    <a:pt x="31" y="231"/>
                    <a:pt x="20" y="226"/>
                  </a:cubicBezTo>
                  <a:cubicBezTo>
                    <a:pt x="15" y="221"/>
                    <a:pt x="11" y="224"/>
                    <a:pt x="8" y="220"/>
                  </a:cubicBezTo>
                  <a:cubicBezTo>
                    <a:pt x="8" y="220"/>
                    <a:pt x="3" y="218"/>
                    <a:pt x="3" y="210"/>
                  </a:cubicBezTo>
                  <a:cubicBezTo>
                    <a:pt x="3" y="210"/>
                    <a:pt x="1" y="211"/>
                    <a:pt x="0" y="208"/>
                  </a:cubicBezTo>
                  <a:cubicBezTo>
                    <a:pt x="0" y="208"/>
                    <a:pt x="4" y="202"/>
                    <a:pt x="8" y="205"/>
                  </a:cubicBezTo>
                  <a:cubicBezTo>
                    <a:pt x="8" y="205"/>
                    <a:pt x="11" y="204"/>
                    <a:pt x="14" y="205"/>
                  </a:cubicBezTo>
                  <a:cubicBezTo>
                    <a:pt x="14" y="205"/>
                    <a:pt x="20" y="207"/>
                    <a:pt x="18" y="195"/>
                  </a:cubicBezTo>
                  <a:cubicBezTo>
                    <a:pt x="18" y="195"/>
                    <a:pt x="12" y="194"/>
                    <a:pt x="22" y="188"/>
                  </a:cubicBezTo>
                  <a:cubicBezTo>
                    <a:pt x="22" y="188"/>
                    <a:pt x="27" y="186"/>
                    <a:pt x="27" y="182"/>
                  </a:cubicBezTo>
                  <a:cubicBezTo>
                    <a:pt x="27" y="182"/>
                    <a:pt x="32" y="183"/>
                    <a:pt x="31" y="176"/>
                  </a:cubicBezTo>
                  <a:cubicBezTo>
                    <a:pt x="31" y="176"/>
                    <a:pt x="28" y="171"/>
                    <a:pt x="38" y="170"/>
                  </a:cubicBezTo>
                  <a:cubicBezTo>
                    <a:pt x="38" y="170"/>
                    <a:pt x="44" y="170"/>
                    <a:pt x="43" y="165"/>
                  </a:cubicBezTo>
                  <a:cubicBezTo>
                    <a:pt x="43" y="165"/>
                    <a:pt x="40" y="161"/>
                    <a:pt x="44" y="158"/>
                  </a:cubicBezTo>
                  <a:cubicBezTo>
                    <a:pt x="44" y="158"/>
                    <a:pt x="50" y="155"/>
                    <a:pt x="44" y="151"/>
                  </a:cubicBezTo>
                  <a:cubicBezTo>
                    <a:pt x="44" y="151"/>
                    <a:pt x="41" y="151"/>
                    <a:pt x="41" y="147"/>
                  </a:cubicBezTo>
                  <a:cubicBezTo>
                    <a:pt x="41" y="147"/>
                    <a:pt x="45" y="145"/>
                    <a:pt x="41" y="139"/>
                  </a:cubicBezTo>
                  <a:cubicBezTo>
                    <a:pt x="41" y="139"/>
                    <a:pt x="40" y="135"/>
                    <a:pt x="46" y="131"/>
                  </a:cubicBezTo>
                  <a:cubicBezTo>
                    <a:pt x="46" y="131"/>
                    <a:pt x="50" y="131"/>
                    <a:pt x="53" y="128"/>
                  </a:cubicBezTo>
                  <a:cubicBezTo>
                    <a:pt x="53" y="128"/>
                    <a:pt x="58" y="124"/>
                    <a:pt x="57" y="135"/>
                  </a:cubicBezTo>
                  <a:cubicBezTo>
                    <a:pt x="55" y="142"/>
                    <a:pt x="62" y="140"/>
                    <a:pt x="61" y="137"/>
                  </a:cubicBezTo>
                  <a:cubicBezTo>
                    <a:pt x="61" y="137"/>
                    <a:pt x="62" y="131"/>
                    <a:pt x="64" y="135"/>
                  </a:cubicBezTo>
                  <a:cubicBezTo>
                    <a:pt x="64" y="135"/>
                    <a:pt x="65" y="137"/>
                    <a:pt x="68" y="134"/>
                  </a:cubicBezTo>
                  <a:cubicBezTo>
                    <a:pt x="72" y="129"/>
                    <a:pt x="71" y="137"/>
                    <a:pt x="76" y="137"/>
                  </a:cubicBezTo>
                  <a:cubicBezTo>
                    <a:pt x="76" y="142"/>
                    <a:pt x="81" y="142"/>
                    <a:pt x="81" y="138"/>
                  </a:cubicBezTo>
                  <a:cubicBezTo>
                    <a:pt x="81" y="138"/>
                    <a:pt x="86" y="131"/>
                    <a:pt x="89" y="140"/>
                  </a:cubicBezTo>
                  <a:cubicBezTo>
                    <a:pt x="89" y="140"/>
                    <a:pt x="89" y="147"/>
                    <a:pt x="94" y="140"/>
                  </a:cubicBezTo>
                  <a:cubicBezTo>
                    <a:pt x="94" y="140"/>
                    <a:pt x="104" y="142"/>
                    <a:pt x="105" y="139"/>
                  </a:cubicBezTo>
                  <a:cubicBezTo>
                    <a:pt x="105" y="139"/>
                    <a:pt x="102" y="134"/>
                    <a:pt x="99" y="135"/>
                  </a:cubicBezTo>
                  <a:cubicBezTo>
                    <a:pt x="99" y="132"/>
                    <a:pt x="92" y="130"/>
                    <a:pt x="93" y="128"/>
                  </a:cubicBezTo>
                  <a:cubicBezTo>
                    <a:pt x="93" y="128"/>
                    <a:pt x="97" y="128"/>
                    <a:pt x="96" y="121"/>
                  </a:cubicBezTo>
                  <a:cubicBezTo>
                    <a:pt x="96" y="121"/>
                    <a:pt x="98" y="114"/>
                    <a:pt x="96" y="112"/>
                  </a:cubicBezTo>
                  <a:cubicBezTo>
                    <a:pt x="96" y="112"/>
                    <a:pt x="98" y="105"/>
                    <a:pt x="86" y="103"/>
                  </a:cubicBezTo>
                  <a:cubicBezTo>
                    <a:pt x="82" y="98"/>
                    <a:pt x="79" y="100"/>
                    <a:pt x="78" y="96"/>
                  </a:cubicBezTo>
                  <a:lnTo>
                    <a:pt x="79" y="87"/>
                  </a:lnTo>
                  <a:cubicBezTo>
                    <a:pt x="79" y="87"/>
                    <a:pt x="70" y="85"/>
                    <a:pt x="74" y="83"/>
                  </a:cubicBezTo>
                  <a:cubicBezTo>
                    <a:pt x="78" y="84"/>
                    <a:pt x="75" y="76"/>
                    <a:pt x="77" y="74"/>
                  </a:cubicBezTo>
                  <a:cubicBezTo>
                    <a:pt x="77" y="74"/>
                    <a:pt x="80" y="65"/>
                    <a:pt x="73" y="67"/>
                  </a:cubicBezTo>
                  <a:cubicBezTo>
                    <a:pt x="73" y="70"/>
                    <a:pt x="66" y="74"/>
                    <a:pt x="66" y="66"/>
                  </a:cubicBezTo>
                  <a:cubicBezTo>
                    <a:pt x="66" y="66"/>
                    <a:pt x="64" y="58"/>
                    <a:pt x="56" y="58"/>
                  </a:cubicBezTo>
                  <a:cubicBezTo>
                    <a:pt x="56" y="58"/>
                    <a:pt x="53" y="56"/>
                    <a:pt x="55" y="48"/>
                  </a:cubicBezTo>
                  <a:cubicBezTo>
                    <a:pt x="55" y="48"/>
                    <a:pt x="59" y="46"/>
                    <a:pt x="58" y="40"/>
                  </a:cubicBezTo>
                  <a:cubicBezTo>
                    <a:pt x="58" y="40"/>
                    <a:pt x="57" y="36"/>
                    <a:pt x="59" y="35"/>
                  </a:cubicBezTo>
                  <a:cubicBezTo>
                    <a:pt x="59" y="35"/>
                    <a:pt x="63" y="34"/>
                    <a:pt x="59" y="30"/>
                  </a:cubicBezTo>
                  <a:cubicBezTo>
                    <a:pt x="57" y="27"/>
                    <a:pt x="64" y="29"/>
                    <a:pt x="58" y="21"/>
                  </a:cubicBezTo>
                  <a:cubicBezTo>
                    <a:pt x="58" y="21"/>
                    <a:pt x="57" y="14"/>
                    <a:pt x="51" y="17"/>
                  </a:cubicBezTo>
                  <a:cubicBezTo>
                    <a:pt x="51" y="17"/>
                    <a:pt x="50" y="25"/>
                    <a:pt x="43" y="15"/>
                  </a:cubicBezTo>
                </a:path>
              </a:pathLst>
            </a:custGeom>
            <a:solidFill>
              <a:schemeClr val="accent1"/>
            </a:solidFill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21" name="Freeform 1157">
              <a:extLst>
                <a:ext uri="{FF2B5EF4-FFF2-40B4-BE49-F238E27FC236}">
                  <a16:creationId xmlns:a16="http://schemas.microsoft.com/office/drawing/2014/main" id="{1C74C35D-8E64-4D5A-8E59-E669FF2B9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9440" y="3005967"/>
              <a:ext cx="861644" cy="1165289"/>
            </a:xfrm>
            <a:custGeom>
              <a:avLst/>
              <a:gdLst>
                <a:gd name="T0" fmla="*/ 15875 w 122"/>
                <a:gd name="T1" fmla="*/ 539750 h 165"/>
                <a:gd name="T2" fmla="*/ 15875 w 122"/>
                <a:gd name="T3" fmla="*/ 476250 h 165"/>
                <a:gd name="T4" fmla="*/ 15875 w 122"/>
                <a:gd name="T5" fmla="*/ 373062 h 165"/>
                <a:gd name="T6" fmla="*/ 31750 w 122"/>
                <a:gd name="T7" fmla="*/ 317500 h 165"/>
                <a:gd name="T8" fmla="*/ 39688 w 122"/>
                <a:gd name="T9" fmla="*/ 261937 h 165"/>
                <a:gd name="T10" fmla="*/ 31750 w 122"/>
                <a:gd name="T11" fmla="*/ 214312 h 165"/>
                <a:gd name="T12" fmla="*/ 55563 w 122"/>
                <a:gd name="T13" fmla="*/ 150812 h 165"/>
                <a:gd name="T14" fmla="*/ 47625 w 122"/>
                <a:gd name="T15" fmla="*/ 103187 h 165"/>
                <a:gd name="T16" fmla="*/ 71438 w 122"/>
                <a:gd name="T17" fmla="*/ 95250 h 165"/>
                <a:gd name="T18" fmla="*/ 103188 w 122"/>
                <a:gd name="T19" fmla="*/ 47625 h 165"/>
                <a:gd name="T20" fmla="*/ 127000 w 122"/>
                <a:gd name="T21" fmla="*/ 7937 h 165"/>
                <a:gd name="T22" fmla="*/ 190500 w 122"/>
                <a:gd name="T23" fmla="*/ 47625 h 165"/>
                <a:gd name="T24" fmla="*/ 246063 w 122"/>
                <a:gd name="T25" fmla="*/ 55562 h 165"/>
                <a:gd name="T26" fmla="*/ 325438 w 122"/>
                <a:gd name="T27" fmla="*/ 87312 h 165"/>
                <a:gd name="T28" fmla="*/ 388938 w 122"/>
                <a:gd name="T29" fmla="*/ 111125 h 165"/>
                <a:gd name="T30" fmla="*/ 460375 w 122"/>
                <a:gd name="T31" fmla="*/ 111125 h 165"/>
                <a:gd name="T32" fmla="*/ 515938 w 122"/>
                <a:gd name="T33" fmla="*/ 119062 h 165"/>
                <a:gd name="T34" fmla="*/ 587375 w 122"/>
                <a:gd name="T35" fmla="*/ 150812 h 165"/>
                <a:gd name="T36" fmla="*/ 642938 w 122"/>
                <a:gd name="T37" fmla="*/ 150812 h 165"/>
                <a:gd name="T38" fmla="*/ 674688 w 122"/>
                <a:gd name="T39" fmla="*/ 190500 h 165"/>
                <a:gd name="T40" fmla="*/ 738188 w 122"/>
                <a:gd name="T41" fmla="*/ 222250 h 165"/>
                <a:gd name="T42" fmla="*/ 809625 w 122"/>
                <a:gd name="T43" fmla="*/ 230187 h 165"/>
                <a:gd name="T44" fmla="*/ 873125 w 122"/>
                <a:gd name="T45" fmla="*/ 190500 h 165"/>
                <a:gd name="T46" fmla="*/ 873125 w 122"/>
                <a:gd name="T47" fmla="*/ 238125 h 165"/>
                <a:gd name="T48" fmla="*/ 889000 w 122"/>
                <a:gd name="T49" fmla="*/ 325437 h 165"/>
                <a:gd name="T50" fmla="*/ 865188 w 122"/>
                <a:gd name="T51" fmla="*/ 484187 h 165"/>
                <a:gd name="T52" fmla="*/ 785813 w 122"/>
                <a:gd name="T53" fmla="*/ 555625 h 165"/>
                <a:gd name="T54" fmla="*/ 777875 w 122"/>
                <a:gd name="T55" fmla="*/ 611187 h 165"/>
                <a:gd name="T56" fmla="*/ 841375 w 122"/>
                <a:gd name="T57" fmla="*/ 635000 h 165"/>
                <a:gd name="T58" fmla="*/ 881063 w 122"/>
                <a:gd name="T59" fmla="*/ 650875 h 165"/>
                <a:gd name="T60" fmla="*/ 904875 w 122"/>
                <a:gd name="T61" fmla="*/ 674687 h 165"/>
                <a:gd name="T62" fmla="*/ 849313 w 122"/>
                <a:gd name="T63" fmla="*/ 682625 h 165"/>
                <a:gd name="T64" fmla="*/ 793750 w 122"/>
                <a:gd name="T65" fmla="*/ 714375 h 165"/>
                <a:gd name="T66" fmla="*/ 777875 w 122"/>
                <a:gd name="T67" fmla="*/ 793750 h 165"/>
                <a:gd name="T68" fmla="*/ 817563 w 122"/>
                <a:gd name="T69" fmla="*/ 833437 h 165"/>
                <a:gd name="T70" fmla="*/ 873125 w 122"/>
                <a:gd name="T71" fmla="*/ 896937 h 165"/>
                <a:gd name="T72" fmla="*/ 889000 w 122"/>
                <a:gd name="T73" fmla="*/ 976312 h 165"/>
                <a:gd name="T74" fmla="*/ 904875 w 122"/>
                <a:gd name="T75" fmla="*/ 992187 h 165"/>
                <a:gd name="T76" fmla="*/ 904875 w 122"/>
                <a:gd name="T77" fmla="*/ 1071562 h 165"/>
                <a:gd name="T78" fmla="*/ 881063 w 122"/>
                <a:gd name="T79" fmla="*/ 1222375 h 165"/>
                <a:gd name="T80" fmla="*/ 833438 w 122"/>
                <a:gd name="T81" fmla="*/ 1293812 h 165"/>
                <a:gd name="T82" fmla="*/ 650875 w 122"/>
                <a:gd name="T83" fmla="*/ 1301750 h 165"/>
                <a:gd name="T84" fmla="*/ 571500 w 122"/>
                <a:gd name="T85" fmla="*/ 1309687 h 165"/>
                <a:gd name="T86" fmla="*/ 571500 w 122"/>
                <a:gd name="T87" fmla="*/ 1309687 h 165"/>
                <a:gd name="T88" fmla="*/ 571500 w 122"/>
                <a:gd name="T89" fmla="*/ 1270000 h 165"/>
                <a:gd name="T90" fmla="*/ 571500 w 122"/>
                <a:gd name="T91" fmla="*/ 1270000 h 165"/>
                <a:gd name="T92" fmla="*/ 515938 w 122"/>
                <a:gd name="T93" fmla="*/ 1214437 h 165"/>
                <a:gd name="T94" fmla="*/ 460375 w 122"/>
                <a:gd name="T95" fmla="*/ 1190625 h 165"/>
                <a:gd name="T96" fmla="*/ 373063 w 122"/>
                <a:gd name="T97" fmla="*/ 1150937 h 165"/>
                <a:gd name="T98" fmla="*/ 301625 w 122"/>
                <a:gd name="T99" fmla="*/ 1016000 h 165"/>
                <a:gd name="T100" fmla="*/ 246063 w 122"/>
                <a:gd name="T101" fmla="*/ 992187 h 165"/>
                <a:gd name="T102" fmla="*/ 214313 w 122"/>
                <a:gd name="T103" fmla="*/ 912812 h 165"/>
                <a:gd name="T104" fmla="*/ 206375 w 122"/>
                <a:gd name="T105" fmla="*/ 841375 h 165"/>
                <a:gd name="T106" fmla="*/ 198438 w 122"/>
                <a:gd name="T107" fmla="*/ 793750 h 165"/>
                <a:gd name="T108" fmla="*/ 182563 w 122"/>
                <a:gd name="T109" fmla="*/ 746125 h 165"/>
                <a:gd name="T110" fmla="*/ 134938 w 122"/>
                <a:gd name="T111" fmla="*/ 698500 h 165"/>
                <a:gd name="T112" fmla="*/ 103188 w 122"/>
                <a:gd name="T113" fmla="*/ 674687 h 165"/>
                <a:gd name="T114" fmla="*/ 103188 w 122"/>
                <a:gd name="T115" fmla="*/ 619125 h 165"/>
                <a:gd name="T116" fmla="*/ 63500 w 122"/>
                <a:gd name="T117" fmla="*/ 579437 h 165"/>
                <a:gd name="T118" fmla="*/ 31750 w 122"/>
                <a:gd name="T119" fmla="*/ 563562 h 165"/>
                <a:gd name="T120" fmla="*/ 15875 w 122"/>
                <a:gd name="T121" fmla="*/ 539750 h 165"/>
                <a:gd name="T122" fmla="*/ 15875 w 122"/>
                <a:gd name="T123" fmla="*/ 539750 h 165"/>
                <a:gd name="T124" fmla="*/ 15875 w 122"/>
                <a:gd name="T125" fmla="*/ 539750 h 16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22"/>
                <a:gd name="T190" fmla="*/ 0 h 165"/>
                <a:gd name="T191" fmla="*/ 122 w 122"/>
                <a:gd name="T192" fmla="*/ 165 h 16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22" h="165">
                  <a:moveTo>
                    <a:pt x="2" y="68"/>
                  </a:moveTo>
                  <a:cubicBezTo>
                    <a:pt x="2" y="68"/>
                    <a:pt x="6" y="61"/>
                    <a:pt x="2" y="60"/>
                  </a:cubicBezTo>
                  <a:cubicBezTo>
                    <a:pt x="2" y="60"/>
                    <a:pt x="0" y="57"/>
                    <a:pt x="2" y="47"/>
                  </a:cubicBezTo>
                  <a:cubicBezTo>
                    <a:pt x="2" y="47"/>
                    <a:pt x="6" y="45"/>
                    <a:pt x="4" y="40"/>
                  </a:cubicBezTo>
                  <a:cubicBezTo>
                    <a:pt x="1" y="36"/>
                    <a:pt x="7" y="35"/>
                    <a:pt x="5" y="33"/>
                  </a:cubicBezTo>
                  <a:cubicBezTo>
                    <a:pt x="5" y="33"/>
                    <a:pt x="2" y="30"/>
                    <a:pt x="4" y="27"/>
                  </a:cubicBezTo>
                  <a:cubicBezTo>
                    <a:pt x="6" y="26"/>
                    <a:pt x="3" y="22"/>
                    <a:pt x="7" y="19"/>
                  </a:cubicBezTo>
                  <a:cubicBezTo>
                    <a:pt x="7" y="19"/>
                    <a:pt x="3" y="16"/>
                    <a:pt x="6" y="13"/>
                  </a:cubicBezTo>
                  <a:cubicBezTo>
                    <a:pt x="7" y="13"/>
                    <a:pt x="8" y="13"/>
                    <a:pt x="9" y="12"/>
                  </a:cubicBezTo>
                  <a:cubicBezTo>
                    <a:pt x="9" y="12"/>
                    <a:pt x="13" y="13"/>
                    <a:pt x="13" y="6"/>
                  </a:cubicBezTo>
                  <a:cubicBezTo>
                    <a:pt x="13" y="6"/>
                    <a:pt x="11" y="0"/>
                    <a:pt x="16" y="1"/>
                  </a:cubicBezTo>
                  <a:cubicBezTo>
                    <a:pt x="21" y="0"/>
                    <a:pt x="19" y="4"/>
                    <a:pt x="24" y="6"/>
                  </a:cubicBezTo>
                  <a:cubicBezTo>
                    <a:pt x="24" y="6"/>
                    <a:pt x="29" y="9"/>
                    <a:pt x="31" y="7"/>
                  </a:cubicBezTo>
                  <a:cubicBezTo>
                    <a:pt x="31" y="7"/>
                    <a:pt x="37" y="4"/>
                    <a:pt x="41" y="11"/>
                  </a:cubicBezTo>
                  <a:cubicBezTo>
                    <a:pt x="41" y="11"/>
                    <a:pt x="49" y="12"/>
                    <a:pt x="49" y="14"/>
                  </a:cubicBezTo>
                  <a:cubicBezTo>
                    <a:pt x="49" y="14"/>
                    <a:pt x="53" y="20"/>
                    <a:pt x="58" y="14"/>
                  </a:cubicBezTo>
                  <a:cubicBezTo>
                    <a:pt x="58" y="14"/>
                    <a:pt x="61" y="3"/>
                    <a:pt x="65" y="15"/>
                  </a:cubicBezTo>
                  <a:cubicBezTo>
                    <a:pt x="65" y="15"/>
                    <a:pt x="68" y="22"/>
                    <a:pt x="74" y="19"/>
                  </a:cubicBezTo>
                  <a:cubicBezTo>
                    <a:pt x="74" y="19"/>
                    <a:pt x="76" y="16"/>
                    <a:pt x="81" y="19"/>
                  </a:cubicBezTo>
                  <a:cubicBezTo>
                    <a:pt x="81" y="19"/>
                    <a:pt x="86" y="18"/>
                    <a:pt x="85" y="24"/>
                  </a:cubicBezTo>
                  <a:cubicBezTo>
                    <a:pt x="85" y="24"/>
                    <a:pt x="86" y="29"/>
                    <a:pt x="93" y="28"/>
                  </a:cubicBezTo>
                  <a:cubicBezTo>
                    <a:pt x="93" y="28"/>
                    <a:pt x="96" y="34"/>
                    <a:pt x="102" y="29"/>
                  </a:cubicBezTo>
                  <a:cubicBezTo>
                    <a:pt x="102" y="29"/>
                    <a:pt x="104" y="24"/>
                    <a:pt x="110" y="24"/>
                  </a:cubicBezTo>
                  <a:cubicBezTo>
                    <a:pt x="110" y="24"/>
                    <a:pt x="117" y="26"/>
                    <a:pt x="110" y="30"/>
                  </a:cubicBezTo>
                  <a:cubicBezTo>
                    <a:pt x="110" y="30"/>
                    <a:pt x="104" y="32"/>
                    <a:pt x="112" y="41"/>
                  </a:cubicBezTo>
                  <a:cubicBezTo>
                    <a:pt x="112" y="41"/>
                    <a:pt x="122" y="49"/>
                    <a:pt x="109" y="61"/>
                  </a:cubicBezTo>
                  <a:cubicBezTo>
                    <a:pt x="108" y="72"/>
                    <a:pt x="102" y="67"/>
                    <a:pt x="99" y="70"/>
                  </a:cubicBezTo>
                  <a:cubicBezTo>
                    <a:pt x="99" y="70"/>
                    <a:pt x="93" y="71"/>
                    <a:pt x="98" y="77"/>
                  </a:cubicBezTo>
                  <a:cubicBezTo>
                    <a:pt x="98" y="77"/>
                    <a:pt x="98" y="82"/>
                    <a:pt x="106" y="80"/>
                  </a:cubicBezTo>
                  <a:cubicBezTo>
                    <a:pt x="106" y="80"/>
                    <a:pt x="109" y="80"/>
                    <a:pt x="111" y="82"/>
                  </a:cubicBezTo>
                  <a:cubicBezTo>
                    <a:pt x="116" y="76"/>
                    <a:pt x="119" y="82"/>
                    <a:pt x="114" y="85"/>
                  </a:cubicBezTo>
                  <a:cubicBezTo>
                    <a:pt x="114" y="85"/>
                    <a:pt x="115" y="88"/>
                    <a:pt x="107" y="86"/>
                  </a:cubicBezTo>
                  <a:cubicBezTo>
                    <a:pt x="107" y="86"/>
                    <a:pt x="104" y="83"/>
                    <a:pt x="100" y="90"/>
                  </a:cubicBezTo>
                  <a:cubicBezTo>
                    <a:pt x="100" y="90"/>
                    <a:pt x="98" y="94"/>
                    <a:pt x="98" y="100"/>
                  </a:cubicBezTo>
                  <a:cubicBezTo>
                    <a:pt x="98" y="100"/>
                    <a:pt x="96" y="106"/>
                    <a:pt x="103" y="105"/>
                  </a:cubicBezTo>
                  <a:cubicBezTo>
                    <a:pt x="103" y="105"/>
                    <a:pt x="110" y="103"/>
                    <a:pt x="110" y="113"/>
                  </a:cubicBezTo>
                  <a:cubicBezTo>
                    <a:pt x="110" y="113"/>
                    <a:pt x="115" y="120"/>
                    <a:pt x="112" y="123"/>
                  </a:cubicBezTo>
                  <a:cubicBezTo>
                    <a:pt x="112" y="123"/>
                    <a:pt x="107" y="124"/>
                    <a:pt x="114" y="125"/>
                  </a:cubicBezTo>
                  <a:cubicBezTo>
                    <a:pt x="114" y="125"/>
                    <a:pt x="122" y="122"/>
                    <a:pt x="114" y="135"/>
                  </a:cubicBezTo>
                  <a:cubicBezTo>
                    <a:pt x="114" y="135"/>
                    <a:pt x="111" y="141"/>
                    <a:pt x="111" y="154"/>
                  </a:cubicBezTo>
                  <a:cubicBezTo>
                    <a:pt x="111" y="164"/>
                    <a:pt x="112" y="163"/>
                    <a:pt x="105" y="163"/>
                  </a:cubicBezTo>
                  <a:cubicBezTo>
                    <a:pt x="105" y="163"/>
                    <a:pt x="94" y="162"/>
                    <a:pt x="82" y="164"/>
                  </a:cubicBezTo>
                  <a:cubicBezTo>
                    <a:pt x="82" y="164"/>
                    <a:pt x="78" y="165"/>
                    <a:pt x="72" y="165"/>
                  </a:cubicBezTo>
                  <a:lnTo>
                    <a:pt x="72" y="160"/>
                  </a:lnTo>
                  <a:cubicBezTo>
                    <a:pt x="72" y="160"/>
                    <a:pt x="74" y="153"/>
                    <a:pt x="65" y="153"/>
                  </a:cubicBezTo>
                  <a:cubicBezTo>
                    <a:pt x="65" y="153"/>
                    <a:pt x="60" y="155"/>
                    <a:pt x="58" y="150"/>
                  </a:cubicBezTo>
                  <a:cubicBezTo>
                    <a:pt x="58" y="150"/>
                    <a:pt x="62" y="147"/>
                    <a:pt x="47" y="145"/>
                  </a:cubicBezTo>
                  <a:cubicBezTo>
                    <a:pt x="47" y="145"/>
                    <a:pt x="49" y="138"/>
                    <a:pt x="38" y="128"/>
                  </a:cubicBezTo>
                  <a:cubicBezTo>
                    <a:pt x="38" y="128"/>
                    <a:pt x="39" y="125"/>
                    <a:pt x="31" y="125"/>
                  </a:cubicBezTo>
                  <a:cubicBezTo>
                    <a:pt x="31" y="118"/>
                    <a:pt x="27" y="120"/>
                    <a:pt x="27" y="115"/>
                  </a:cubicBezTo>
                  <a:cubicBezTo>
                    <a:pt x="27" y="115"/>
                    <a:pt x="24" y="113"/>
                    <a:pt x="26" y="106"/>
                  </a:cubicBezTo>
                  <a:cubicBezTo>
                    <a:pt x="29" y="104"/>
                    <a:pt x="24" y="103"/>
                    <a:pt x="25" y="100"/>
                  </a:cubicBezTo>
                  <a:cubicBezTo>
                    <a:pt x="25" y="100"/>
                    <a:pt x="31" y="100"/>
                    <a:pt x="23" y="94"/>
                  </a:cubicBezTo>
                  <a:cubicBezTo>
                    <a:pt x="23" y="94"/>
                    <a:pt x="24" y="88"/>
                    <a:pt x="17" y="88"/>
                  </a:cubicBezTo>
                  <a:cubicBezTo>
                    <a:pt x="17" y="88"/>
                    <a:pt x="7" y="89"/>
                    <a:pt x="13" y="85"/>
                  </a:cubicBezTo>
                  <a:cubicBezTo>
                    <a:pt x="17" y="83"/>
                    <a:pt x="12" y="82"/>
                    <a:pt x="13" y="78"/>
                  </a:cubicBezTo>
                  <a:cubicBezTo>
                    <a:pt x="13" y="78"/>
                    <a:pt x="14" y="70"/>
                    <a:pt x="8" y="73"/>
                  </a:cubicBezTo>
                  <a:cubicBezTo>
                    <a:pt x="8" y="73"/>
                    <a:pt x="4" y="74"/>
                    <a:pt x="4" y="71"/>
                  </a:cubicBezTo>
                  <a:cubicBezTo>
                    <a:pt x="4" y="71"/>
                    <a:pt x="6" y="68"/>
                    <a:pt x="2" y="68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22" name="Freeform 1158">
              <a:extLst>
                <a:ext uri="{FF2B5EF4-FFF2-40B4-BE49-F238E27FC236}">
                  <a16:creationId xmlns:a16="http://schemas.microsoft.com/office/drawing/2014/main" id="{AA7092A1-C02A-4A75-BDC3-B565645E33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682" y="3465021"/>
              <a:ext cx="946396" cy="1313597"/>
            </a:xfrm>
            <a:custGeom>
              <a:avLst/>
              <a:gdLst>
                <a:gd name="T0" fmla="*/ 87313 w 134"/>
                <a:gd name="T1" fmla="*/ 452438 h 186"/>
                <a:gd name="T2" fmla="*/ 142875 w 134"/>
                <a:gd name="T3" fmla="*/ 452438 h 186"/>
                <a:gd name="T4" fmla="*/ 134938 w 134"/>
                <a:gd name="T5" fmla="*/ 611188 h 186"/>
                <a:gd name="T6" fmla="*/ 158750 w 134"/>
                <a:gd name="T7" fmla="*/ 690563 h 186"/>
                <a:gd name="T8" fmla="*/ 111125 w 134"/>
                <a:gd name="T9" fmla="*/ 777875 h 186"/>
                <a:gd name="T10" fmla="*/ 47625 w 134"/>
                <a:gd name="T11" fmla="*/ 825500 h 186"/>
                <a:gd name="T12" fmla="*/ 47625 w 134"/>
                <a:gd name="T13" fmla="*/ 912813 h 186"/>
                <a:gd name="T14" fmla="*/ 95250 w 134"/>
                <a:gd name="T15" fmla="*/ 976313 h 186"/>
                <a:gd name="T16" fmla="*/ 182563 w 134"/>
                <a:gd name="T17" fmla="*/ 1063625 h 186"/>
                <a:gd name="T18" fmla="*/ 285750 w 134"/>
                <a:gd name="T19" fmla="*/ 1111250 h 186"/>
                <a:gd name="T20" fmla="*/ 301625 w 134"/>
                <a:gd name="T21" fmla="*/ 1174750 h 186"/>
                <a:gd name="T22" fmla="*/ 254000 w 134"/>
                <a:gd name="T23" fmla="*/ 1214438 h 186"/>
                <a:gd name="T24" fmla="*/ 198438 w 134"/>
                <a:gd name="T25" fmla="*/ 1301750 h 186"/>
                <a:gd name="T26" fmla="*/ 317500 w 134"/>
                <a:gd name="T27" fmla="*/ 1397000 h 186"/>
                <a:gd name="T28" fmla="*/ 293688 w 134"/>
                <a:gd name="T29" fmla="*/ 1476375 h 186"/>
                <a:gd name="T30" fmla="*/ 412750 w 134"/>
                <a:gd name="T31" fmla="*/ 1460500 h 186"/>
                <a:gd name="T32" fmla="*/ 738188 w 134"/>
                <a:gd name="T33" fmla="*/ 1309688 h 186"/>
                <a:gd name="T34" fmla="*/ 769938 w 134"/>
                <a:gd name="T35" fmla="*/ 1206500 h 186"/>
                <a:gd name="T36" fmla="*/ 769938 w 134"/>
                <a:gd name="T37" fmla="*/ 1119188 h 186"/>
                <a:gd name="T38" fmla="*/ 889000 w 134"/>
                <a:gd name="T39" fmla="*/ 944563 h 186"/>
                <a:gd name="T40" fmla="*/ 952500 w 134"/>
                <a:gd name="T41" fmla="*/ 857250 h 186"/>
                <a:gd name="T42" fmla="*/ 1047750 w 134"/>
                <a:gd name="T43" fmla="*/ 793750 h 186"/>
                <a:gd name="T44" fmla="*/ 1047750 w 134"/>
                <a:gd name="T45" fmla="*/ 754063 h 186"/>
                <a:gd name="T46" fmla="*/ 992188 w 134"/>
                <a:gd name="T47" fmla="*/ 698500 h 186"/>
                <a:gd name="T48" fmla="*/ 849313 w 134"/>
                <a:gd name="T49" fmla="*/ 635000 h 186"/>
                <a:gd name="T50" fmla="*/ 722313 w 134"/>
                <a:gd name="T51" fmla="*/ 476250 h 186"/>
                <a:gd name="T52" fmla="*/ 682625 w 134"/>
                <a:gd name="T53" fmla="*/ 325438 h 186"/>
                <a:gd name="T54" fmla="*/ 658813 w 134"/>
                <a:gd name="T55" fmla="*/ 230188 h 186"/>
                <a:gd name="T56" fmla="*/ 579438 w 134"/>
                <a:gd name="T57" fmla="*/ 158750 h 186"/>
                <a:gd name="T58" fmla="*/ 539750 w 134"/>
                <a:gd name="T59" fmla="*/ 63500 h 186"/>
                <a:gd name="T60" fmla="*/ 484188 w 134"/>
                <a:gd name="T61" fmla="*/ 23813 h 186"/>
                <a:gd name="T62" fmla="*/ 357188 w 134"/>
                <a:gd name="T63" fmla="*/ 47625 h 186"/>
                <a:gd name="T64" fmla="*/ 341313 w 134"/>
                <a:gd name="T65" fmla="*/ 111125 h 186"/>
                <a:gd name="T66" fmla="*/ 261938 w 134"/>
                <a:gd name="T67" fmla="*/ 238125 h 186"/>
                <a:gd name="T68" fmla="*/ 190500 w 134"/>
                <a:gd name="T69" fmla="*/ 293688 h 186"/>
                <a:gd name="T70" fmla="*/ 127000 w 134"/>
                <a:gd name="T71" fmla="*/ 309563 h 186"/>
                <a:gd name="T72" fmla="*/ 47625 w 134"/>
                <a:gd name="T73" fmla="*/ 349250 h 186"/>
                <a:gd name="T74" fmla="*/ 63500 w 134"/>
                <a:gd name="T75" fmla="*/ 428625 h 1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4"/>
                <a:gd name="T115" fmla="*/ 0 h 186"/>
                <a:gd name="T116" fmla="*/ 134 w 134"/>
                <a:gd name="T117" fmla="*/ 186 h 18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4" h="186">
                  <a:moveTo>
                    <a:pt x="8" y="54"/>
                  </a:moveTo>
                  <a:cubicBezTo>
                    <a:pt x="14" y="56"/>
                    <a:pt x="11" y="57"/>
                    <a:pt x="11" y="57"/>
                  </a:cubicBezTo>
                  <a:cubicBezTo>
                    <a:pt x="8" y="60"/>
                    <a:pt x="13" y="62"/>
                    <a:pt x="13" y="58"/>
                  </a:cubicBezTo>
                  <a:cubicBezTo>
                    <a:pt x="15" y="56"/>
                    <a:pt x="18" y="57"/>
                    <a:pt x="18" y="57"/>
                  </a:cubicBezTo>
                  <a:cubicBezTo>
                    <a:pt x="19" y="59"/>
                    <a:pt x="14" y="61"/>
                    <a:pt x="15" y="66"/>
                  </a:cubicBezTo>
                  <a:cubicBezTo>
                    <a:pt x="13" y="77"/>
                    <a:pt x="17" y="77"/>
                    <a:pt x="17" y="77"/>
                  </a:cubicBezTo>
                  <a:cubicBezTo>
                    <a:pt x="21" y="78"/>
                    <a:pt x="22" y="82"/>
                    <a:pt x="22" y="82"/>
                  </a:cubicBezTo>
                  <a:cubicBezTo>
                    <a:pt x="23" y="86"/>
                    <a:pt x="20" y="87"/>
                    <a:pt x="20" y="87"/>
                  </a:cubicBezTo>
                  <a:cubicBezTo>
                    <a:pt x="17" y="88"/>
                    <a:pt x="20" y="94"/>
                    <a:pt x="20" y="94"/>
                  </a:cubicBezTo>
                  <a:cubicBezTo>
                    <a:pt x="23" y="101"/>
                    <a:pt x="14" y="98"/>
                    <a:pt x="14" y="98"/>
                  </a:cubicBezTo>
                  <a:cubicBezTo>
                    <a:pt x="9" y="91"/>
                    <a:pt x="6" y="96"/>
                    <a:pt x="6" y="96"/>
                  </a:cubicBezTo>
                  <a:cubicBezTo>
                    <a:pt x="2" y="101"/>
                    <a:pt x="6" y="104"/>
                    <a:pt x="6" y="104"/>
                  </a:cubicBezTo>
                  <a:cubicBezTo>
                    <a:pt x="10" y="107"/>
                    <a:pt x="6" y="108"/>
                    <a:pt x="6" y="108"/>
                  </a:cubicBezTo>
                  <a:cubicBezTo>
                    <a:pt x="0" y="109"/>
                    <a:pt x="6" y="115"/>
                    <a:pt x="6" y="115"/>
                  </a:cubicBezTo>
                  <a:cubicBezTo>
                    <a:pt x="7" y="119"/>
                    <a:pt x="9" y="118"/>
                    <a:pt x="9" y="118"/>
                  </a:cubicBezTo>
                  <a:cubicBezTo>
                    <a:pt x="12" y="118"/>
                    <a:pt x="12" y="123"/>
                    <a:pt x="12" y="123"/>
                  </a:cubicBezTo>
                  <a:cubicBezTo>
                    <a:pt x="14" y="126"/>
                    <a:pt x="16" y="131"/>
                    <a:pt x="16" y="131"/>
                  </a:cubicBezTo>
                  <a:cubicBezTo>
                    <a:pt x="21" y="130"/>
                    <a:pt x="23" y="134"/>
                    <a:pt x="23" y="134"/>
                  </a:cubicBezTo>
                  <a:cubicBezTo>
                    <a:pt x="24" y="136"/>
                    <a:pt x="26" y="131"/>
                    <a:pt x="29" y="136"/>
                  </a:cubicBezTo>
                  <a:cubicBezTo>
                    <a:pt x="32" y="136"/>
                    <a:pt x="36" y="140"/>
                    <a:pt x="36" y="140"/>
                  </a:cubicBezTo>
                  <a:cubicBezTo>
                    <a:pt x="43" y="140"/>
                    <a:pt x="41" y="144"/>
                    <a:pt x="41" y="144"/>
                  </a:cubicBezTo>
                  <a:cubicBezTo>
                    <a:pt x="33" y="146"/>
                    <a:pt x="38" y="148"/>
                    <a:pt x="38" y="148"/>
                  </a:cubicBezTo>
                  <a:cubicBezTo>
                    <a:pt x="38" y="148"/>
                    <a:pt x="42" y="149"/>
                    <a:pt x="36" y="150"/>
                  </a:cubicBezTo>
                  <a:cubicBezTo>
                    <a:pt x="33" y="150"/>
                    <a:pt x="37" y="155"/>
                    <a:pt x="32" y="153"/>
                  </a:cubicBezTo>
                  <a:cubicBezTo>
                    <a:pt x="23" y="154"/>
                    <a:pt x="27" y="158"/>
                    <a:pt x="27" y="158"/>
                  </a:cubicBezTo>
                  <a:cubicBezTo>
                    <a:pt x="29" y="162"/>
                    <a:pt x="25" y="164"/>
                    <a:pt x="25" y="164"/>
                  </a:cubicBezTo>
                  <a:cubicBezTo>
                    <a:pt x="33" y="165"/>
                    <a:pt x="33" y="172"/>
                    <a:pt x="33" y="172"/>
                  </a:cubicBezTo>
                  <a:cubicBezTo>
                    <a:pt x="42" y="172"/>
                    <a:pt x="40" y="176"/>
                    <a:pt x="40" y="176"/>
                  </a:cubicBezTo>
                  <a:cubicBezTo>
                    <a:pt x="41" y="179"/>
                    <a:pt x="38" y="180"/>
                    <a:pt x="38" y="180"/>
                  </a:cubicBezTo>
                  <a:cubicBezTo>
                    <a:pt x="30" y="181"/>
                    <a:pt x="37" y="186"/>
                    <a:pt x="37" y="186"/>
                  </a:cubicBezTo>
                  <a:cubicBezTo>
                    <a:pt x="38" y="186"/>
                    <a:pt x="39" y="185"/>
                    <a:pt x="40" y="184"/>
                  </a:cubicBezTo>
                  <a:cubicBezTo>
                    <a:pt x="40" y="184"/>
                    <a:pt x="47" y="178"/>
                    <a:pt x="52" y="184"/>
                  </a:cubicBezTo>
                  <a:cubicBezTo>
                    <a:pt x="52" y="184"/>
                    <a:pt x="55" y="176"/>
                    <a:pt x="64" y="168"/>
                  </a:cubicBezTo>
                  <a:cubicBezTo>
                    <a:pt x="76" y="169"/>
                    <a:pt x="81" y="163"/>
                    <a:pt x="93" y="165"/>
                  </a:cubicBezTo>
                  <a:cubicBezTo>
                    <a:pt x="93" y="165"/>
                    <a:pt x="95" y="164"/>
                    <a:pt x="97" y="163"/>
                  </a:cubicBezTo>
                  <a:cubicBezTo>
                    <a:pt x="97" y="158"/>
                    <a:pt x="94" y="156"/>
                    <a:pt x="97" y="152"/>
                  </a:cubicBezTo>
                  <a:cubicBezTo>
                    <a:pt x="100" y="151"/>
                    <a:pt x="102" y="147"/>
                    <a:pt x="97" y="147"/>
                  </a:cubicBezTo>
                  <a:cubicBezTo>
                    <a:pt x="93" y="147"/>
                    <a:pt x="97" y="141"/>
                    <a:pt x="97" y="141"/>
                  </a:cubicBezTo>
                  <a:cubicBezTo>
                    <a:pt x="99" y="138"/>
                    <a:pt x="95" y="127"/>
                    <a:pt x="101" y="122"/>
                  </a:cubicBezTo>
                  <a:cubicBezTo>
                    <a:pt x="105" y="119"/>
                    <a:pt x="108" y="121"/>
                    <a:pt x="112" y="119"/>
                  </a:cubicBezTo>
                  <a:cubicBezTo>
                    <a:pt x="117" y="117"/>
                    <a:pt x="113" y="114"/>
                    <a:pt x="117" y="114"/>
                  </a:cubicBezTo>
                  <a:cubicBezTo>
                    <a:pt x="122" y="115"/>
                    <a:pt x="120" y="108"/>
                    <a:pt x="120" y="108"/>
                  </a:cubicBezTo>
                  <a:cubicBezTo>
                    <a:pt x="120" y="98"/>
                    <a:pt x="128" y="100"/>
                    <a:pt x="128" y="100"/>
                  </a:cubicBezTo>
                  <a:cubicBezTo>
                    <a:pt x="129" y="100"/>
                    <a:pt x="131" y="100"/>
                    <a:pt x="132" y="100"/>
                  </a:cubicBezTo>
                  <a:lnTo>
                    <a:pt x="132" y="95"/>
                  </a:lnTo>
                  <a:cubicBezTo>
                    <a:pt x="132" y="95"/>
                    <a:pt x="134" y="88"/>
                    <a:pt x="125" y="88"/>
                  </a:cubicBezTo>
                  <a:cubicBezTo>
                    <a:pt x="125" y="88"/>
                    <a:pt x="120" y="90"/>
                    <a:pt x="118" y="85"/>
                  </a:cubicBezTo>
                  <a:cubicBezTo>
                    <a:pt x="118" y="85"/>
                    <a:pt x="122" y="82"/>
                    <a:pt x="107" y="80"/>
                  </a:cubicBezTo>
                  <a:cubicBezTo>
                    <a:pt x="107" y="80"/>
                    <a:pt x="109" y="73"/>
                    <a:pt x="98" y="63"/>
                  </a:cubicBezTo>
                  <a:cubicBezTo>
                    <a:pt x="98" y="63"/>
                    <a:pt x="99" y="60"/>
                    <a:pt x="91" y="60"/>
                  </a:cubicBezTo>
                  <a:cubicBezTo>
                    <a:pt x="91" y="53"/>
                    <a:pt x="87" y="55"/>
                    <a:pt x="87" y="50"/>
                  </a:cubicBezTo>
                  <a:cubicBezTo>
                    <a:pt x="87" y="50"/>
                    <a:pt x="84" y="48"/>
                    <a:pt x="86" y="41"/>
                  </a:cubicBezTo>
                  <a:cubicBezTo>
                    <a:pt x="89" y="39"/>
                    <a:pt x="84" y="38"/>
                    <a:pt x="85" y="35"/>
                  </a:cubicBezTo>
                  <a:cubicBezTo>
                    <a:pt x="85" y="35"/>
                    <a:pt x="91" y="35"/>
                    <a:pt x="83" y="29"/>
                  </a:cubicBezTo>
                  <a:cubicBezTo>
                    <a:pt x="83" y="29"/>
                    <a:pt x="84" y="23"/>
                    <a:pt x="77" y="23"/>
                  </a:cubicBezTo>
                  <a:cubicBezTo>
                    <a:pt x="77" y="23"/>
                    <a:pt x="67" y="24"/>
                    <a:pt x="73" y="20"/>
                  </a:cubicBezTo>
                  <a:cubicBezTo>
                    <a:pt x="77" y="18"/>
                    <a:pt x="72" y="17"/>
                    <a:pt x="73" y="13"/>
                  </a:cubicBezTo>
                  <a:cubicBezTo>
                    <a:pt x="73" y="13"/>
                    <a:pt x="74" y="5"/>
                    <a:pt x="68" y="8"/>
                  </a:cubicBezTo>
                  <a:cubicBezTo>
                    <a:pt x="68" y="8"/>
                    <a:pt x="64" y="9"/>
                    <a:pt x="65" y="6"/>
                  </a:cubicBezTo>
                  <a:cubicBezTo>
                    <a:pt x="65" y="6"/>
                    <a:pt x="66" y="3"/>
                    <a:pt x="61" y="3"/>
                  </a:cubicBezTo>
                  <a:cubicBezTo>
                    <a:pt x="58" y="5"/>
                    <a:pt x="52" y="4"/>
                    <a:pt x="52" y="4"/>
                  </a:cubicBezTo>
                  <a:cubicBezTo>
                    <a:pt x="47" y="0"/>
                    <a:pt x="45" y="6"/>
                    <a:pt x="45" y="6"/>
                  </a:cubicBezTo>
                  <a:cubicBezTo>
                    <a:pt x="44" y="9"/>
                    <a:pt x="49" y="5"/>
                    <a:pt x="49" y="8"/>
                  </a:cubicBezTo>
                  <a:cubicBezTo>
                    <a:pt x="49" y="12"/>
                    <a:pt x="43" y="14"/>
                    <a:pt x="43" y="14"/>
                  </a:cubicBezTo>
                  <a:cubicBezTo>
                    <a:pt x="35" y="20"/>
                    <a:pt x="35" y="24"/>
                    <a:pt x="35" y="24"/>
                  </a:cubicBezTo>
                  <a:cubicBezTo>
                    <a:pt x="38" y="28"/>
                    <a:pt x="33" y="30"/>
                    <a:pt x="33" y="30"/>
                  </a:cubicBezTo>
                  <a:cubicBezTo>
                    <a:pt x="27" y="33"/>
                    <a:pt x="29" y="37"/>
                    <a:pt x="29" y="37"/>
                  </a:cubicBezTo>
                  <a:cubicBezTo>
                    <a:pt x="27" y="34"/>
                    <a:pt x="24" y="37"/>
                    <a:pt x="24" y="37"/>
                  </a:cubicBezTo>
                  <a:cubicBezTo>
                    <a:pt x="20" y="39"/>
                    <a:pt x="22" y="41"/>
                    <a:pt x="22" y="41"/>
                  </a:cubicBezTo>
                  <a:cubicBezTo>
                    <a:pt x="18" y="41"/>
                    <a:pt x="16" y="39"/>
                    <a:pt x="16" y="39"/>
                  </a:cubicBezTo>
                  <a:cubicBezTo>
                    <a:pt x="14" y="39"/>
                    <a:pt x="14" y="43"/>
                    <a:pt x="12" y="42"/>
                  </a:cubicBezTo>
                  <a:cubicBezTo>
                    <a:pt x="5" y="39"/>
                    <a:pt x="6" y="44"/>
                    <a:pt x="6" y="44"/>
                  </a:cubicBezTo>
                  <a:cubicBezTo>
                    <a:pt x="6" y="48"/>
                    <a:pt x="9" y="47"/>
                    <a:pt x="8" y="54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23" name="Freeform 1160">
              <a:extLst>
                <a:ext uri="{FF2B5EF4-FFF2-40B4-BE49-F238E27FC236}">
                  <a16:creationId xmlns:a16="http://schemas.microsoft.com/office/drawing/2014/main" id="{87AEA990-726F-4569-9A12-DA2A65D54B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0323" y="4114756"/>
              <a:ext cx="1101772" cy="911043"/>
            </a:xfrm>
            <a:custGeom>
              <a:avLst/>
              <a:gdLst>
                <a:gd name="T0" fmla="*/ 412750 w 156"/>
                <a:gd name="T1" fmla="*/ 928687 h 129"/>
                <a:gd name="T2" fmla="*/ 357188 w 156"/>
                <a:gd name="T3" fmla="*/ 825500 h 129"/>
                <a:gd name="T4" fmla="*/ 460375 w 156"/>
                <a:gd name="T5" fmla="*/ 714375 h 129"/>
                <a:gd name="T6" fmla="*/ 357188 w 156"/>
                <a:gd name="T7" fmla="*/ 619125 h 129"/>
                <a:gd name="T8" fmla="*/ 277813 w 156"/>
                <a:gd name="T9" fmla="*/ 508000 h 129"/>
                <a:gd name="T10" fmla="*/ 174625 w 156"/>
                <a:gd name="T11" fmla="*/ 396875 h 129"/>
                <a:gd name="T12" fmla="*/ 71438 w 156"/>
                <a:gd name="T13" fmla="*/ 285750 h 129"/>
                <a:gd name="T14" fmla="*/ 47625 w 156"/>
                <a:gd name="T15" fmla="*/ 111125 h 129"/>
                <a:gd name="T16" fmla="*/ 166688 w 156"/>
                <a:gd name="T17" fmla="*/ 71437 h 129"/>
                <a:gd name="T18" fmla="*/ 325438 w 156"/>
                <a:gd name="T19" fmla="*/ 55562 h 129"/>
                <a:gd name="T20" fmla="*/ 492125 w 156"/>
                <a:gd name="T21" fmla="*/ 95250 h 129"/>
                <a:gd name="T22" fmla="*/ 611188 w 156"/>
                <a:gd name="T23" fmla="*/ 111125 h 129"/>
                <a:gd name="T24" fmla="*/ 666750 w 156"/>
                <a:gd name="T25" fmla="*/ 198437 h 129"/>
                <a:gd name="T26" fmla="*/ 730250 w 156"/>
                <a:gd name="T27" fmla="*/ 293687 h 129"/>
                <a:gd name="T28" fmla="*/ 841375 w 156"/>
                <a:gd name="T29" fmla="*/ 293687 h 129"/>
                <a:gd name="T30" fmla="*/ 1023938 w 156"/>
                <a:gd name="T31" fmla="*/ 230187 h 129"/>
                <a:gd name="T32" fmla="*/ 1174750 w 156"/>
                <a:gd name="T33" fmla="*/ 158750 h 129"/>
                <a:gd name="T34" fmla="*/ 1182688 w 156"/>
                <a:gd name="T35" fmla="*/ 254000 h 129"/>
                <a:gd name="T36" fmla="*/ 1166813 w 156"/>
                <a:gd name="T37" fmla="*/ 373062 h 129"/>
                <a:gd name="T38" fmla="*/ 1214438 w 156"/>
                <a:gd name="T39" fmla="*/ 476250 h 129"/>
                <a:gd name="T40" fmla="*/ 1174750 w 156"/>
                <a:gd name="T41" fmla="*/ 531812 h 129"/>
                <a:gd name="T42" fmla="*/ 1214438 w 156"/>
                <a:gd name="T43" fmla="*/ 611187 h 129"/>
                <a:gd name="T44" fmla="*/ 1143000 w 156"/>
                <a:gd name="T45" fmla="*/ 730250 h 129"/>
                <a:gd name="T46" fmla="*/ 1150938 w 156"/>
                <a:gd name="T47" fmla="*/ 785812 h 129"/>
                <a:gd name="T48" fmla="*/ 1103313 w 156"/>
                <a:gd name="T49" fmla="*/ 841375 h 129"/>
                <a:gd name="T50" fmla="*/ 1047750 w 156"/>
                <a:gd name="T51" fmla="*/ 873125 h 129"/>
                <a:gd name="T52" fmla="*/ 904875 w 156"/>
                <a:gd name="T53" fmla="*/ 896937 h 129"/>
                <a:gd name="T54" fmla="*/ 754063 w 156"/>
                <a:gd name="T55" fmla="*/ 944562 h 129"/>
                <a:gd name="T56" fmla="*/ 722313 w 156"/>
                <a:gd name="T57" fmla="*/ 920750 h 129"/>
                <a:gd name="T58" fmla="*/ 642938 w 156"/>
                <a:gd name="T59" fmla="*/ 992187 h 129"/>
                <a:gd name="T60" fmla="*/ 563563 w 156"/>
                <a:gd name="T61" fmla="*/ 1008062 h 129"/>
                <a:gd name="T62" fmla="*/ 587375 w 156"/>
                <a:gd name="T63" fmla="*/ 920750 h 129"/>
                <a:gd name="T64" fmla="*/ 428625 w 156"/>
                <a:gd name="T65" fmla="*/ 992187 h 129"/>
                <a:gd name="T66" fmla="*/ 428625 w 156"/>
                <a:gd name="T67" fmla="*/ 992187 h 12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56"/>
                <a:gd name="T103" fmla="*/ 0 h 129"/>
                <a:gd name="T104" fmla="*/ 156 w 156"/>
                <a:gd name="T105" fmla="*/ 129 h 12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56" h="129">
                  <a:moveTo>
                    <a:pt x="54" y="125"/>
                  </a:moveTo>
                  <a:cubicBezTo>
                    <a:pt x="54" y="125"/>
                    <a:pt x="50" y="125"/>
                    <a:pt x="52" y="117"/>
                  </a:cubicBezTo>
                  <a:cubicBezTo>
                    <a:pt x="52" y="117"/>
                    <a:pt x="53" y="112"/>
                    <a:pt x="49" y="108"/>
                  </a:cubicBezTo>
                  <a:cubicBezTo>
                    <a:pt x="49" y="108"/>
                    <a:pt x="44" y="107"/>
                    <a:pt x="45" y="104"/>
                  </a:cubicBezTo>
                  <a:cubicBezTo>
                    <a:pt x="45" y="104"/>
                    <a:pt x="43" y="101"/>
                    <a:pt x="52" y="100"/>
                  </a:cubicBezTo>
                  <a:cubicBezTo>
                    <a:pt x="52" y="100"/>
                    <a:pt x="63" y="99"/>
                    <a:pt x="58" y="90"/>
                  </a:cubicBezTo>
                  <a:cubicBezTo>
                    <a:pt x="57" y="87"/>
                    <a:pt x="50" y="87"/>
                    <a:pt x="49" y="84"/>
                  </a:cubicBezTo>
                  <a:cubicBezTo>
                    <a:pt x="49" y="83"/>
                    <a:pt x="56" y="77"/>
                    <a:pt x="45" y="78"/>
                  </a:cubicBezTo>
                  <a:cubicBezTo>
                    <a:pt x="45" y="78"/>
                    <a:pt x="37" y="79"/>
                    <a:pt x="36" y="74"/>
                  </a:cubicBezTo>
                  <a:cubicBezTo>
                    <a:pt x="36" y="74"/>
                    <a:pt x="34" y="68"/>
                    <a:pt x="35" y="64"/>
                  </a:cubicBezTo>
                  <a:cubicBezTo>
                    <a:pt x="35" y="64"/>
                    <a:pt x="39" y="60"/>
                    <a:pt x="34" y="54"/>
                  </a:cubicBezTo>
                  <a:cubicBezTo>
                    <a:pt x="34" y="48"/>
                    <a:pt x="29" y="51"/>
                    <a:pt x="22" y="50"/>
                  </a:cubicBezTo>
                  <a:cubicBezTo>
                    <a:pt x="22" y="50"/>
                    <a:pt x="11" y="54"/>
                    <a:pt x="12" y="43"/>
                  </a:cubicBezTo>
                  <a:cubicBezTo>
                    <a:pt x="12" y="43"/>
                    <a:pt x="13" y="36"/>
                    <a:pt x="9" y="36"/>
                  </a:cubicBezTo>
                  <a:cubicBezTo>
                    <a:pt x="9" y="36"/>
                    <a:pt x="10" y="26"/>
                    <a:pt x="5" y="24"/>
                  </a:cubicBezTo>
                  <a:cubicBezTo>
                    <a:pt x="5" y="24"/>
                    <a:pt x="0" y="17"/>
                    <a:pt x="6" y="14"/>
                  </a:cubicBezTo>
                  <a:cubicBezTo>
                    <a:pt x="6" y="14"/>
                    <a:pt x="10" y="14"/>
                    <a:pt x="8" y="11"/>
                  </a:cubicBezTo>
                  <a:cubicBezTo>
                    <a:pt x="12" y="5"/>
                    <a:pt x="21" y="9"/>
                    <a:pt x="21" y="9"/>
                  </a:cubicBezTo>
                  <a:cubicBezTo>
                    <a:pt x="23" y="12"/>
                    <a:pt x="24" y="8"/>
                    <a:pt x="27" y="8"/>
                  </a:cubicBezTo>
                  <a:cubicBezTo>
                    <a:pt x="38" y="5"/>
                    <a:pt x="37" y="13"/>
                    <a:pt x="41" y="7"/>
                  </a:cubicBezTo>
                  <a:cubicBezTo>
                    <a:pt x="50" y="0"/>
                    <a:pt x="54" y="9"/>
                    <a:pt x="54" y="9"/>
                  </a:cubicBezTo>
                  <a:cubicBezTo>
                    <a:pt x="55" y="14"/>
                    <a:pt x="62" y="12"/>
                    <a:pt x="62" y="12"/>
                  </a:cubicBezTo>
                  <a:cubicBezTo>
                    <a:pt x="71" y="11"/>
                    <a:pt x="69" y="16"/>
                    <a:pt x="69" y="16"/>
                  </a:cubicBezTo>
                  <a:cubicBezTo>
                    <a:pt x="75" y="10"/>
                    <a:pt x="77" y="14"/>
                    <a:pt x="77" y="14"/>
                  </a:cubicBezTo>
                  <a:cubicBezTo>
                    <a:pt x="87" y="14"/>
                    <a:pt x="81" y="19"/>
                    <a:pt x="81" y="19"/>
                  </a:cubicBezTo>
                  <a:cubicBezTo>
                    <a:pt x="76" y="20"/>
                    <a:pt x="84" y="25"/>
                    <a:pt x="84" y="25"/>
                  </a:cubicBezTo>
                  <a:cubicBezTo>
                    <a:pt x="88" y="27"/>
                    <a:pt x="88" y="32"/>
                    <a:pt x="88" y="32"/>
                  </a:cubicBezTo>
                  <a:cubicBezTo>
                    <a:pt x="85" y="39"/>
                    <a:pt x="92" y="37"/>
                    <a:pt x="92" y="37"/>
                  </a:cubicBezTo>
                  <a:cubicBezTo>
                    <a:pt x="96" y="33"/>
                    <a:pt x="99" y="38"/>
                    <a:pt x="99" y="38"/>
                  </a:cubicBezTo>
                  <a:cubicBezTo>
                    <a:pt x="101" y="44"/>
                    <a:pt x="106" y="37"/>
                    <a:pt x="106" y="37"/>
                  </a:cubicBezTo>
                  <a:cubicBezTo>
                    <a:pt x="108" y="31"/>
                    <a:pt x="116" y="37"/>
                    <a:pt x="116" y="37"/>
                  </a:cubicBezTo>
                  <a:cubicBezTo>
                    <a:pt x="131" y="39"/>
                    <a:pt x="129" y="29"/>
                    <a:pt x="129" y="29"/>
                  </a:cubicBezTo>
                  <a:cubicBezTo>
                    <a:pt x="129" y="18"/>
                    <a:pt x="136" y="22"/>
                    <a:pt x="136" y="22"/>
                  </a:cubicBezTo>
                  <a:cubicBezTo>
                    <a:pt x="141" y="24"/>
                    <a:pt x="140" y="12"/>
                    <a:pt x="148" y="20"/>
                  </a:cubicBezTo>
                  <a:cubicBezTo>
                    <a:pt x="148" y="20"/>
                    <a:pt x="146" y="23"/>
                    <a:pt x="148" y="26"/>
                  </a:cubicBezTo>
                  <a:cubicBezTo>
                    <a:pt x="148" y="26"/>
                    <a:pt x="151" y="27"/>
                    <a:pt x="149" y="32"/>
                  </a:cubicBezTo>
                  <a:cubicBezTo>
                    <a:pt x="149" y="32"/>
                    <a:pt x="152" y="39"/>
                    <a:pt x="149" y="41"/>
                  </a:cubicBezTo>
                  <a:cubicBezTo>
                    <a:pt x="149" y="41"/>
                    <a:pt x="143" y="40"/>
                    <a:pt x="147" y="47"/>
                  </a:cubicBezTo>
                  <a:cubicBezTo>
                    <a:pt x="147" y="47"/>
                    <a:pt x="145" y="51"/>
                    <a:pt x="151" y="52"/>
                  </a:cubicBezTo>
                  <a:cubicBezTo>
                    <a:pt x="151" y="56"/>
                    <a:pt x="155" y="57"/>
                    <a:pt x="153" y="60"/>
                  </a:cubicBezTo>
                  <a:cubicBezTo>
                    <a:pt x="153" y="60"/>
                    <a:pt x="155" y="66"/>
                    <a:pt x="150" y="63"/>
                  </a:cubicBezTo>
                  <a:cubicBezTo>
                    <a:pt x="150" y="63"/>
                    <a:pt x="147" y="64"/>
                    <a:pt x="148" y="67"/>
                  </a:cubicBezTo>
                  <a:cubicBezTo>
                    <a:pt x="148" y="67"/>
                    <a:pt x="153" y="67"/>
                    <a:pt x="153" y="69"/>
                  </a:cubicBezTo>
                  <a:cubicBezTo>
                    <a:pt x="153" y="69"/>
                    <a:pt x="154" y="73"/>
                    <a:pt x="153" y="77"/>
                  </a:cubicBezTo>
                  <a:cubicBezTo>
                    <a:pt x="153" y="77"/>
                    <a:pt x="156" y="83"/>
                    <a:pt x="147" y="83"/>
                  </a:cubicBezTo>
                  <a:cubicBezTo>
                    <a:pt x="147" y="83"/>
                    <a:pt x="142" y="86"/>
                    <a:pt x="144" y="92"/>
                  </a:cubicBezTo>
                  <a:cubicBezTo>
                    <a:pt x="143" y="93"/>
                    <a:pt x="151" y="93"/>
                    <a:pt x="151" y="96"/>
                  </a:cubicBezTo>
                  <a:cubicBezTo>
                    <a:pt x="151" y="101"/>
                    <a:pt x="143" y="96"/>
                    <a:pt x="145" y="99"/>
                  </a:cubicBezTo>
                  <a:cubicBezTo>
                    <a:pt x="145" y="99"/>
                    <a:pt x="149" y="100"/>
                    <a:pt x="147" y="102"/>
                  </a:cubicBezTo>
                  <a:cubicBezTo>
                    <a:pt x="147" y="102"/>
                    <a:pt x="144" y="105"/>
                    <a:pt x="139" y="106"/>
                  </a:cubicBezTo>
                  <a:cubicBezTo>
                    <a:pt x="139" y="106"/>
                    <a:pt x="147" y="107"/>
                    <a:pt x="140" y="109"/>
                  </a:cubicBezTo>
                  <a:cubicBezTo>
                    <a:pt x="140" y="109"/>
                    <a:pt x="134" y="112"/>
                    <a:pt x="132" y="110"/>
                  </a:cubicBezTo>
                  <a:cubicBezTo>
                    <a:pt x="132" y="110"/>
                    <a:pt x="125" y="106"/>
                    <a:pt x="123" y="111"/>
                  </a:cubicBezTo>
                  <a:cubicBezTo>
                    <a:pt x="119" y="113"/>
                    <a:pt x="116" y="107"/>
                    <a:pt x="114" y="113"/>
                  </a:cubicBezTo>
                  <a:cubicBezTo>
                    <a:pt x="114" y="113"/>
                    <a:pt x="109" y="110"/>
                    <a:pt x="104" y="117"/>
                  </a:cubicBezTo>
                  <a:cubicBezTo>
                    <a:pt x="104" y="117"/>
                    <a:pt x="96" y="117"/>
                    <a:pt x="95" y="119"/>
                  </a:cubicBezTo>
                  <a:cubicBezTo>
                    <a:pt x="93" y="109"/>
                    <a:pt x="97" y="102"/>
                    <a:pt x="97" y="102"/>
                  </a:cubicBezTo>
                  <a:cubicBezTo>
                    <a:pt x="89" y="112"/>
                    <a:pt x="91" y="116"/>
                    <a:pt x="91" y="116"/>
                  </a:cubicBezTo>
                  <a:cubicBezTo>
                    <a:pt x="94" y="129"/>
                    <a:pt x="89" y="127"/>
                    <a:pt x="89" y="127"/>
                  </a:cubicBezTo>
                  <a:cubicBezTo>
                    <a:pt x="87" y="128"/>
                    <a:pt x="81" y="125"/>
                    <a:pt x="81" y="125"/>
                  </a:cubicBezTo>
                  <a:cubicBezTo>
                    <a:pt x="76" y="126"/>
                    <a:pt x="71" y="127"/>
                    <a:pt x="71" y="127"/>
                  </a:cubicBezTo>
                  <a:lnTo>
                    <a:pt x="74" y="116"/>
                  </a:lnTo>
                  <a:cubicBezTo>
                    <a:pt x="70" y="124"/>
                    <a:pt x="65" y="128"/>
                    <a:pt x="65" y="128"/>
                  </a:cubicBezTo>
                  <a:cubicBezTo>
                    <a:pt x="60" y="129"/>
                    <a:pt x="54" y="125"/>
                    <a:pt x="54" y="125"/>
                  </a:cubicBezTo>
                </a:path>
              </a:pathLst>
            </a:custGeom>
            <a:solidFill>
              <a:schemeClr val="accent1"/>
            </a:solidFill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24" name="Freeform 1161">
              <a:extLst>
                <a:ext uri="{FF2B5EF4-FFF2-40B4-BE49-F238E27FC236}">
                  <a16:creationId xmlns:a16="http://schemas.microsoft.com/office/drawing/2014/main" id="{B796800F-279D-4ACE-8581-9AAABFD09F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1380" y="3048343"/>
              <a:ext cx="1186524" cy="981667"/>
            </a:xfrm>
            <a:custGeom>
              <a:avLst/>
              <a:gdLst>
                <a:gd name="T0" fmla="*/ 1309688 w 168"/>
                <a:gd name="T1" fmla="*/ 690562 h 139"/>
                <a:gd name="T2" fmla="*/ 1254125 w 168"/>
                <a:gd name="T3" fmla="*/ 769937 h 139"/>
                <a:gd name="T4" fmla="*/ 1150938 w 168"/>
                <a:gd name="T5" fmla="*/ 722312 h 139"/>
                <a:gd name="T6" fmla="*/ 1079500 w 168"/>
                <a:gd name="T7" fmla="*/ 738187 h 139"/>
                <a:gd name="T8" fmla="*/ 1016000 w 168"/>
                <a:gd name="T9" fmla="*/ 809625 h 139"/>
                <a:gd name="T10" fmla="*/ 928688 w 168"/>
                <a:gd name="T11" fmla="*/ 809625 h 139"/>
                <a:gd name="T12" fmla="*/ 801688 w 168"/>
                <a:gd name="T13" fmla="*/ 841375 h 139"/>
                <a:gd name="T14" fmla="*/ 706438 w 168"/>
                <a:gd name="T15" fmla="*/ 920750 h 139"/>
                <a:gd name="T16" fmla="*/ 603250 w 168"/>
                <a:gd name="T17" fmla="*/ 912812 h 139"/>
                <a:gd name="T18" fmla="*/ 428625 w 168"/>
                <a:gd name="T19" fmla="*/ 960437 h 139"/>
                <a:gd name="T20" fmla="*/ 388938 w 168"/>
                <a:gd name="T21" fmla="*/ 1023937 h 139"/>
                <a:gd name="T22" fmla="*/ 198438 w 168"/>
                <a:gd name="T23" fmla="*/ 1103312 h 139"/>
                <a:gd name="T24" fmla="*/ 174625 w 168"/>
                <a:gd name="T25" fmla="*/ 1008062 h 139"/>
                <a:gd name="T26" fmla="*/ 111125 w 168"/>
                <a:gd name="T27" fmla="*/ 889000 h 139"/>
                <a:gd name="T28" fmla="*/ 71438 w 168"/>
                <a:gd name="T29" fmla="*/ 809625 h 139"/>
                <a:gd name="T30" fmla="*/ 55563 w 168"/>
                <a:gd name="T31" fmla="*/ 714375 h 139"/>
                <a:gd name="T32" fmla="*/ 103188 w 168"/>
                <a:gd name="T33" fmla="*/ 642937 h 139"/>
                <a:gd name="T34" fmla="*/ 230188 w 168"/>
                <a:gd name="T35" fmla="*/ 587375 h 139"/>
                <a:gd name="T36" fmla="*/ 333375 w 168"/>
                <a:gd name="T37" fmla="*/ 611187 h 139"/>
                <a:gd name="T38" fmla="*/ 388938 w 168"/>
                <a:gd name="T39" fmla="*/ 555625 h 139"/>
                <a:gd name="T40" fmla="*/ 571500 w 168"/>
                <a:gd name="T41" fmla="*/ 508000 h 139"/>
                <a:gd name="T42" fmla="*/ 635000 w 168"/>
                <a:gd name="T43" fmla="*/ 396875 h 139"/>
                <a:gd name="T44" fmla="*/ 706438 w 168"/>
                <a:gd name="T45" fmla="*/ 230187 h 139"/>
                <a:gd name="T46" fmla="*/ 849313 w 168"/>
                <a:gd name="T47" fmla="*/ 238125 h 139"/>
                <a:gd name="T48" fmla="*/ 920750 w 168"/>
                <a:gd name="T49" fmla="*/ 95250 h 139"/>
                <a:gd name="T50" fmla="*/ 1016000 w 168"/>
                <a:gd name="T51" fmla="*/ 0 h 139"/>
                <a:gd name="T52" fmla="*/ 1095375 w 168"/>
                <a:gd name="T53" fmla="*/ 119062 h 139"/>
                <a:gd name="T54" fmla="*/ 1135063 w 168"/>
                <a:gd name="T55" fmla="*/ 214312 h 139"/>
                <a:gd name="T56" fmla="*/ 1206500 w 168"/>
                <a:gd name="T57" fmla="*/ 325437 h 139"/>
                <a:gd name="T58" fmla="*/ 1262063 w 168"/>
                <a:gd name="T59" fmla="*/ 420687 h 139"/>
                <a:gd name="T60" fmla="*/ 1293813 w 168"/>
                <a:gd name="T61" fmla="*/ 587375 h 139"/>
                <a:gd name="T62" fmla="*/ 1293813 w 168"/>
                <a:gd name="T63" fmla="*/ 587375 h 13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68"/>
                <a:gd name="T97" fmla="*/ 0 h 139"/>
                <a:gd name="T98" fmla="*/ 168 w 168"/>
                <a:gd name="T99" fmla="*/ 139 h 13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68" h="139">
                  <a:moveTo>
                    <a:pt x="163" y="74"/>
                  </a:moveTo>
                  <a:cubicBezTo>
                    <a:pt x="159" y="82"/>
                    <a:pt x="163" y="81"/>
                    <a:pt x="165" y="87"/>
                  </a:cubicBezTo>
                  <a:cubicBezTo>
                    <a:pt x="165" y="87"/>
                    <a:pt x="168" y="93"/>
                    <a:pt x="165" y="96"/>
                  </a:cubicBezTo>
                  <a:cubicBezTo>
                    <a:pt x="161" y="100"/>
                    <a:pt x="161" y="95"/>
                    <a:pt x="158" y="97"/>
                  </a:cubicBezTo>
                  <a:cubicBezTo>
                    <a:pt x="158" y="97"/>
                    <a:pt x="155" y="101"/>
                    <a:pt x="151" y="99"/>
                  </a:cubicBezTo>
                  <a:cubicBezTo>
                    <a:pt x="151" y="99"/>
                    <a:pt x="150" y="94"/>
                    <a:pt x="145" y="91"/>
                  </a:cubicBezTo>
                  <a:cubicBezTo>
                    <a:pt x="145" y="91"/>
                    <a:pt x="142" y="91"/>
                    <a:pt x="141" y="88"/>
                  </a:cubicBezTo>
                  <a:cubicBezTo>
                    <a:pt x="141" y="88"/>
                    <a:pt x="138" y="92"/>
                    <a:pt x="136" y="93"/>
                  </a:cubicBezTo>
                  <a:cubicBezTo>
                    <a:pt x="136" y="93"/>
                    <a:pt x="132" y="94"/>
                    <a:pt x="132" y="98"/>
                  </a:cubicBezTo>
                  <a:cubicBezTo>
                    <a:pt x="132" y="98"/>
                    <a:pt x="133" y="105"/>
                    <a:pt x="128" y="102"/>
                  </a:cubicBezTo>
                  <a:cubicBezTo>
                    <a:pt x="128" y="102"/>
                    <a:pt x="126" y="98"/>
                    <a:pt x="122" y="103"/>
                  </a:cubicBezTo>
                  <a:cubicBezTo>
                    <a:pt x="122" y="103"/>
                    <a:pt x="119" y="109"/>
                    <a:pt x="117" y="102"/>
                  </a:cubicBezTo>
                  <a:cubicBezTo>
                    <a:pt x="117" y="102"/>
                    <a:pt x="110" y="99"/>
                    <a:pt x="106" y="101"/>
                  </a:cubicBezTo>
                  <a:cubicBezTo>
                    <a:pt x="106" y="101"/>
                    <a:pt x="99" y="99"/>
                    <a:pt x="101" y="106"/>
                  </a:cubicBezTo>
                  <a:cubicBezTo>
                    <a:pt x="101" y="106"/>
                    <a:pt x="97" y="110"/>
                    <a:pt x="98" y="114"/>
                  </a:cubicBezTo>
                  <a:cubicBezTo>
                    <a:pt x="98" y="114"/>
                    <a:pt x="90" y="119"/>
                    <a:pt x="89" y="116"/>
                  </a:cubicBezTo>
                  <a:cubicBezTo>
                    <a:pt x="89" y="116"/>
                    <a:pt x="87" y="112"/>
                    <a:pt x="82" y="115"/>
                  </a:cubicBezTo>
                  <a:cubicBezTo>
                    <a:pt x="82" y="115"/>
                    <a:pt x="77" y="119"/>
                    <a:pt x="76" y="115"/>
                  </a:cubicBezTo>
                  <a:cubicBezTo>
                    <a:pt x="76" y="115"/>
                    <a:pt x="68" y="113"/>
                    <a:pt x="59" y="115"/>
                  </a:cubicBezTo>
                  <a:cubicBezTo>
                    <a:pt x="59" y="115"/>
                    <a:pt x="55" y="113"/>
                    <a:pt x="54" y="121"/>
                  </a:cubicBezTo>
                  <a:cubicBezTo>
                    <a:pt x="54" y="121"/>
                    <a:pt x="50" y="125"/>
                    <a:pt x="52" y="127"/>
                  </a:cubicBezTo>
                  <a:cubicBezTo>
                    <a:pt x="52" y="127"/>
                    <a:pt x="54" y="131"/>
                    <a:pt x="49" y="129"/>
                  </a:cubicBezTo>
                  <a:cubicBezTo>
                    <a:pt x="49" y="129"/>
                    <a:pt x="43" y="128"/>
                    <a:pt x="37" y="135"/>
                  </a:cubicBezTo>
                  <a:cubicBezTo>
                    <a:pt x="35" y="137"/>
                    <a:pt x="32" y="131"/>
                    <a:pt x="25" y="139"/>
                  </a:cubicBezTo>
                  <a:cubicBezTo>
                    <a:pt x="19" y="137"/>
                    <a:pt x="24" y="134"/>
                    <a:pt x="24" y="134"/>
                  </a:cubicBezTo>
                  <a:cubicBezTo>
                    <a:pt x="26" y="128"/>
                    <a:pt x="22" y="127"/>
                    <a:pt x="22" y="127"/>
                  </a:cubicBezTo>
                  <a:cubicBezTo>
                    <a:pt x="20" y="127"/>
                    <a:pt x="25" y="120"/>
                    <a:pt x="19" y="121"/>
                  </a:cubicBezTo>
                  <a:cubicBezTo>
                    <a:pt x="15" y="119"/>
                    <a:pt x="19" y="116"/>
                    <a:pt x="14" y="112"/>
                  </a:cubicBezTo>
                  <a:cubicBezTo>
                    <a:pt x="9" y="111"/>
                    <a:pt x="13" y="106"/>
                    <a:pt x="10" y="107"/>
                  </a:cubicBezTo>
                  <a:cubicBezTo>
                    <a:pt x="7" y="106"/>
                    <a:pt x="9" y="102"/>
                    <a:pt x="9" y="102"/>
                  </a:cubicBezTo>
                  <a:cubicBezTo>
                    <a:pt x="4" y="101"/>
                    <a:pt x="7" y="94"/>
                    <a:pt x="7" y="94"/>
                  </a:cubicBezTo>
                  <a:cubicBezTo>
                    <a:pt x="0" y="94"/>
                    <a:pt x="5" y="89"/>
                    <a:pt x="7" y="90"/>
                  </a:cubicBezTo>
                  <a:cubicBezTo>
                    <a:pt x="11" y="84"/>
                    <a:pt x="9" y="79"/>
                    <a:pt x="9" y="79"/>
                  </a:cubicBezTo>
                  <a:cubicBezTo>
                    <a:pt x="13" y="77"/>
                    <a:pt x="10" y="82"/>
                    <a:pt x="13" y="81"/>
                  </a:cubicBezTo>
                  <a:cubicBezTo>
                    <a:pt x="17" y="82"/>
                    <a:pt x="20" y="78"/>
                    <a:pt x="20" y="78"/>
                  </a:cubicBezTo>
                  <a:cubicBezTo>
                    <a:pt x="22" y="74"/>
                    <a:pt x="29" y="74"/>
                    <a:pt x="29" y="74"/>
                  </a:cubicBezTo>
                  <a:cubicBezTo>
                    <a:pt x="31" y="68"/>
                    <a:pt x="35" y="74"/>
                    <a:pt x="35" y="74"/>
                  </a:cubicBezTo>
                  <a:cubicBezTo>
                    <a:pt x="40" y="74"/>
                    <a:pt x="42" y="77"/>
                    <a:pt x="42" y="77"/>
                  </a:cubicBezTo>
                  <a:cubicBezTo>
                    <a:pt x="45" y="79"/>
                    <a:pt x="44" y="73"/>
                    <a:pt x="44" y="73"/>
                  </a:cubicBezTo>
                  <a:cubicBezTo>
                    <a:pt x="44" y="65"/>
                    <a:pt x="49" y="70"/>
                    <a:pt x="49" y="70"/>
                  </a:cubicBezTo>
                  <a:cubicBezTo>
                    <a:pt x="58" y="67"/>
                    <a:pt x="61" y="70"/>
                    <a:pt x="61" y="70"/>
                  </a:cubicBezTo>
                  <a:cubicBezTo>
                    <a:pt x="71" y="70"/>
                    <a:pt x="72" y="64"/>
                    <a:pt x="72" y="64"/>
                  </a:cubicBezTo>
                  <a:cubicBezTo>
                    <a:pt x="72" y="60"/>
                    <a:pt x="80" y="57"/>
                    <a:pt x="80" y="57"/>
                  </a:cubicBezTo>
                  <a:cubicBezTo>
                    <a:pt x="80" y="53"/>
                    <a:pt x="80" y="50"/>
                    <a:pt x="80" y="50"/>
                  </a:cubicBezTo>
                  <a:cubicBezTo>
                    <a:pt x="83" y="45"/>
                    <a:pt x="83" y="38"/>
                    <a:pt x="83" y="38"/>
                  </a:cubicBezTo>
                  <a:cubicBezTo>
                    <a:pt x="82" y="27"/>
                    <a:pt x="89" y="29"/>
                    <a:pt x="89" y="29"/>
                  </a:cubicBezTo>
                  <a:cubicBezTo>
                    <a:pt x="92" y="24"/>
                    <a:pt x="96" y="29"/>
                    <a:pt x="96" y="29"/>
                  </a:cubicBezTo>
                  <a:cubicBezTo>
                    <a:pt x="99" y="32"/>
                    <a:pt x="107" y="30"/>
                    <a:pt x="107" y="30"/>
                  </a:cubicBezTo>
                  <a:cubicBezTo>
                    <a:pt x="113" y="31"/>
                    <a:pt x="114" y="19"/>
                    <a:pt x="114" y="19"/>
                  </a:cubicBezTo>
                  <a:cubicBezTo>
                    <a:pt x="118" y="18"/>
                    <a:pt x="116" y="12"/>
                    <a:pt x="116" y="12"/>
                  </a:cubicBezTo>
                  <a:cubicBezTo>
                    <a:pt x="116" y="9"/>
                    <a:pt x="122" y="9"/>
                    <a:pt x="121" y="7"/>
                  </a:cubicBezTo>
                  <a:cubicBezTo>
                    <a:pt x="120" y="2"/>
                    <a:pt x="128" y="0"/>
                    <a:pt x="128" y="0"/>
                  </a:cubicBezTo>
                  <a:cubicBezTo>
                    <a:pt x="128" y="6"/>
                    <a:pt x="134" y="7"/>
                    <a:pt x="134" y="7"/>
                  </a:cubicBezTo>
                  <a:cubicBezTo>
                    <a:pt x="134" y="16"/>
                    <a:pt x="138" y="15"/>
                    <a:pt x="138" y="15"/>
                  </a:cubicBezTo>
                  <a:cubicBezTo>
                    <a:pt x="142" y="15"/>
                    <a:pt x="142" y="20"/>
                    <a:pt x="142" y="20"/>
                  </a:cubicBezTo>
                  <a:cubicBezTo>
                    <a:pt x="145" y="22"/>
                    <a:pt x="143" y="27"/>
                    <a:pt x="143" y="27"/>
                  </a:cubicBezTo>
                  <a:cubicBezTo>
                    <a:pt x="138" y="28"/>
                    <a:pt x="146" y="34"/>
                    <a:pt x="146" y="34"/>
                  </a:cubicBezTo>
                  <a:cubicBezTo>
                    <a:pt x="152" y="36"/>
                    <a:pt x="152" y="41"/>
                    <a:pt x="152" y="41"/>
                  </a:cubicBezTo>
                  <a:cubicBezTo>
                    <a:pt x="160" y="42"/>
                    <a:pt x="159" y="47"/>
                    <a:pt x="159" y="47"/>
                  </a:cubicBezTo>
                  <a:cubicBezTo>
                    <a:pt x="165" y="52"/>
                    <a:pt x="159" y="53"/>
                    <a:pt x="159" y="53"/>
                  </a:cubicBezTo>
                  <a:cubicBezTo>
                    <a:pt x="155" y="57"/>
                    <a:pt x="160" y="62"/>
                    <a:pt x="160" y="62"/>
                  </a:cubicBezTo>
                  <a:cubicBezTo>
                    <a:pt x="164" y="67"/>
                    <a:pt x="163" y="74"/>
                    <a:pt x="163" y="74"/>
                  </a:cubicBezTo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25" name="Freeform 1170">
              <a:extLst>
                <a:ext uri="{FF2B5EF4-FFF2-40B4-BE49-F238E27FC236}">
                  <a16:creationId xmlns:a16="http://schemas.microsoft.com/office/drawing/2014/main" id="{F811B820-DD94-4057-A4C0-E981838BB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0649" y="4460815"/>
              <a:ext cx="1264215" cy="875731"/>
            </a:xfrm>
            <a:custGeom>
              <a:avLst/>
              <a:gdLst>
                <a:gd name="T0" fmla="*/ 150812 w 179"/>
                <a:gd name="T1" fmla="*/ 539750 h 124"/>
                <a:gd name="T2" fmla="*/ 301625 w 179"/>
                <a:gd name="T3" fmla="*/ 492125 h 124"/>
                <a:gd name="T4" fmla="*/ 436562 w 179"/>
                <a:gd name="T5" fmla="*/ 476250 h 124"/>
                <a:gd name="T6" fmla="*/ 492125 w 179"/>
                <a:gd name="T7" fmla="*/ 420688 h 124"/>
                <a:gd name="T8" fmla="*/ 523875 w 179"/>
                <a:gd name="T9" fmla="*/ 373063 h 124"/>
                <a:gd name="T10" fmla="*/ 492125 w 179"/>
                <a:gd name="T11" fmla="*/ 269875 h 124"/>
                <a:gd name="T12" fmla="*/ 539750 w 179"/>
                <a:gd name="T13" fmla="*/ 158750 h 124"/>
                <a:gd name="T14" fmla="*/ 515937 w 179"/>
                <a:gd name="T15" fmla="*/ 111125 h 124"/>
                <a:gd name="T16" fmla="*/ 523875 w 179"/>
                <a:gd name="T17" fmla="*/ 23813 h 124"/>
                <a:gd name="T18" fmla="*/ 611187 w 179"/>
                <a:gd name="T19" fmla="*/ 47625 h 124"/>
                <a:gd name="T20" fmla="*/ 682625 w 179"/>
                <a:gd name="T21" fmla="*/ 47625 h 124"/>
                <a:gd name="T22" fmla="*/ 833437 w 179"/>
                <a:gd name="T23" fmla="*/ 63500 h 124"/>
                <a:gd name="T24" fmla="*/ 912812 w 179"/>
                <a:gd name="T25" fmla="*/ 71438 h 124"/>
                <a:gd name="T26" fmla="*/ 1023937 w 179"/>
                <a:gd name="T27" fmla="*/ 150813 h 124"/>
                <a:gd name="T28" fmla="*/ 1119187 w 179"/>
                <a:gd name="T29" fmla="*/ 214313 h 124"/>
                <a:gd name="T30" fmla="*/ 1166812 w 179"/>
                <a:gd name="T31" fmla="*/ 357188 h 124"/>
                <a:gd name="T32" fmla="*/ 1230312 w 179"/>
                <a:gd name="T33" fmla="*/ 420688 h 124"/>
                <a:gd name="T34" fmla="*/ 1214437 w 179"/>
                <a:gd name="T35" fmla="*/ 508000 h 124"/>
                <a:gd name="T36" fmla="*/ 1238250 w 179"/>
                <a:gd name="T37" fmla="*/ 587375 h 124"/>
                <a:gd name="T38" fmla="*/ 1333500 w 179"/>
                <a:gd name="T39" fmla="*/ 666750 h 124"/>
                <a:gd name="T40" fmla="*/ 1420812 w 179"/>
                <a:gd name="T41" fmla="*/ 769938 h 124"/>
                <a:gd name="T42" fmla="*/ 1301750 w 179"/>
                <a:gd name="T43" fmla="*/ 881063 h 124"/>
                <a:gd name="T44" fmla="*/ 1214437 w 179"/>
                <a:gd name="T45" fmla="*/ 865188 h 124"/>
                <a:gd name="T46" fmla="*/ 1063625 w 179"/>
                <a:gd name="T47" fmla="*/ 833438 h 124"/>
                <a:gd name="T48" fmla="*/ 984250 w 179"/>
                <a:gd name="T49" fmla="*/ 849313 h 124"/>
                <a:gd name="T50" fmla="*/ 936625 w 179"/>
                <a:gd name="T51" fmla="*/ 833438 h 124"/>
                <a:gd name="T52" fmla="*/ 841375 w 179"/>
                <a:gd name="T53" fmla="*/ 849313 h 124"/>
                <a:gd name="T54" fmla="*/ 785812 w 179"/>
                <a:gd name="T55" fmla="*/ 849313 h 124"/>
                <a:gd name="T56" fmla="*/ 762000 w 179"/>
                <a:gd name="T57" fmla="*/ 920750 h 124"/>
                <a:gd name="T58" fmla="*/ 619125 w 179"/>
                <a:gd name="T59" fmla="*/ 849313 h 124"/>
                <a:gd name="T60" fmla="*/ 428625 w 179"/>
                <a:gd name="T61" fmla="*/ 912813 h 124"/>
                <a:gd name="T62" fmla="*/ 214312 w 179"/>
                <a:gd name="T63" fmla="*/ 873125 h 124"/>
                <a:gd name="T64" fmla="*/ 55562 w 179"/>
                <a:gd name="T65" fmla="*/ 817563 h 124"/>
                <a:gd name="T66" fmla="*/ 0 w 179"/>
                <a:gd name="T67" fmla="*/ 793750 h 124"/>
                <a:gd name="T68" fmla="*/ 71437 w 179"/>
                <a:gd name="T69" fmla="*/ 785813 h 124"/>
                <a:gd name="T70" fmla="*/ 55562 w 179"/>
                <a:gd name="T71" fmla="*/ 706438 h 124"/>
                <a:gd name="T72" fmla="*/ 31750 w 179"/>
                <a:gd name="T73" fmla="*/ 666750 h 124"/>
                <a:gd name="T74" fmla="*/ 158750 w 179"/>
                <a:gd name="T75" fmla="*/ 682625 h 124"/>
                <a:gd name="T76" fmla="*/ 246062 w 179"/>
                <a:gd name="T77" fmla="*/ 666750 h 124"/>
                <a:gd name="T78" fmla="*/ 277812 w 179"/>
                <a:gd name="T79" fmla="*/ 658813 h 124"/>
                <a:gd name="T80" fmla="*/ 214312 w 179"/>
                <a:gd name="T81" fmla="*/ 627063 h 124"/>
                <a:gd name="T82" fmla="*/ 142875 w 179"/>
                <a:gd name="T83" fmla="*/ 627063 h 124"/>
                <a:gd name="T84" fmla="*/ 79375 w 179"/>
                <a:gd name="T85" fmla="*/ 555625 h 12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79"/>
                <a:gd name="T130" fmla="*/ 0 h 124"/>
                <a:gd name="T131" fmla="*/ 179 w 179"/>
                <a:gd name="T132" fmla="*/ 124 h 12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79" h="124">
                  <a:moveTo>
                    <a:pt x="10" y="70"/>
                  </a:moveTo>
                  <a:cubicBezTo>
                    <a:pt x="11" y="68"/>
                    <a:pt x="19" y="68"/>
                    <a:pt x="19" y="68"/>
                  </a:cubicBezTo>
                  <a:cubicBezTo>
                    <a:pt x="24" y="61"/>
                    <a:pt x="29" y="64"/>
                    <a:pt x="29" y="64"/>
                  </a:cubicBezTo>
                  <a:cubicBezTo>
                    <a:pt x="31" y="58"/>
                    <a:pt x="34" y="64"/>
                    <a:pt x="38" y="62"/>
                  </a:cubicBezTo>
                  <a:cubicBezTo>
                    <a:pt x="40" y="57"/>
                    <a:pt x="47" y="61"/>
                    <a:pt x="47" y="61"/>
                  </a:cubicBezTo>
                  <a:cubicBezTo>
                    <a:pt x="49" y="63"/>
                    <a:pt x="55" y="60"/>
                    <a:pt x="55" y="60"/>
                  </a:cubicBezTo>
                  <a:cubicBezTo>
                    <a:pt x="62" y="58"/>
                    <a:pt x="54" y="57"/>
                    <a:pt x="54" y="57"/>
                  </a:cubicBezTo>
                  <a:cubicBezTo>
                    <a:pt x="59" y="56"/>
                    <a:pt x="62" y="53"/>
                    <a:pt x="62" y="53"/>
                  </a:cubicBezTo>
                  <a:cubicBezTo>
                    <a:pt x="64" y="51"/>
                    <a:pt x="60" y="50"/>
                    <a:pt x="60" y="50"/>
                  </a:cubicBezTo>
                  <a:cubicBezTo>
                    <a:pt x="58" y="47"/>
                    <a:pt x="66" y="52"/>
                    <a:pt x="66" y="47"/>
                  </a:cubicBezTo>
                  <a:cubicBezTo>
                    <a:pt x="66" y="44"/>
                    <a:pt x="58" y="44"/>
                    <a:pt x="59" y="43"/>
                  </a:cubicBezTo>
                  <a:cubicBezTo>
                    <a:pt x="57" y="37"/>
                    <a:pt x="62" y="34"/>
                    <a:pt x="62" y="34"/>
                  </a:cubicBezTo>
                  <a:cubicBezTo>
                    <a:pt x="71" y="34"/>
                    <a:pt x="68" y="28"/>
                    <a:pt x="68" y="28"/>
                  </a:cubicBezTo>
                  <a:cubicBezTo>
                    <a:pt x="69" y="24"/>
                    <a:pt x="68" y="20"/>
                    <a:pt x="68" y="20"/>
                  </a:cubicBezTo>
                  <a:cubicBezTo>
                    <a:pt x="68" y="18"/>
                    <a:pt x="63" y="18"/>
                    <a:pt x="63" y="18"/>
                  </a:cubicBezTo>
                  <a:cubicBezTo>
                    <a:pt x="62" y="15"/>
                    <a:pt x="65" y="14"/>
                    <a:pt x="65" y="14"/>
                  </a:cubicBezTo>
                  <a:cubicBezTo>
                    <a:pt x="70" y="17"/>
                    <a:pt x="68" y="11"/>
                    <a:pt x="68" y="11"/>
                  </a:cubicBezTo>
                  <a:cubicBezTo>
                    <a:pt x="70" y="8"/>
                    <a:pt x="66" y="7"/>
                    <a:pt x="66" y="3"/>
                  </a:cubicBezTo>
                  <a:cubicBezTo>
                    <a:pt x="66" y="3"/>
                    <a:pt x="70" y="2"/>
                    <a:pt x="72" y="5"/>
                  </a:cubicBezTo>
                  <a:cubicBezTo>
                    <a:pt x="72" y="5"/>
                    <a:pt x="76" y="5"/>
                    <a:pt x="77" y="6"/>
                  </a:cubicBezTo>
                  <a:cubicBezTo>
                    <a:pt x="77" y="6"/>
                    <a:pt x="80" y="11"/>
                    <a:pt x="81" y="8"/>
                  </a:cubicBezTo>
                  <a:cubicBezTo>
                    <a:pt x="81" y="5"/>
                    <a:pt x="85" y="8"/>
                    <a:pt x="86" y="6"/>
                  </a:cubicBezTo>
                  <a:cubicBezTo>
                    <a:pt x="86" y="6"/>
                    <a:pt x="90" y="0"/>
                    <a:pt x="94" y="6"/>
                  </a:cubicBezTo>
                  <a:cubicBezTo>
                    <a:pt x="94" y="6"/>
                    <a:pt x="93" y="11"/>
                    <a:pt x="105" y="8"/>
                  </a:cubicBezTo>
                  <a:cubicBezTo>
                    <a:pt x="105" y="8"/>
                    <a:pt x="107" y="5"/>
                    <a:pt x="111" y="8"/>
                  </a:cubicBezTo>
                  <a:cubicBezTo>
                    <a:pt x="111" y="8"/>
                    <a:pt x="112" y="10"/>
                    <a:pt x="115" y="9"/>
                  </a:cubicBezTo>
                  <a:cubicBezTo>
                    <a:pt x="115" y="9"/>
                    <a:pt x="122" y="9"/>
                    <a:pt x="126" y="9"/>
                  </a:cubicBezTo>
                  <a:cubicBezTo>
                    <a:pt x="126" y="9"/>
                    <a:pt x="126" y="15"/>
                    <a:pt x="129" y="19"/>
                  </a:cubicBezTo>
                  <a:cubicBezTo>
                    <a:pt x="129" y="19"/>
                    <a:pt x="129" y="27"/>
                    <a:pt x="135" y="24"/>
                  </a:cubicBezTo>
                  <a:cubicBezTo>
                    <a:pt x="135" y="24"/>
                    <a:pt x="138" y="16"/>
                    <a:pt x="141" y="27"/>
                  </a:cubicBezTo>
                  <a:cubicBezTo>
                    <a:pt x="141" y="27"/>
                    <a:pt x="139" y="35"/>
                    <a:pt x="144" y="38"/>
                  </a:cubicBezTo>
                  <a:cubicBezTo>
                    <a:pt x="144" y="38"/>
                    <a:pt x="142" y="44"/>
                    <a:pt x="147" y="45"/>
                  </a:cubicBezTo>
                  <a:cubicBezTo>
                    <a:pt x="147" y="45"/>
                    <a:pt x="148" y="49"/>
                    <a:pt x="150" y="49"/>
                  </a:cubicBezTo>
                  <a:cubicBezTo>
                    <a:pt x="150" y="49"/>
                    <a:pt x="155" y="48"/>
                    <a:pt x="155" y="53"/>
                  </a:cubicBezTo>
                  <a:cubicBezTo>
                    <a:pt x="155" y="53"/>
                    <a:pt x="162" y="55"/>
                    <a:pt x="155" y="59"/>
                  </a:cubicBezTo>
                  <a:cubicBezTo>
                    <a:pt x="155" y="59"/>
                    <a:pt x="157" y="63"/>
                    <a:pt x="153" y="64"/>
                  </a:cubicBezTo>
                  <a:cubicBezTo>
                    <a:pt x="153" y="64"/>
                    <a:pt x="146" y="69"/>
                    <a:pt x="153" y="69"/>
                  </a:cubicBezTo>
                  <a:cubicBezTo>
                    <a:pt x="153" y="69"/>
                    <a:pt x="157" y="71"/>
                    <a:pt x="156" y="74"/>
                  </a:cubicBezTo>
                  <a:cubicBezTo>
                    <a:pt x="156" y="74"/>
                    <a:pt x="155" y="78"/>
                    <a:pt x="163" y="79"/>
                  </a:cubicBezTo>
                  <a:cubicBezTo>
                    <a:pt x="163" y="79"/>
                    <a:pt x="163" y="83"/>
                    <a:pt x="168" y="84"/>
                  </a:cubicBezTo>
                  <a:cubicBezTo>
                    <a:pt x="168" y="84"/>
                    <a:pt x="174" y="82"/>
                    <a:pt x="174" y="94"/>
                  </a:cubicBezTo>
                  <a:cubicBezTo>
                    <a:pt x="174" y="94"/>
                    <a:pt x="172" y="98"/>
                    <a:pt x="179" y="97"/>
                  </a:cubicBezTo>
                  <a:cubicBezTo>
                    <a:pt x="174" y="102"/>
                    <a:pt x="168" y="102"/>
                    <a:pt x="168" y="102"/>
                  </a:cubicBezTo>
                  <a:cubicBezTo>
                    <a:pt x="163" y="106"/>
                    <a:pt x="164" y="111"/>
                    <a:pt x="164" y="111"/>
                  </a:cubicBezTo>
                  <a:cubicBezTo>
                    <a:pt x="160" y="107"/>
                    <a:pt x="157" y="107"/>
                    <a:pt x="157" y="107"/>
                  </a:cubicBezTo>
                  <a:cubicBezTo>
                    <a:pt x="154" y="107"/>
                    <a:pt x="153" y="109"/>
                    <a:pt x="153" y="109"/>
                  </a:cubicBezTo>
                  <a:cubicBezTo>
                    <a:pt x="150" y="111"/>
                    <a:pt x="144" y="109"/>
                    <a:pt x="144" y="109"/>
                  </a:cubicBezTo>
                  <a:cubicBezTo>
                    <a:pt x="141" y="109"/>
                    <a:pt x="140" y="105"/>
                    <a:pt x="134" y="105"/>
                  </a:cubicBezTo>
                  <a:cubicBezTo>
                    <a:pt x="131" y="105"/>
                    <a:pt x="131" y="100"/>
                    <a:pt x="128" y="100"/>
                  </a:cubicBezTo>
                  <a:cubicBezTo>
                    <a:pt x="129" y="106"/>
                    <a:pt x="124" y="107"/>
                    <a:pt x="124" y="107"/>
                  </a:cubicBezTo>
                  <a:lnTo>
                    <a:pt x="118" y="105"/>
                  </a:lnTo>
                  <a:lnTo>
                    <a:pt x="106" y="107"/>
                  </a:lnTo>
                  <a:cubicBezTo>
                    <a:pt x="106" y="107"/>
                    <a:pt x="105" y="108"/>
                    <a:pt x="105" y="109"/>
                  </a:cubicBezTo>
                  <a:cubicBezTo>
                    <a:pt x="105" y="109"/>
                    <a:pt x="103" y="106"/>
                    <a:pt x="99" y="107"/>
                  </a:cubicBezTo>
                  <a:cubicBezTo>
                    <a:pt x="99" y="107"/>
                    <a:pt x="100" y="110"/>
                    <a:pt x="98" y="112"/>
                  </a:cubicBezTo>
                  <a:cubicBezTo>
                    <a:pt x="97" y="112"/>
                    <a:pt x="96" y="116"/>
                    <a:pt x="96" y="116"/>
                  </a:cubicBezTo>
                  <a:cubicBezTo>
                    <a:pt x="90" y="124"/>
                    <a:pt x="86" y="114"/>
                    <a:pt x="86" y="114"/>
                  </a:cubicBezTo>
                  <a:cubicBezTo>
                    <a:pt x="80" y="115"/>
                    <a:pt x="78" y="107"/>
                    <a:pt x="78" y="107"/>
                  </a:cubicBezTo>
                  <a:cubicBezTo>
                    <a:pt x="76" y="116"/>
                    <a:pt x="69" y="112"/>
                    <a:pt x="69" y="112"/>
                  </a:cubicBezTo>
                  <a:cubicBezTo>
                    <a:pt x="68" y="117"/>
                    <a:pt x="54" y="115"/>
                    <a:pt x="54" y="115"/>
                  </a:cubicBezTo>
                  <a:cubicBezTo>
                    <a:pt x="38" y="121"/>
                    <a:pt x="34" y="117"/>
                    <a:pt x="34" y="117"/>
                  </a:cubicBezTo>
                  <a:cubicBezTo>
                    <a:pt x="28" y="115"/>
                    <a:pt x="27" y="110"/>
                    <a:pt x="27" y="110"/>
                  </a:cubicBezTo>
                  <a:cubicBezTo>
                    <a:pt x="20" y="110"/>
                    <a:pt x="18" y="107"/>
                    <a:pt x="18" y="107"/>
                  </a:cubicBezTo>
                  <a:cubicBezTo>
                    <a:pt x="16" y="104"/>
                    <a:pt x="7" y="103"/>
                    <a:pt x="7" y="103"/>
                  </a:cubicBezTo>
                  <a:cubicBezTo>
                    <a:pt x="1" y="105"/>
                    <a:pt x="0" y="100"/>
                    <a:pt x="0" y="100"/>
                  </a:cubicBezTo>
                  <a:lnTo>
                    <a:pt x="9" y="99"/>
                  </a:lnTo>
                  <a:cubicBezTo>
                    <a:pt x="13" y="100"/>
                    <a:pt x="15" y="95"/>
                    <a:pt x="15" y="95"/>
                  </a:cubicBezTo>
                  <a:cubicBezTo>
                    <a:pt x="13" y="90"/>
                    <a:pt x="7" y="89"/>
                    <a:pt x="7" y="89"/>
                  </a:cubicBezTo>
                  <a:cubicBezTo>
                    <a:pt x="6" y="89"/>
                    <a:pt x="4" y="89"/>
                    <a:pt x="3" y="89"/>
                  </a:cubicBezTo>
                  <a:cubicBezTo>
                    <a:pt x="1" y="87"/>
                    <a:pt x="5" y="86"/>
                    <a:pt x="4" y="84"/>
                  </a:cubicBezTo>
                  <a:cubicBezTo>
                    <a:pt x="8" y="84"/>
                    <a:pt x="11" y="83"/>
                    <a:pt x="11" y="83"/>
                  </a:cubicBezTo>
                  <a:cubicBezTo>
                    <a:pt x="17" y="83"/>
                    <a:pt x="20" y="86"/>
                    <a:pt x="20" y="86"/>
                  </a:cubicBezTo>
                  <a:cubicBezTo>
                    <a:pt x="25" y="89"/>
                    <a:pt x="31" y="84"/>
                    <a:pt x="31" y="84"/>
                  </a:cubicBezTo>
                  <a:lnTo>
                    <a:pt x="35" y="83"/>
                  </a:lnTo>
                  <a:cubicBezTo>
                    <a:pt x="34" y="81"/>
                    <a:pt x="27" y="79"/>
                    <a:pt x="27" y="79"/>
                  </a:cubicBezTo>
                  <a:lnTo>
                    <a:pt x="18" y="79"/>
                  </a:lnTo>
                  <a:cubicBezTo>
                    <a:pt x="12" y="77"/>
                    <a:pt x="10" y="70"/>
                    <a:pt x="10" y="70"/>
                  </a:cubicBezTo>
                </a:path>
              </a:pathLst>
            </a:custGeom>
            <a:solidFill>
              <a:schemeClr val="accent1"/>
            </a:solidFill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26" name="Freeform 1171">
              <a:extLst>
                <a:ext uri="{FF2B5EF4-FFF2-40B4-BE49-F238E27FC236}">
                  <a16:creationId xmlns:a16="http://schemas.microsoft.com/office/drawing/2014/main" id="{E8259979-CC92-465E-9877-6DBE466EB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7882" y="3570955"/>
              <a:ext cx="1504344" cy="854545"/>
            </a:xfrm>
            <a:custGeom>
              <a:avLst/>
              <a:gdLst>
                <a:gd name="T0" fmla="*/ 1262062 w 213"/>
                <a:gd name="T1" fmla="*/ 785812 h 121"/>
                <a:gd name="T2" fmla="*/ 1103312 w 213"/>
                <a:gd name="T3" fmla="*/ 904875 h 121"/>
                <a:gd name="T4" fmla="*/ 968375 w 213"/>
                <a:gd name="T5" fmla="*/ 912812 h 121"/>
                <a:gd name="T6" fmla="*/ 881062 w 213"/>
                <a:gd name="T7" fmla="*/ 865187 h 121"/>
                <a:gd name="T8" fmla="*/ 825500 w 213"/>
                <a:gd name="T9" fmla="*/ 762000 h 121"/>
                <a:gd name="T10" fmla="*/ 730250 w 213"/>
                <a:gd name="T11" fmla="*/ 738187 h 121"/>
                <a:gd name="T12" fmla="*/ 611187 w 213"/>
                <a:gd name="T13" fmla="*/ 682625 h 121"/>
                <a:gd name="T14" fmla="*/ 396875 w 213"/>
                <a:gd name="T15" fmla="*/ 674687 h 121"/>
                <a:gd name="T16" fmla="*/ 246062 w 213"/>
                <a:gd name="T17" fmla="*/ 690562 h 121"/>
                <a:gd name="T18" fmla="*/ 87312 w 213"/>
                <a:gd name="T19" fmla="*/ 642937 h 121"/>
                <a:gd name="T20" fmla="*/ 31750 w 213"/>
                <a:gd name="T21" fmla="*/ 563562 h 121"/>
                <a:gd name="T22" fmla="*/ 134937 w 213"/>
                <a:gd name="T23" fmla="*/ 523875 h 121"/>
                <a:gd name="T24" fmla="*/ 325437 w 213"/>
                <a:gd name="T25" fmla="*/ 436562 h 121"/>
                <a:gd name="T26" fmla="*/ 365125 w 213"/>
                <a:gd name="T27" fmla="*/ 373062 h 121"/>
                <a:gd name="T28" fmla="*/ 539750 w 213"/>
                <a:gd name="T29" fmla="*/ 325437 h 121"/>
                <a:gd name="T30" fmla="*/ 642937 w 213"/>
                <a:gd name="T31" fmla="*/ 333375 h 121"/>
                <a:gd name="T32" fmla="*/ 738187 w 213"/>
                <a:gd name="T33" fmla="*/ 254000 h 121"/>
                <a:gd name="T34" fmla="*/ 865187 w 213"/>
                <a:gd name="T35" fmla="*/ 222250 h 121"/>
                <a:gd name="T36" fmla="*/ 952500 w 213"/>
                <a:gd name="T37" fmla="*/ 222250 h 121"/>
                <a:gd name="T38" fmla="*/ 1016000 w 213"/>
                <a:gd name="T39" fmla="*/ 150812 h 121"/>
                <a:gd name="T40" fmla="*/ 1087437 w 213"/>
                <a:gd name="T41" fmla="*/ 134937 h 121"/>
                <a:gd name="T42" fmla="*/ 1190625 w 213"/>
                <a:gd name="T43" fmla="*/ 182562 h 121"/>
                <a:gd name="T44" fmla="*/ 1246187 w 213"/>
                <a:gd name="T45" fmla="*/ 103187 h 121"/>
                <a:gd name="T46" fmla="*/ 1270000 w 213"/>
                <a:gd name="T47" fmla="*/ 31750 h 121"/>
                <a:gd name="T48" fmla="*/ 1404937 w 213"/>
                <a:gd name="T49" fmla="*/ 119062 h 121"/>
                <a:gd name="T50" fmla="*/ 1516062 w 213"/>
                <a:gd name="T51" fmla="*/ 198437 h 121"/>
                <a:gd name="T52" fmla="*/ 1690687 w 213"/>
                <a:gd name="T53" fmla="*/ 230187 h 121"/>
                <a:gd name="T54" fmla="*/ 1651000 w 213"/>
                <a:gd name="T55" fmla="*/ 285750 h 121"/>
                <a:gd name="T56" fmla="*/ 1587500 w 213"/>
                <a:gd name="T57" fmla="*/ 277812 h 121"/>
                <a:gd name="T58" fmla="*/ 1651000 w 213"/>
                <a:gd name="T59" fmla="*/ 349250 h 121"/>
                <a:gd name="T60" fmla="*/ 1603375 w 213"/>
                <a:gd name="T61" fmla="*/ 396875 h 121"/>
                <a:gd name="T62" fmla="*/ 1547812 w 213"/>
                <a:gd name="T63" fmla="*/ 420687 h 121"/>
                <a:gd name="T64" fmla="*/ 1539875 w 213"/>
                <a:gd name="T65" fmla="*/ 555625 h 121"/>
                <a:gd name="T66" fmla="*/ 1436687 w 213"/>
                <a:gd name="T67" fmla="*/ 706437 h 121"/>
                <a:gd name="T68" fmla="*/ 1357312 w 213"/>
                <a:gd name="T69" fmla="*/ 769937 h 12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13"/>
                <a:gd name="T106" fmla="*/ 0 h 121"/>
                <a:gd name="T107" fmla="*/ 213 w 213"/>
                <a:gd name="T108" fmla="*/ 121 h 12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13" h="121">
                  <a:moveTo>
                    <a:pt x="171" y="97"/>
                  </a:moveTo>
                  <a:cubicBezTo>
                    <a:pt x="163" y="89"/>
                    <a:pt x="164" y="101"/>
                    <a:pt x="159" y="99"/>
                  </a:cubicBezTo>
                  <a:cubicBezTo>
                    <a:pt x="159" y="99"/>
                    <a:pt x="152" y="95"/>
                    <a:pt x="152" y="106"/>
                  </a:cubicBezTo>
                  <a:cubicBezTo>
                    <a:pt x="152" y="106"/>
                    <a:pt x="154" y="116"/>
                    <a:pt x="139" y="114"/>
                  </a:cubicBezTo>
                  <a:cubicBezTo>
                    <a:pt x="139" y="114"/>
                    <a:pt x="131" y="108"/>
                    <a:pt x="129" y="114"/>
                  </a:cubicBezTo>
                  <a:cubicBezTo>
                    <a:pt x="129" y="114"/>
                    <a:pt x="124" y="121"/>
                    <a:pt x="122" y="115"/>
                  </a:cubicBezTo>
                  <a:cubicBezTo>
                    <a:pt x="122" y="115"/>
                    <a:pt x="119" y="110"/>
                    <a:pt x="115" y="114"/>
                  </a:cubicBezTo>
                  <a:cubicBezTo>
                    <a:pt x="115" y="114"/>
                    <a:pt x="108" y="116"/>
                    <a:pt x="111" y="109"/>
                  </a:cubicBezTo>
                  <a:cubicBezTo>
                    <a:pt x="111" y="109"/>
                    <a:pt x="111" y="104"/>
                    <a:pt x="107" y="102"/>
                  </a:cubicBezTo>
                  <a:cubicBezTo>
                    <a:pt x="107" y="102"/>
                    <a:pt x="99" y="97"/>
                    <a:pt x="104" y="96"/>
                  </a:cubicBezTo>
                  <a:cubicBezTo>
                    <a:pt x="104" y="96"/>
                    <a:pt x="110" y="91"/>
                    <a:pt x="100" y="91"/>
                  </a:cubicBezTo>
                  <a:cubicBezTo>
                    <a:pt x="100" y="91"/>
                    <a:pt x="98" y="87"/>
                    <a:pt x="92" y="93"/>
                  </a:cubicBezTo>
                  <a:cubicBezTo>
                    <a:pt x="92" y="93"/>
                    <a:pt x="94" y="88"/>
                    <a:pt x="85" y="89"/>
                  </a:cubicBezTo>
                  <a:cubicBezTo>
                    <a:pt x="85" y="89"/>
                    <a:pt x="78" y="91"/>
                    <a:pt x="77" y="86"/>
                  </a:cubicBezTo>
                  <a:cubicBezTo>
                    <a:pt x="77" y="86"/>
                    <a:pt x="73" y="77"/>
                    <a:pt x="64" y="84"/>
                  </a:cubicBezTo>
                  <a:cubicBezTo>
                    <a:pt x="60" y="90"/>
                    <a:pt x="61" y="82"/>
                    <a:pt x="50" y="85"/>
                  </a:cubicBezTo>
                  <a:cubicBezTo>
                    <a:pt x="47" y="85"/>
                    <a:pt x="46" y="89"/>
                    <a:pt x="44" y="86"/>
                  </a:cubicBezTo>
                  <a:cubicBezTo>
                    <a:pt x="44" y="86"/>
                    <a:pt x="35" y="82"/>
                    <a:pt x="31" y="87"/>
                  </a:cubicBezTo>
                  <a:cubicBezTo>
                    <a:pt x="31" y="87"/>
                    <a:pt x="27" y="88"/>
                    <a:pt x="23" y="87"/>
                  </a:cubicBezTo>
                  <a:cubicBezTo>
                    <a:pt x="18" y="89"/>
                    <a:pt x="16" y="81"/>
                    <a:pt x="11" y="81"/>
                  </a:cubicBezTo>
                  <a:cubicBezTo>
                    <a:pt x="11" y="81"/>
                    <a:pt x="10" y="84"/>
                    <a:pt x="5" y="83"/>
                  </a:cubicBezTo>
                  <a:cubicBezTo>
                    <a:pt x="0" y="77"/>
                    <a:pt x="4" y="71"/>
                    <a:pt x="4" y="71"/>
                  </a:cubicBezTo>
                  <a:cubicBezTo>
                    <a:pt x="7" y="64"/>
                    <a:pt x="10" y="67"/>
                    <a:pt x="10" y="67"/>
                  </a:cubicBezTo>
                  <a:cubicBezTo>
                    <a:pt x="13" y="72"/>
                    <a:pt x="17" y="66"/>
                    <a:pt x="17" y="66"/>
                  </a:cubicBezTo>
                  <a:cubicBezTo>
                    <a:pt x="24" y="58"/>
                    <a:pt x="27" y="63"/>
                    <a:pt x="29" y="61"/>
                  </a:cubicBezTo>
                  <a:cubicBezTo>
                    <a:pt x="35" y="54"/>
                    <a:pt x="41" y="55"/>
                    <a:pt x="41" y="55"/>
                  </a:cubicBezTo>
                  <a:cubicBezTo>
                    <a:pt x="46" y="57"/>
                    <a:pt x="44" y="53"/>
                    <a:pt x="44" y="53"/>
                  </a:cubicBezTo>
                  <a:cubicBezTo>
                    <a:pt x="42" y="51"/>
                    <a:pt x="46" y="47"/>
                    <a:pt x="46" y="47"/>
                  </a:cubicBezTo>
                  <a:cubicBezTo>
                    <a:pt x="47" y="39"/>
                    <a:pt x="51" y="41"/>
                    <a:pt x="51" y="41"/>
                  </a:cubicBezTo>
                  <a:cubicBezTo>
                    <a:pt x="60" y="39"/>
                    <a:pt x="68" y="41"/>
                    <a:pt x="68" y="41"/>
                  </a:cubicBezTo>
                  <a:cubicBezTo>
                    <a:pt x="69" y="45"/>
                    <a:pt x="74" y="41"/>
                    <a:pt x="74" y="41"/>
                  </a:cubicBezTo>
                  <a:cubicBezTo>
                    <a:pt x="79" y="38"/>
                    <a:pt x="81" y="42"/>
                    <a:pt x="81" y="42"/>
                  </a:cubicBezTo>
                  <a:cubicBezTo>
                    <a:pt x="82" y="45"/>
                    <a:pt x="90" y="40"/>
                    <a:pt x="90" y="40"/>
                  </a:cubicBezTo>
                  <a:cubicBezTo>
                    <a:pt x="89" y="36"/>
                    <a:pt x="93" y="32"/>
                    <a:pt x="93" y="32"/>
                  </a:cubicBezTo>
                  <a:cubicBezTo>
                    <a:pt x="91" y="25"/>
                    <a:pt x="98" y="27"/>
                    <a:pt x="98" y="27"/>
                  </a:cubicBezTo>
                  <a:cubicBezTo>
                    <a:pt x="102" y="25"/>
                    <a:pt x="109" y="28"/>
                    <a:pt x="109" y="28"/>
                  </a:cubicBezTo>
                  <a:cubicBezTo>
                    <a:pt x="111" y="35"/>
                    <a:pt x="114" y="29"/>
                    <a:pt x="114" y="29"/>
                  </a:cubicBezTo>
                  <a:cubicBezTo>
                    <a:pt x="118" y="24"/>
                    <a:pt x="120" y="28"/>
                    <a:pt x="120" y="28"/>
                  </a:cubicBezTo>
                  <a:cubicBezTo>
                    <a:pt x="125" y="31"/>
                    <a:pt x="124" y="24"/>
                    <a:pt x="124" y="24"/>
                  </a:cubicBezTo>
                  <a:cubicBezTo>
                    <a:pt x="124" y="20"/>
                    <a:pt x="128" y="19"/>
                    <a:pt x="128" y="19"/>
                  </a:cubicBezTo>
                  <a:cubicBezTo>
                    <a:pt x="130" y="18"/>
                    <a:pt x="133" y="14"/>
                    <a:pt x="133" y="14"/>
                  </a:cubicBezTo>
                  <a:cubicBezTo>
                    <a:pt x="134" y="17"/>
                    <a:pt x="137" y="17"/>
                    <a:pt x="137" y="17"/>
                  </a:cubicBezTo>
                  <a:cubicBezTo>
                    <a:pt x="142" y="20"/>
                    <a:pt x="143" y="25"/>
                    <a:pt x="143" y="25"/>
                  </a:cubicBezTo>
                  <a:cubicBezTo>
                    <a:pt x="147" y="27"/>
                    <a:pt x="150" y="23"/>
                    <a:pt x="150" y="23"/>
                  </a:cubicBezTo>
                  <a:cubicBezTo>
                    <a:pt x="153" y="21"/>
                    <a:pt x="153" y="26"/>
                    <a:pt x="157" y="22"/>
                  </a:cubicBezTo>
                  <a:cubicBezTo>
                    <a:pt x="160" y="19"/>
                    <a:pt x="157" y="13"/>
                    <a:pt x="157" y="13"/>
                  </a:cubicBezTo>
                  <a:cubicBezTo>
                    <a:pt x="155" y="7"/>
                    <a:pt x="151" y="8"/>
                    <a:pt x="155" y="0"/>
                  </a:cubicBezTo>
                  <a:cubicBezTo>
                    <a:pt x="159" y="1"/>
                    <a:pt x="160" y="4"/>
                    <a:pt x="160" y="4"/>
                  </a:cubicBezTo>
                  <a:cubicBezTo>
                    <a:pt x="170" y="5"/>
                    <a:pt x="173" y="9"/>
                    <a:pt x="173" y="9"/>
                  </a:cubicBezTo>
                  <a:cubicBezTo>
                    <a:pt x="176" y="12"/>
                    <a:pt x="177" y="15"/>
                    <a:pt x="177" y="15"/>
                  </a:cubicBezTo>
                  <a:cubicBezTo>
                    <a:pt x="184" y="15"/>
                    <a:pt x="183" y="19"/>
                    <a:pt x="183" y="19"/>
                  </a:cubicBezTo>
                  <a:cubicBezTo>
                    <a:pt x="185" y="28"/>
                    <a:pt x="188" y="23"/>
                    <a:pt x="191" y="25"/>
                  </a:cubicBezTo>
                  <a:cubicBezTo>
                    <a:pt x="194" y="27"/>
                    <a:pt x="198" y="26"/>
                    <a:pt x="198" y="26"/>
                  </a:cubicBezTo>
                  <a:cubicBezTo>
                    <a:pt x="211" y="23"/>
                    <a:pt x="213" y="29"/>
                    <a:pt x="213" y="29"/>
                  </a:cubicBezTo>
                  <a:lnTo>
                    <a:pt x="208" y="36"/>
                  </a:lnTo>
                  <a:cubicBezTo>
                    <a:pt x="208" y="36"/>
                    <a:pt x="207" y="32"/>
                    <a:pt x="200" y="35"/>
                  </a:cubicBezTo>
                  <a:cubicBezTo>
                    <a:pt x="200" y="35"/>
                    <a:pt x="188" y="35"/>
                    <a:pt x="200" y="41"/>
                  </a:cubicBezTo>
                  <a:cubicBezTo>
                    <a:pt x="200" y="41"/>
                    <a:pt x="206" y="41"/>
                    <a:pt x="208" y="44"/>
                  </a:cubicBezTo>
                  <a:cubicBezTo>
                    <a:pt x="208" y="44"/>
                    <a:pt x="207" y="47"/>
                    <a:pt x="202" y="50"/>
                  </a:cubicBezTo>
                  <a:lnTo>
                    <a:pt x="195" y="53"/>
                  </a:lnTo>
                  <a:cubicBezTo>
                    <a:pt x="195" y="53"/>
                    <a:pt x="188" y="56"/>
                    <a:pt x="192" y="61"/>
                  </a:cubicBezTo>
                  <a:cubicBezTo>
                    <a:pt x="192" y="61"/>
                    <a:pt x="194" y="63"/>
                    <a:pt x="194" y="70"/>
                  </a:cubicBezTo>
                  <a:cubicBezTo>
                    <a:pt x="194" y="70"/>
                    <a:pt x="198" y="78"/>
                    <a:pt x="188" y="83"/>
                  </a:cubicBezTo>
                  <a:cubicBezTo>
                    <a:pt x="188" y="83"/>
                    <a:pt x="182" y="83"/>
                    <a:pt x="181" y="89"/>
                  </a:cubicBezTo>
                  <a:cubicBezTo>
                    <a:pt x="181" y="89"/>
                    <a:pt x="173" y="91"/>
                    <a:pt x="171" y="97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27" name="Freeform 1172">
              <a:extLst>
                <a:ext uri="{FF2B5EF4-FFF2-40B4-BE49-F238E27FC236}">
                  <a16:creationId xmlns:a16="http://schemas.microsoft.com/office/drawing/2014/main" id="{3DEA8032-2A0A-4CC2-9B15-00FBC8B0B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0283" y="3578018"/>
              <a:ext cx="1447844" cy="960481"/>
            </a:xfrm>
            <a:custGeom>
              <a:avLst/>
              <a:gdLst>
                <a:gd name="T0" fmla="*/ 1444625 w 205"/>
                <a:gd name="T1" fmla="*/ 793750 h 136"/>
                <a:gd name="T2" fmla="*/ 1357312 w 205"/>
                <a:gd name="T3" fmla="*/ 793750 h 136"/>
                <a:gd name="T4" fmla="*/ 1285875 w 205"/>
                <a:gd name="T5" fmla="*/ 769938 h 136"/>
                <a:gd name="T6" fmla="*/ 1262062 w 205"/>
                <a:gd name="T7" fmla="*/ 666750 h 136"/>
                <a:gd name="T8" fmla="*/ 1190625 w 205"/>
                <a:gd name="T9" fmla="*/ 658813 h 136"/>
                <a:gd name="T10" fmla="*/ 1063625 w 205"/>
                <a:gd name="T11" fmla="*/ 650875 h 136"/>
                <a:gd name="T12" fmla="*/ 912812 w 205"/>
                <a:gd name="T13" fmla="*/ 650875 h 136"/>
                <a:gd name="T14" fmla="*/ 881062 w 205"/>
                <a:gd name="T15" fmla="*/ 650875 h 136"/>
                <a:gd name="T16" fmla="*/ 769937 w 205"/>
                <a:gd name="T17" fmla="*/ 698500 h 136"/>
                <a:gd name="T18" fmla="*/ 801687 w 205"/>
                <a:gd name="T19" fmla="*/ 754063 h 136"/>
                <a:gd name="T20" fmla="*/ 801687 w 205"/>
                <a:gd name="T21" fmla="*/ 833438 h 136"/>
                <a:gd name="T22" fmla="*/ 817562 w 205"/>
                <a:gd name="T23" fmla="*/ 968375 h 136"/>
                <a:gd name="T24" fmla="*/ 738187 w 205"/>
                <a:gd name="T25" fmla="*/ 1008063 h 136"/>
                <a:gd name="T26" fmla="*/ 587375 w 205"/>
                <a:gd name="T27" fmla="*/ 1047750 h 136"/>
                <a:gd name="T28" fmla="*/ 452437 w 205"/>
                <a:gd name="T29" fmla="*/ 1063625 h 136"/>
                <a:gd name="T30" fmla="*/ 373062 w 205"/>
                <a:gd name="T31" fmla="*/ 1055688 h 136"/>
                <a:gd name="T32" fmla="*/ 222250 w 205"/>
                <a:gd name="T33" fmla="*/ 1039813 h 136"/>
                <a:gd name="T34" fmla="*/ 150812 w 205"/>
                <a:gd name="T35" fmla="*/ 1039813 h 136"/>
                <a:gd name="T36" fmla="*/ 63500 w 205"/>
                <a:gd name="T37" fmla="*/ 1016000 h 136"/>
                <a:gd name="T38" fmla="*/ 47625 w 205"/>
                <a:gd name="T39" fmla="*/ 928688 h 136"/>
                <a:gd name="T40" fmla="*/ 39687 w 205"/>
                <a:gd name="T41" fmla="*/ 809625 h 136"/>
                <a:gd name="T42" fmla="*/ 119062 w 205"/>
                <a:gd name="T43" fmla="*/ 698500 h 136"/>
                <a:gd name="T44" fmla="*/ 222250 w 205"/>
                <a:gd name="T45" fmla="*/ 547688 h 136"/>
                <a:gd name="T46" fmla="*/ 230187 w 205"/>
                <a:gd name="T47" fmla="*/ 412750 h 136"/>
                <a:gd name="T48" fmla="*/ 285750 w 205"/>
                <a:gd name="T49" fmla="*/ 388938 h 136"/>
                <a:gd name="T50" fmla="*/ 333375 w 205"/>
                <a:gd name="T51" fmla="*/ 341313 h 136"/>
                <a:gd name="T52" fmla="*/ 269875 w 205"/>
                <a:gd name="T53" fmla="*/ 269875 h 136"/>
                <a:gd name="T54" fmla="*/ 333375 w 205"/>
                <a:gd name="T55" fmla="*/ 277813 h 136"/>
                <a:gd name="T56" fmla="*/ 373062 w 205"/>
                <a:gd name="T57" fmla="*/ 222250 h 136"/>
                <a:gd name="T58" fmla="*/ 515937 w 205"/>
                <a:gd name="T59" fmla="*/ 269875 h 136"/>
                <a:gd name="T60" fmla="*/ 539750 w 205"/>
                <a:gd name="T61" fmla="*/ 142875 h 136"/>
                <a:gd name="T62" fmla="*/ 690562 w 205"/>
                <a:gd name="T63" fmla="*/ 31750 h 136"/>
                <a:gd name="T64" fmla="*/ 896937 w 205"/>
                <a:gd name="T65" fmla="*/ 55563 h 136"/>
                <a:gd name="T66" fmla="*/ 1127125 w 205"/>
                <a:gd name="T67" fmla="*/ 127000 h 136"/>
                <a:gd name="T68" fmla="*/ 1270000 w 205"/>
                <a:gd name="T69" fmla="*/ 246063 h 136"/>
                <a:gd name="T70" fmla="*/ 1341437 w 205"/>
                <a:gd name="T71" fmla="*/ 333375 h 136"/>
                <a:gd name="T72" fmla="*/ 1452562 w 205"/>
                <a:gd name="T73" fmla="*/ 301625 h 136"/>
                <a:gd name="T74" fmla="*/ 1531937 w 205"/>
                <a:gd name="T75" fmla="*/ 325438 h 136"/>
                <a:gd name="T76" fmla="*/ 1587500 w 205"/>
                <a:gd name="T77" fmla="*/ 325438 h 136"/>
                <a:gd name="T78" fmla="*/ 1579562 w 205"/>
                <a:gd name="T79" fmla="*/ 484188 h 136"/>
                <a:gd name="T80" fmla="*/ 1603375 w 205"/>
                <a:gd name="T81" fmla="*/ 563563 h 136"/>
                <a:gd name="T82" fmla="*/ 1555750 w 205"/>
                <a:gd name="T83" fmla="*/ 650875 h 136"/>
                <a:gd name="T84" fmla="*/ 1492250 w 205"/>
                <a:gd name="T85" fmla="*/ 698500 h 136"/>
                <a:gd name="T86" fmla="*/ 1492250 w 205"/>
                <a:gd name="T87" fmla="*/ 785813 h 136"/>
                <a:gd name="T88" fmla="*/ 1492250 w 205"/>
                <a:gd name="T89" fmla="*/ 785813 h 1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05"/>
                <a:gd name="T136" fmla="*/ 0 h 136"/>
                <a:gd name="T137" fmla="*/ 205 w 205"/>
                <a:gd name="T138" fmla="*/ 136 h 1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05" h="136">
                  <a:moveTo>
                    <a:pt x="188" y="99"/>
                  </a:moveTo>
                  <a:cubicBezTo>
                    <a:pt x="183" y="97"/>
                    <a:pt x="182" y="100"/>
                    <a:pt x="182" y="100"/>
                  </a:cubicBezTo>
                  <a:cubicBezTo>
                    <a:pt x="180" y="102"/>
                    <a:pt x="177" y="99"/>
                    <a:pt x="177" y="99"/>
                  </a:cubicBezTo>
                  <a:cubicBezTo>
                    <a:pt x="172" y="104"/>
                    <a:pt x="171" y="100"/>
                    <a:pt x="171" y="100"/>
                  </a:cubicBezTo>
                  <a:cubicBezTo>
                    <a:pt x="167" y="96"/>
                    <a:pt x="166" y="99"/>
                    <a:pt x="166" y="99"/>
                  </a:cubicBezTo>
                  <a:cubicBezTo>
                    <a:pt x="162" y="101"/>
                    <a:pt x="162" y="97"/>
                    <a:pt x="162" y="97"/>
                  </a:cubicBezTo>
                  <a:cubicBezTo>
                    <a:pt x="168" y="93"/>
                    <a:pt x="161" y="92"/>
                    <a:pt x="161" y="92"/>
                  </a:cubicBezTo>
                  <a:cubicBezTo>
                    <a:pt x="157" y="87"/>
                    <a:pt x="159" y="84"/>
                    <a:pt x="159" y="84"/>
                  </a:cubicBezTo>
                  <a:cubicBezTo>
                    <a:pt x="156" y="87"/>
                    <a:pt x="155" y="85"/>
                    <a:pt x="155" y="85"/>
                  </a:cubicBezTo>
                  <a:cubicBezTo>
                    <a:pt x="155" y="79"/>
                    <a:pt x="150" y="83"/>
                    <a:pt x="150" y="83"/>
                  </a:cubicBezTo>
                  <a:cubicBezTo>
                    <a:pt x="145" y="84"/>
                    <a:pt x="143" y="81"/>
                    <a:pt x="143" y="81"/>
                  </a:cubicBezTo>
                  <a:cubicBezTo>
                    <a:pt x="138" y="77"/>
                    <a:pt x="134" y="82"/>
                    <a:pt x="134" y="82"/>
                  </a:cubicBezTo>
                  <a:cubicBezTo>
                    <a:pt x="130" y="85"/>
                    <a:pt x="126" y="82"/>
                    <a:pt x="126" y="82"/>
                  </a:cubicBezTo>
                  <a:cubicBezTo>
                    <a:pt x="118" y="80"/>
                    <a:pt x="115" y="82"/>
                    <a:pt x="115" y="82"/>
                  </a:cubicBezTo>
                  <a:cubicBezTo>
                    <a:pt x="114" y="82"/>
                    <a:pt x="114" y="82"/>
                    <a:pt x="113" y="81"/>
                  </a:cubicBezTo>
                  <a:cubicBezTo>
                    <a:pt x="112" y="81"/>
                    <a:pt x="112" y="81"/>
                    <a:pt x="111" y="82"/>
                  </a:cubicBezTo>
                  <a:cubicBezTo>
                    <a:pt x="105" y="80"/>
                    <a:pt x="104" y="85"/>
                    <a:pt x="104" y="85"/>
                  </a:cubicBezTo>
                  <a:cubicBezTo>
                    <a:pt x="96" y="84"/>
                    <a:pt x="97" y="88"/>
                    <a:pt x="97" y="88"/>
                  </a:cubicBezTo>
                  <a:cubicBezTo>
                    <a:pt x="98" y="90"/>
                    <a:pt x="95" y="92"/>
                    <a:pt x="95" y="92"/>
                  </a:cubicBezTo>
                  <a:cubicBezTo>
                    <a:pt x="98" y="92"/>
                    <a:pt x="101" y="95"/>
                    <a:pt x="101" y="95"/>
                  </a:cubicBezTo>
                  <a:cubicBezTo>
                    <a:pt x="104" y="97"/>
                    <a:pt x="96" y="96"/>
                    <a:pt x="96" y="100"/>
                  </a:cubicBezTo>
                  <a:cubicBezTo>
                    <a:pt x="96" y="102"/>
                    <a:pt x="101" y="105"/>
                    <a:pt x="101" y="105"/>
                  </a:cubicBezTo>
                  <a:cubicBezTo>
                    <a:pt x="99" y="114"/>
                    <a:pt x="107" y="111"/>
                    <a:pt x="103" y="116"/>
                  </a:cubicBezTo>
                  <a:cubicBezTo>
                    <a:pt x="102" y="118"/>
                    <a:pt x="103" y="122"/>
                    <a:pt x="103" y="122"/>
                  </a:cubicBezTo>
                  <a:cubicBezTo>
                    <a:pt x="104" y="130"/>
                    <a:pt x="100" y="128"/>
                    <a:pt x="100" y="128"/>
                  </a:cubicBezTo>
                  <a:cubicBezTo>
                    <a:pt x="94" y="129"/>
                    <a:pt x="93" y="127"/>
                    <a:pt x="93" y="127"/>
                  </a:cubicBezTo>
                  <a:cubicBezTo>
                    <a:pt x="86" y="124"/>
                    <a:pt x="81" y="128"/>
                    <a:pt x="81" y="128"/>
                  </a:cubicBezTo>
                  <a:cubicBezTo>
                    <a:pt x="79" y="130"/>
                    <a:pt x="74" y="132"/>
                    <a:pt x="74" y="132"/>
                  </a:cubicBezTo>
                  <a:cubicBezTo>
                    <a:pt x="70" y="131"/>
                    <a:pt x="68" y="134"/>
                    <a:pt x="68" y="134"/>
                  </a:cubicBezTo>
                  <a:cubicBezTo>
                    <a:pt x="63" y="134"/>
                    <a:pt x="57" y="134"/>
                    <a:pt x="57" y="134"/>
                  </a:cubicBezTo>
                  <a:cubicBezTo>
                    <a:pt x="54" y="135"/>
                    <a:pt x="53" y="133"/>
                    <a:pt x="53" y="133"/>
                  </a:cubicBezTo>
                  <a:cubicBezTo>
                    <a:pt x="49" y="130"/>
                    <a:pt x="47" y="133"/>
                    <a:pt x="47" y="133"/>
                  </a:cubicBezTo>
                  <a:cubicBezTo>
                    <a:pt x="35" y="136"/>
                    <a:pt x="36" y="131"/>
                    <a:pt x="36" y="131"/>
                  </a:cubicBezTo>
                  <a:cubicBezTo>
                    <a:pt x="32" y="125"/>
                    <a:pt x="28" y="131"/>
                    <a:pt x="28" y="131"/>
                  </a:cubicBezTo>
                  <a:cubicBezTo>
                    <a:pt x="27" y="133"/>
                    <a:pt x="23" y="130"/>
                    <a:pt x="23" y="133"/>
                  </a:cubicBezTo>
                  <a:cubicBezTo>
                    <a:pt x="22" y="136"/>
                    <a:pt x="19" y="131"/>
                    <a:pt x="19" y="131"/>
                  </a:cubicBezTo>
                  <a:cubicBezTo>
                    <a:pt x="18" y="130"/>
                    <a:pt x="14" y="130"/>
                    <a:pt x="14" y="130"/>
                  </a:cubicBezTo>
                  <a:cubicBezTo>
                    <a:pt x="12" y="127"/>
                    <a:pt x="8" y="128"/>
                    <a:pt x="8" y="128"/>
                  </a:cubicBezTo>
                  <a:cubicBezTo>
                    <a:pt x="2" y="127"/>
                    <a:pt x="4" y="123"/>
                    <a:pt x="4" y="123"/>
                  </a:cubicBezTo>
                  <a:cubicBezTo>
                    <a:pt x="0" y="116"/>
                    <a:pt x="6" y="117"/>
                    <a:pt x="6" y="117"/>
                  </a:cubicBezTo>
                  <a:cubicBezTo>
                    <a:pt x="9" y="115"/>
                    <a:pt x="6" y="108"/>
                    <a:pt x="6" y="108"/>
                  </a:cubicBezTo>
                  <a:cubicBezTo>
                    <a:pt x="8" y="103"/>
                    <a:pt x="5" y="102"/>
                    <a:pt x="5" y="102"/>
                  </a:cubicBezTo>
                  <a:cubicBezTo>
                    <a:pt x="3" y="99"/>
                    <a:pt x="5" y="96"/>
                    <a:pt x="5" y="96"/>
                  </a:cubicBezTo>
                  <a:cubicBezTo>
                    <a:pt x="7" y="89"/>
                    <a:pt x="15" y="88"/>
                    <a:pt x="15" y="88"/>
                  </a:cubicBezTo>
                  <a:cubicBezTo>
                    <a:pt x="16" y="82"/>
                    <a:pt x="22" y="82"/>
                    <a:pt x="22" y="82"/>
                  </a:cubicBezTo>
                  <a:cubicBezTo>
                    <a:pt x="32" y="77"/>
                    <a:pt x="28" y="69"/>
                    <a:pt x="28" y="69"/>
                  </a:cubicBezTo>
                  <a:cubicBezTo>
                    <a:pt x="28" y="62"/>
                    <a:pt x="26" y="60"/>
                    <a:pt x="26" y="60"/>
                  </a:cubicBezTo>
                  <a:cubicBezTo>
                    <a:pt x="22" y="55"/>
                    <a:pt x="29" y="52"/>
                    <a:pt x="29" y="52"/>
                  </a:cubicBezTo>
                  <a:lnTo>
                    <a:pt x="36" y="49"/>
                  </a:lnTo>
                  <a:cubicBezTo>
                    <a:pt x="41" y="46"/>
                    <a:pt x="42" y="43"/>
                    <a:pt x="42" y="43"/>
                  </a:cubicBezTo>
                  <a:cubicBezTo>
                    <a:pt x="40" y="40"/>
                    <a:pt x="34" y="40"/>
                    <a:pt x="34" y="40"/>
                  </a:cubicBezTo>
                  <a:cubicBezTo>
                    <a:pt x="22" y="34"/>
                    <a:pt x="34" y="34"/>
                    <a:pt x="34" y="34"/>
                  </a:cubicBezTo>
                  <a:cubicBezTo>
                    <a:pt x="41" y="31"/>
                    <a:pt x="42" y="35"/>
                    <a:pt x="42" y="35"/>
                  </a:cubicBezTo>
                  <a:lnTo>
                    <a:pt x="47" y="28"/>
                  </a:lnTo>
                  <a:cubicBezTo>
                    <a:pt x="50" y="30"/>
                    <a:pt x="56" y="33"/>
                    <a:pt x="56" y="33"/>
                  </a:cubicBezTo>
                  <a:cubicBezTo>
                    <a:pt x="64" y="38"/>
                    <a:pt x="65" y="34"/>
                    <a:pt x="65" y="34"/>
                  </a:cubicBezTo>
                  <a:cubicBezTo>
                    <a:pt x="65" y="34"/>
                    <a:pt x="68" y="31"/>
                    <a:pt x="66" y="25"/>
                  </a:cubicBezTo>
                  <a:cubicBezTo>
                    <a:pt x="66" y="25"/>
                    <a:pt x="62" y="24"/>
                    <a:pt x="68" y="18"/>
                  </a:cubicBezTo>
                  <a:cubicBezTo>
                    <a:pt x="68" y="18"/>
                    <a:pt x="69" y="10"/>
                    <a:pt x="75" y="10"/>
                  </a:cubicBezTo>
                  <a:cubicBezTo>
                    <a:pt x="80" y="4"/>
                    <a:pt x="85" y="6"/>
                    <a:pt x="87" y="4"/>
                  </a:cubicBezTo>
                  <a:cubicBezTo>
                    <a:pt x="90" y="1"/>
                    <a:pt x="95" y="4"/>
                    <a:pt x="99" y="2"/>
                  </a:cubicBezTo>
                  <a:cubicBezTo>
                    <a:pt x="100" y="4"/>
                    <a:pt x="109" y="0"/>
                    <a:pt x="113" y="7"/>
                  </a:cubicBezTo>
                  <a:cubicBezTo>
                    <a:pt x="121" y="13"/>
                    <a:pt x="124" y="17"/>
                    <a:pt x="129" y="16"/>
                  </a:cubicBezTo>
                  <a:cubicBezTo>
                    <a:pt x="135" y="17"/>
                    <a:pt x="142" y="16"/>
                    <a:pt x="142" y="16"/>
                  </a:cubicBezTo>
                  <a:cubicBezTo>
                    <a:pt x="153" y="9"/>
                    <a:pt x="153" y="23"/>
                    <a:pt x="153" y="23"/>
                  </a:cubicBezTo>
                  <a:cubicBezTo>
                    <a:pt x="162" y="27"/>
                    <a:pt x="160" y="31"/>
                    <a:pt x="160" y="31"/>
                  </a:cubicBezTo>
                  <a:cubicBezTo>
                    <a:pt x="161" y="35"/>
                    <a:pt x="164" y="36"/>
                    <a:pt x="164" y="36"/>
                  </a:cubicBezTo>
                  <a:cubicBezTo>
                    <a:pt x="170" y="38"/>
                    <a:pt x="169" y="42"/>
                    <a:pt x="169" y="42"/>
                  </a:cubicBezTo>
                  <a:cubicBezTo>
                    <a:pt x="169" y="51"/>
                    <a:pt x="174" y="42"/>
                    <a:pt x="174" y="42"/>
                  </a:cubicBezTo>
                  <a:cubicBezTo>
                    <a:pt x="177" y="34"/>
                    <a:pt x="183" y="38"/>
                    <a:pt x="183" y="38"/>
                  </a:cubicBezTo>
                  <a:cubicBezTo>
                    <a:pt x="184" y="42"/>
                    <a:pt x="190" y="38"/>
                    <a:pt x="190" y="38"/>
                  </a:cubicBezTo>
                  <a:cubicBezTo>
                    <a:pt x="196" y="40"/>
                    <a:pt x="193" y="41"/>
                    <a:pt x="193" y="41"/>
                  </a:cubicBezTo>
                  <a:cubicBezTo>
                    <a:pt x="190" y="44"/>
                    <a:pt x="195" y="46"/>
                    <a:pt x="195" y="42"/>
                  </a:cubicBezTo>
                  <a:cubicBezTo>
                    <a:pt x="197" y="40"/>
                    <a:pt x="200" y="41"/>
                    <a:pt x="200" y="41"/>
                  </a:cubicBezTo>
                  <a:cubicBezTo>
                    <a:pt x="201" y="43"/>
                    <a:pt x="196" y="45"/>
                    <a:pt x="197" y="50"/>
                  </a:cubicBezTo>
                  <a:cubicBezTo>
                    <a:pt x="195" y="61"/>
                    <a:pt x="199" y="61"/>
                    <a:pt x="199" y="61"/>
                  </a:cubicBezTo>
                  <a:cubicBezTo>
                    <a:pt x="203" y="62"/>
                    <a:pt x="204" y="66"/>
                    <a:pt x="204" y="66"/>
                  </a:cubicBezTo>
                  <a:cubicBezTo>
                    <a:pt x="205" y="70"/>
                    <a:pt x="202" y="71"/>
                    <a:pt x="202" y="71"/>
                  </a:cubicBezTo>
                  <a:cubicBezTo>
                    <a:pt x="199" y="72"/>
                    <a:pt x="202" y="78"/>
                    <a:pt x="202" y="78"/>
                  </a:cubicBezTo>
                  <a:cubicBezTo>
                    <a:pt x="205" y="85"/>
                    <a:pt x="196" y="82"/>
                    <a:pt x="196" y="82"/>
                  </a:cubicBezTo>
                  <a:cubicBezTo>
                    <a:pt x="191" y="75"/>
                    <a:pt x="188" y="80"/>
                    <a:pt x="188" y="80"/>
                  </a:cubicBezTo>
                  <a:cubicBezTo>
                    <a:pt x="184" y="85"/>
                    <a:pt x="188" y="88"/>
                    <a:pt x="188" y="88"/>
                  </a:cubicBezTo>
                  <a:cubicBezTo>
                    <a:pt x="192" y="91"/>
                    <a:pt x="188" y="92"/>
                    <a:pt x="188" y="92"/>
                  </a:cubicBezTo>
                  <a:cubicBezTo>
                    <a:pt x="182" y="93"/>
                    <a:pt x="188" y="99"/>
                    <a:pt x="188" y="99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28" name="Freeform 1173">
              <a:extLst>
                <a:ext uri="{FF2B5EF4-FFF2-40B4-BE49-F238E27FC236}">
                  <a16:creationId xmlns:a16="http://schemas.microsoft.com/office/drawing/2014/main" id="{0951C6FB-DCFA-432C-A9E6-440D2A894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5400" y="2857659"/>
              <a:ext cx="1193587" cy="988731"/>
            </a:xfrm>
            <a:custGeom>
              <a:avLst/>
              <a:gdLst>
                <a:gd name="T0" fmla="*/ 1095375 w 169"/>
                <a:gd name="T1" fmla="*/ 238125 h 140"/>
                <a:gd name="T2" fmla="*/ 1087437 w 169"/>
                <a:gd name="T3" fmla="*/ 309563 h 140"/>
                <a:gd name="T4" fmla="*/ 1095375 w 169"/>
                <a:gd name="T5" fmla="*/ 381000 h 140"/>
                <a:gd name="T6" fmla="*/ 1174750 w 169"/>
                <a:gd name="T7" fmla="*/ 412750 h 140"/>
                <a:gd name="T8" fmla="*/ 1222375 w 169"/>
                <a:gd name="T9" fmla="*/ 460375 h 140"/>
                <a:gd name="T10" fmla="*/ 1285875 w 169"/>
                <a:gd name="T11" fmla="*/ 515938 h 140"/>
                <a:gd name="T12" fmla="*/ 1317625 w 169"/>
                <a:gd name="T13" fmla="*/ 539750 h 140"/>
                <a:gd name="T14" fmla="*/ 1309687 w 169"/>
                <a:gd name="T15" fmla="*/ 619125 h 140"/>
                <a:gd name="T16" fmla="*/ 1285875 w 169"/>
                <a:gd name="T17" fmla="*/ 666750 h 140"/>
                <a:gd name="T18" fmla="*/ 1277937 w 169"/>
                <a:gd name="T19" fmla="*/ 722313 h 140"/>
                <a:gd name="T20" fmla="*/ 1206500 w 169"/>
                <a:gd name="T21" fmla="*/ 738188 h 140"/>
                <a:gd name="T22" fmla="*/ 1150937 w 169"/>
                <a:gd name="T23" fmla="*/ 825500 h 140"/>
                <a:gd name="T24" fmla="*/ 1055687 w 169"/>
                <a:gd name="T25" fmla="*/ 841375 h 140"/>
                <a:gd name="T26" fmla="*/ 952500 w 169"/>
                <a:gd name="T27" fmla="*/ 889000 h 140"/>
                <a:gd name="T28" fmla="*/ 904875 w 169"/>
                <a:gd name="T29" fmla="*/ 952500 h 140"/>
                <a:gd name="T30" fmla="*/ 889000 w 169"/>
                <a:gd name="T31" fmla="*/ 1008063 h 140"/>
                <a:gd name="T32" fmla="*/ 881062 w 169"/>
                <a:gd name="T33" fmla="*/ 1079500 h 140"/>
                <a:gd name="T34" fmla="*/ 809625 w 169"/>
                <a:gd name="T35" fmla="*/ 1071563 h 140"/>
                <a:gd name="T36" fmla="*/ 738187 w 169"/>
                <a:gd name="T37" fmla="*/ 1031875 h 140"/>
                <a:gd name="T38" fmla="*/ 619125 w 169"/>
                <a:gd name="T39" fmla="*/ 1008063 h 140"/>
                <a:gd name="T40" fmla="*/ 563562 w 169"/>
                <a:gd name="T41" fmla="*/ 1000125 h 140"/>
                <a:gd name="T42" fmla="*/ 500062 w 169"/>
                <a:gd name="T43" fmla="*/ 952500 h 140"/>
                <a:gd name="T44" fmla="*/ 452437 w 169"/>
                <a:gd name="T45" fmla="*/ 920750 h 140"/>
                <a:gd name="T46" fmla="*/ 420687 w 169"/>
                <a:gd name="T47" fmla="*/ 873125 h 140"/>
                <a:gd name="T48" fmla="*/ 317500 w 169"/>
                <a:gd name="T49" fmla="*/ 833438 h 140"/>
                <a:gd name="T50" fmla="*/ 277812 w 169"/>
                <a:gd name="T51" fmla="*/ 801688 h 140"/>
                <a:gd name="T52" fmla="*/ 254000 w 169"/>
                <a:gd name="T53" fmla="*/ 706438 h 140"/>
                <a:gd name="T54" fmla="*/ 246062 w 169"/>
                <a:gd name="T55" fmla="*/ 635000 h 140"/>
                <a:gd name="T56" fmla="*/ 246062 w 169"/>
                <a:gd name="T57" fmla="*/ 587375 h 140"/>
                <a:gd name="T58" fmla="*/ 190500 w 169"/>
                <a:gd name="T59" fmla="*/ 539750 h 140"/>
                <a:gd name="T60" fmla="*/ 142875 w 169"/>
                <a:gd name="T61" fmla="*/ 484188 h 140"/>
                <a:gd name="T62" fmla="*/ 119062 w 169"/>
                <a:gd name="T63" fmla="*/ 428625 h 140"/>
                <a:gd name="T64" fmla="*/ 111125 w 169"/>
                <a:gd name="T65" fmla="*/ 373063 h 140"/>
                <a:gd name="T66" fmla="*/ 79375 w 169"/>
                <a:gd name="T67" fmla="*/ 333375 h 140"/>
                <a:gd name="T68" fmla="*/ 47625 w 169"/>
                <a:gd name="T69" fmla="*/ 269875 h 140"/>
                <a:gd name="T70" fmla="*/ 0 w 169"/>
                <a:gd name="T71" fmla="*/ 214313 h 140"/>
                <a:gd name="T72" fmla="*/ 7937 w 169"/>
                <a:gd name="T73" fmla="*/ 158750 h 140"/>
                <a:gd name="T74" fmla="*/ 71437 w 169"/>
                <a:gd name="T75" fmla="*/ 127000 h 140"/>
                <a:gd name="T76" fmla="*/ 150812 w 169"/>
                <a:gd name="T77" fmla="*/ 127000 h 140"/>
                <a:gd name="T78" fmla="*/ 254000 w 169"/>
                <a:gd name="T79" fmla="*/ 127000 h 140"/>
                <a:gd name="T80" fmla="*/ 317500 w 169"/>
                <a:gd name="T81" fmla="*/ 87313 h 140"/>
                <a:gd name="T82" fmla="*/ 365125 w 169"/>
                <a:gd name="T83" fmla="*/ 31750 h 140"/>
                <a:gd name="T84" fmla="*/ 420687 w 169"/>
                <a:gd name="T85" fmla="*/ 31750 h 140"/>
                <a:gd name="T86" fmla="*/ 492125 w 169"/>
                <a:gd name="T87" fmla="*/ 39688 h 140"/>
                <a:gd name="T88" fmla="*/ 603250 w 169"/>
                <a:gd name="T89" fmla="*/ 55563 h 140"/>
                <a:gd name="T90" fmla="*/ 666750 w 169"/>
                <a:gd name="T91" fmla="*/ 39688 h 140"/>
                <a:gd name="T92" fmla="*/ 714375 w 169"/>
                <a:gd name="T93" fmla="*/ 39688 h 140"/>
                <a:gd name="T94" fmla="*/ 769937 w 169"/>
                <a:gd name="T95" fmla="*/ 39688 h 140"/>
                <a:gd name="T96" fmla="*/ 825500 w 169"/>
                <a:gd name="T97" fmla="*/ 7938 h 140"/>
                <a:gd name="T98" fmla="*/ 857250 w 169"/>
                <a:gd name="T99" fmla="*/ 103188 h 140"/>
                <a:gd name="T100" fmla="*/ 889000 w 169"/>
                <a:gd name="T101" fmla="*/ 174625 h 140"/>
                <a:gd name="T102" fmla="*/ 904875 w 169"/>
                <a:gd name="T103" fmla="*/ 198438 h 140"/>
                <a:gd name="T104" fmla="*/ 920750 w 169"/>
                <a:gd name="T105" fmla="*/ 230188 h 140"/>
                <a:gd name="T106" fmla="*/ 944562 w 169"/>
                <a:gd name="T107" fmla="*/ 261938 h 140"/>
                <a:gd name="T108" fmla="*/ 1016000 w 169"/>
                <a:gd name="T109" fmla="*/ 238125 h 140"/>
                <a:gd name="T110" fmla="*/ 1095375 w 169"/>
                <a:gd name="T111" fmla="*/ 238125 h 140"/>
                <a:gd name="T112" fmla="*/ 1095375 w 169"/>
                <a:gd name="T113" fmla="*/ 238125 h 140"/>
                <a:gd name="T114" fmla="*/ 1095375 w 169"/>
                <a:gd name="T115" fmla="*/ 238125 h 14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69"/>
                <a:gd name="T175" fmla="*/ 0 h 140"/>
                <a:gd name="T176" fmla="*/ 169 w 169"/>
                <a:gd name="T177" fmla="*/ 140 h 14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69" h="140">
                  <a:moveTo>
                    <a:pt x="138" y="30"/>
                  </a:moveTo>
                  <a:cubicBezTo>
                    <a:pt x="139" y="36"/>
                    <a:pt x="137" y="39"/>
                    <a:pt x="137" y="39"/>
                  </a:cubicBezTo>
                  <a:cubicBezTo>
                    <a:pt x="132" y="46"/>
                    <a:pt x="138" y="48"/>
                    <a:pt x="138" y="48"/>
                  </a:cubicBezTo>
                  <a:cubicBezTo>
                    <a:pt x="140" y="50"/>
                    <a:pt x="144" y="47"/>
                    <a:pt x="148" y="52"/>
                  </a:cubicBezTo>
                  <a:cubicBezTo>
                    <a:pt x="156" y="52"/>
                    <a:pt x="154" y="58"/>
                    <a:pt x="154" y="58"/>
                  </a:cubicBezTo>
                  <a:cubicBezTo>
                    <a:pt x="156" y="67"/>
                    <a:pt x="162" y="65"/>
                    <a:pt x="162" y="65"/>
                  </a:cubicBezTo>
                  <a:cubicBezTo>
                    <a:pt x="166" y="62"/>
                    <a:pt x="166" y="68"/>
                    <a:pt x="166" y="68"/>
                  </a:cubicBezTo>
                  <a:cubicBezTo>
                    <a:pt x="169" y="79"/>
                    <a:pt x="165" y="78"/>
                    <a:pt x="165" y="78"/>
                  </a:cubicBezTo>
                  <a:cubicBezTo>
                    <a:pt x="159" y="78"/>
                    <a:pt x="162" y="84"/>
                    <a:pt x="162" y="84"/>
                  </a:cubicBezTo>
                  <a:cubicBezTo>
                    <a:pt x="166" y="86"/>
                    <a:pt x="161" y="91"/>
                    <a:pt x="161" y="91"/>
                  </a:cubicBezTo>
                  <a:cubicBezTo>
                    <a:pt x="158" y="95"/>
                    <a:pt x="152" y="93"/>
                    <a:pt x="152" y="93"/>
                  </a:cubicBezTo>
                  <a:cubicBezTo>
                    <a:pt x="139" y="89"/>
                    <a:pt x="145" y="104"/>
                    <a:pt x="145" y="104"/>
                  </a:cubicBezTo>
                  <a:cubicBezTo>
                    <a:pt x="141" y="106"/>
                    <a:pt x="136" y="103"/>
                    <a:pt x="133" y="106"/>
                  </a:cubicBezTo>
                  <a:cubicBezTo>
                    <a:pt x="131" y="108"/>
                    <a:pt x="126" y="106"/>
                    <a:pt x="120" y="112"/>
                  </a:cubicBezTo>
                  <a:cubicBezTo>
                    <a:pt x="115" y="112"/>
                    <a:pt x="114" y="120"/>
                    <a:pt x="114" y="120"/>
                  </a:cubicBezTo>
                  <a:cubicBezTo>
                    <a:pt x="108" y="126"/>
                    <a:pt x="112" y="127"/>
                    <a:pt x="112" y="127"/>
                  </a:cubicBezTo>
                  <a:cubicBezTo>
                    <a:pt x="114" y="133"/>
                    <a:pt x="111" y="136"/>
                    <a:pt x="111" y="136"/>
                  </a:cubicBezTo>
                  <a:cubicBezTo>
                    <a:pt x="111" y="136"/>
                    <a:pt x="110" y="140"/>
                    <a:pt x="102" y="135"/>
                  </a:cubicBezTo>
                  <a:cubicBezTo>
                    <a:pt x="102" y="135"/>
                    <a:pt x="96" y="132"/>
                    <a:pt x="93" y="130"/>
                  </a:cubicBezTo>
                  <a:cubicBezTo>
                    <a:pt x="93" y="130"/>
                    <a:pt x="91" y="124"/>
                    <a:pt x="78" y="127"/>
                  </a:cubicBezTo>
                  <a:cubicBezTo>
                    <a:pt x="78" y="127"/>
                    <a:pt x="74" y="128"/>
                    <a:pt x="71" y="126"/>
                  </a:cubicBezTo>
                  <a:cubicBezTo>
                    <a:pt x="68" y="124"/>
                    <a:pt x="65" y="129"/>
                    <a:pt x="63" y="120"/>
                  </a:cubicBezTo>
                  <a:cubicBezTo>
                    <a:pt x="63" y="120"/>
                    <a:pt x="64" y="116"/>
                    <a:pt x="57" y="116"/>
                  </a:cubicBezTo>
                  <a:cubicBezTo>
                    <a:pt x="57" y="116"/>
                    <a:pt x="56" y="113"/>
                    <a:pt x="53" y="110"/>
                  </a:cubicBezTo>
                  <a:cubicBezTo>
                    <a:pt x="53" y="110"/>
                    <a:pt x="50" y="106"/>
                    <a:pt x="40" y="105"/>
                  </a:cubicBezTo>
                  <a:cubicBezTo>
                    <a:pt x="40" y="105"/>
                    <a:pt x="39" y="102"/>
                    <a:pt x="35" y="101"/>
                  </a:cubicBezTo>
                  <a:cubicBezTo>
                    <a:pt x="35" y="101"/>
                    <a:pt x="36" y="94"/>
                    <a:pt x="32" y="89"/>
                  </a:cubicBezTo>
                  <a:cubicBezTo>
                    <a:pt x="32" y="89"/>
                    <a:pt x="27" y="84"/>
                    <a:pt x="31" y="80"/>
                  </a:cubicBezTo>
                  <a:cubicBezTo>
                    <a:pt x="31" y="80"/>
                    <a:pt x="37" y="79"/>
                    <a:pt x="31" y="74"/>
                  </a:cubicBezTo>
                  <a:cubicBezTo>
                    <a:pt x="31" y="74"/>
                    <a:pt x="32" y="70"/>
                    <a:pt x="24" y="68"/>
                  </a:cubicBezTo>
                  <a:cubicBezTo>
                    <a:pt x="24" y="68"/>
                    <a:pt x="24" y="63"/>
                    <a:pt x="18" y="61"/>
                  </a:cubicBezTo>
                  <a:cubicBezTo>
                    <a:pt x="18" y="61"/>
                    <a:pt x="10" y="55"/>
                    <a:pt x="15" y="54"/>
                  </a:cubicBezTo>
                  <a:cubicBezTo>
                    <a:pt x="15" y="54"/>
                    <a:pt x="17" y="49"/>
                    <a:pt x="14" y="47"/>
                  </a:cubicBezTo>
                  <a:cubicBezTo>
                    <a:pt x="14" y="47"/>
                    <a:pt x="14" y="42"/>
                    <a:pt x="10" y="42"/>
                  </a:cubicBezTo>
                  <a:cubicBezTo>
                    <a:pt x="10" y="42"/>
                    <a:pt x="6" y="43"/>
                    <a:pt x="6" y="34"/>
                  </a:cubicBezTo>
                  <a:cubicBezTo>
                    <a:pt x="6" y="34"/>
                    <a:pt x="0" y="33"/>
                    <a:pt x="0" y="27"/>
                  </a:cubicBezTo>
                  <a:cubicBezTo>
                    <a:pt x="0" y="27"/>
                    <a:pt x="2" y="25"/>
                    <a:pt x="1" y="20"/>
                  </a:cubicBezTo>
                  <a:cubicBezTo>
                    <a:pt x="1" y="20"/>
                    <a:pt x="6" y="22"/>
                    <a:pt x="9" y="16"/>
                  </a:cubicBezTo>
                  <a:cubicBezTo>
                    <a:pt x="9" y="16"/>
                    <a:pt x="14" y="12"/>
                    <a:pt x="19" y="16"/>
                  </a:cubicBezTo>
                  <a:cubicBezTo>
                    <a:pt x="19" y="16"/>
                    <a:pt x="23" y="20"/>
                    <a:pt x="32" y="16"/>
                  </a:cubicBezTo>
                  <a:cubicBezTo>
                    <a:pt x="32" y="16"/>
                    <a:pt x="37" y="17"/>
                    <a:pt x="40" y="11"/>
                  </a:cubicBezTo>
                  <a:cubicBezTo>
                    <a:pt x="40" y="11"/>
                    <a:pt x="46" y="7"/>
                    <a:pt x="46" y="4"/>
                  </a:cubicBezTo>
                  <a:cubicBezTo>
                    <a:pt x="52" y="7"/>
                    <a:pt x="53" y="4"/>
                    <a:pt x="53" y="4"/>
                  </a:cubicBezTo>
                  <a:cubicBezTo>
                    <a:pt x="56" y="1"/>
                    <a:pt x="62" y="5"/>
                    <a:pt x="62" y="5"/>
                  </a:cubicBezTo>
                  <a:cubicBezTo>
                    <a:pt x="63" y="7"/>
                    <a:pt x="74" y="5"/>
                    <a:pt x="76" y="7"/>
                  </a:cubicBezTo>
                  <a:cubicBezTo>
                    <a:pt x="84" y="8"/>
                    <a:pt x="84" y="5"/>
                    <a:pt x="84" y="5"/>
                  </a:cubicBezTo>
                  <a:cubicBezTo>
                    <a:pt x="87" y="0"/>
                    <a:pt x="90" y="5"/>
                    <a:pt x="90" y="5"/>
                  </a:cubicBezTo>
                  <a:cubicBezTo>
                    <a:pt x="95" y="9"/>
                    <a:pt x="97" y="5"/>
                    <a:pt x="97" y="5"/>
                  </a:cubicBezTo>
                  <a:cubicBezTo>
                    <a:pt x="97" y="1"/>
                    <a:pt x="104" y="1"/>
                    <a:pt x="104" y="1"/>
                  </a:cubicBezTo>
                  <a:cubicBezTo>
                    <a:pt x="104" y="11"/>
                    <a:pt x="108" y="13"/>
                    <a:pt x="108" y="13"/>
                  </a:cubicBezTo>
                  <a:cubicBezTo>
                    <a:pt x="111" y="16"/>
                    <a:pt x="112" y="22"/>
                    <a:pt x="112" y="22"/>
                  </a:cubicBezTo>
                  <a:cubicBezTo>
                    <a:pt x="114" y="21"/>
                    <a:pt x="114" y="25"/>
                    <a:pt x="114" y="25"/>
                  </a:cubicBezTo>
                  <a:cubicBezTo>
                    <a:pt x="120" y="27"/>
                    <a:pt x="116" y="29"/>
                    <a:pt x="116" y="29"/>
                  </a:cubicBezTo>
                  <a:cubicBezTo>
                    <a:pt x="114" y="33"/>
                    <a:pt x="119" y="33"/>
                    <a:pt x="119" y="33"/>
                  </a:cubicBezTo>
                  <a:cubicBezTo>
                    <a:pt x="125" y="34"/>
                    <a:pt x="128" y="30"/>
                    <a:pt x="128" y="30"/>
                  </a:cubicBezTo>
                  <a:cubicBezTo>
                    <a:pt x="133" y="27"/>
                    <a:pt x="138" y="30"/>
                    <a:pt x="138" y="30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29" name="Freeform 1174">
              <a:extLst>
                <a:ext uri="{FF2B5EF4-FFF2-40B4-BE49-F238E27FC236}">
                  <a16:creationId xmlns:a16="http://schemas.microsoft.com/office/drawing/2014/main" id="{39D49CB2-70C3-47A5-9876-9019A22BF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7669" y="2836473"/>
              <a:ext cx="1151212" cy="1101727"/>
            </a:xfrm>
            <a:custGeom>
              <a:avLst/>
              <a:gdLst>
                <a:gd name="T0" fmla="*/ 341312 w 163"/>
                <a:gd name="T1" fmla="*/ 111125 h 156"/>
                <a:gd name="T2" fmla="*/ 261937 w 163"/>
                <a:gd name="T3" fmla="*/ 150813 h 156"/>
                <a:gd name="T4" fmla="*/ 174625 w 163"/>
                <a:gd name="T5" fmla="*/ 198438 h 156"/>
                <a:gd name="T6" fmla="*/ 111125 w 163"/>
                <a:gd name="T7" fmla="*/ 230188 h 156"/>
                <a:gd name="T8" fmla="*/ 47625 w 163"/>
                <a:gd name="T9" fmla="*/ 254000 h 156"/>
                <a:gd name="T10" fmla="*/ 39687 w 163"/>
                <a:gd name="T11" fmla="*/ 333375 h 156"/>
                <a:gd name="T12" fmla="*/ 47625 w 163"/>
                <a:gd name="T13" fmla="*/ 404813 h 156"/>
                <a:gd name="T14" fmla="*/ 127000 w 163"/>
                <a:gd name="T15" fmla="*/ 436563 h 156"/>
                <a:gd name="T16" fmla="*/ 174625 w 163"/>
                <a:gd name="T17" fmla="*/ 484188 h 156"/>
                <a:gd name="T18" fmla="*/ 238125 w 163"/>
                <a:gd name="T19" fmla="*/ 539750 h 156"/>
                <a:gd name="T20" fmla="*/ 269875 w 163"/>
                <a:gd name="T21" fmla="*/ 563563 h 156"/>
                <a:gd name="T22" fmla="*/ 261937 w 163"/>
                <a:gd name="T23" fmla="*/ 642938 h 156"/>
                <a:gd name="T24" fmla="*/ 238125 w 163"/>
                <a:gd name="T25" fmla="*/ 690563 h 156"/>
                <a:gd name="T26" fmla="*/ 230187 w 163"/>
                <a:gd name="T27" fmla="*/ 746125 h 156"/>
                <a:gd name="T28" fmla="*/ 158750 w 163"/>
                <a:gd name="T29" fmla="*/ 762000 h 156"/>
                <a:gd name="T30" fmla="*/ 103187 w 163"/>
                <a:gd name="T31" fmla="*/ 849313 h 156"/>
                <a:gd name="T32" fmla="*/ 214312 w 163"/>
                <a:gd name="T33" fmla="*/ 889000 h 156"/>
                <a:gd name="T34" fmla="*/ 341312 w 163"/>
                <a:gd name="T35" fmla="*/ 960438 h 156"/>
                <a:gd name="T36" fmla="*/ 444500 w 163"/>
                <a:gd name="T37" fmla="*/ 960438 h 156"/>
                <a:gd name="T38" fmla="*/ 531812 w 163"/>
                <a:gd name="T39" fmla="*/ 1016000 h 156"/>
                <a:gd name="T40" fmla="*/ 587375 w 163"/>
                <a:gd name="T41" fmla="*/ 1079500 h 156"/>
                <a:gd name="T42" fmla="*/ 619125 w 163"/>
                <a:gd name="T43" fmla="*/ 1119188 h 156"/>
                <a:gd name="T44" fmla="*/ 658812 w 163"/>
                <a:gd name="T45" fmla="*/ 1166813 h 156"/>
                <a:gd name="T46" fmla="*/ 698500 w 163"/>
                <a:gd name="T47" fmla="*/ 1166813 h 156"/>
                <a:gd name="T48" fmla="*/ 769937 w 163"/>
                <a:gd name="T49" fmla="*/ 1135063 h 156"/>
                <a:gd name="T50" fmla="*/ 825500 w 163"/>
                <a:gd name="T51" fmla="*/ 1135063 h 156"/>
                <a:gd name="T52" fmla="*/ 809625 w 163"/>
                <a:gd name="T53" fmla="*/ 1055688 h 156"/>
                <a:gd name="T54" fmla="*/ 857250 w 163"/>
                <a:gd name="T55" fmla="*/ 1039813 h 156"/>
                <a:gd name="T56" fmla="*/ 889000 w 163"/>
                <a:gd name="T57" fmla="*/ 1016000 h 156"/>
                <a:gd name="T58" fmla="*/ 936625 w 163"/>
                <a:gd name="T59" fmla="*/ 1031875 h 156"/>
                <a:gd name="T60" fmla="*/ 952500 w 163"/>
                <a:gd name="T61" fmla="*/ 1000125 h 156"/>
                <a:gd name="T62" fmla="*/ 992187 w 163"/>
                <a:gd name="T63" fmla="*/ 1000125 h 156"/>
                <a:gd name="T64" fmla="*/ 1023937 w 163"/>
                <a:gd name="T65" fmla="*/ 944563 h 156"/>
                <a:gd name="T66" fmla="*/ 1039812 w 163"/>
                <a:gd name="T67" fmla="*/ 896938 h 156"/>
                <a:gd name="T68" fmla="*/ 1103312 w 163"/>
                <a:gd name="T69" fmla="*/ 817563 h 156"/>
                <a:gd name="T70" fmla="*/ 1150937 w 163"/>
                <a:gd name="T71" fmla="*/ 769938 h 156"/>
                <a:gd name="T72" fmla="*/ 1119187 w 163"/>
                <a:gd name="T73" fmla="*/ 754063 h 156"/>
                <a:gd name="T74" fmla="*/ 1174750 w 163"/>
                <a:gd name="T75" fmla="*/ 738188 h 156"/>
                <a:gd name="T76" fmla="*/ 1246187 w 163"/>
                <a:gd name="T77" fmla="*/ 730250 h 156"/>
                <a:gd name="T78" fmla="*/ 1254125 w 163"/>
                <a:gd name="T79" fmla="*/ 666750 h 156"/>
                <a:gd name="T80" fmla="*/ 1254125 w 163"/>
                <a:gd name="T81" fmla="*/ 563563 h 156"/>
                <a:gd name="T82" fmla="*/ 1270000 w 163"/>
                <a:gd name="T83" fmla="*/ 508000 h 156"/>
                <a:gd name="T84" fmla="*/ 1277937 w 163"/>
                <a:gd name="T85" fmla="*/ 452438 h 156"/>
                <a:gd name="T86" fmla="*/ 1270000 w 163"/>
                <a:gd name="T87" fmla="*/ 404813 h 156"/>
                <a:gd name="T88" fmla="*/ 1293812 w 163"/>
                <a:gd name="T89" fmla="*/ 341313 h 156"/>
                <a:gd name="T90" fmla="*/ 1285875 w 163"/>
                <a:gd name="T91" fmla="*/ 293688 h 156"/>
                <a:gd name="T92" fmla="*/ 1262062 w 163"/>
                <a:gd name="T93" fmla="*/ 269875 h 156"/>
                <a:gd name="T94" fmla="*/ 1166812 w 163"/>
                <a:gd name="T95" fmla="*/ 214313 h 156"/>
                <a:gd name="T96" fmla="*/ 1103312 w 163"/>
                <a:gd name="T97" fmla="*/ 134938 h 156"/>
                <a:gd name="T98" fmla="*/ 1071562 w 163"/>
                <a:gd name="T99" fmla="*/ 71438 h 156"/>
                <a:gd name="T100" fmla="*/ 1039812 w 163"/>
                <a:gd name="T101" fmla="*/ 23813 h 156"/>
                <a:gd name="T102" fmla="*/ 984250 w 163"/>
                <a:gd name="T103" fmla="*/ 7938 h 156"/>
                <a:gd name="T104" fmla="*/ 873125 w 163"/>
                <a:gd name="T105" fmla="*/ 71438 h 156"/>
                <a:gd name="T106" fmla="*/ 769937 w 163"/>
                <a:gd name="T107" fmla="*/ 111125 h 156"/>
                <a:gd name="T108" fmla="*/ 738187 w 163"/>
                <a:gd name="T109" fmla="*/ 150813 h 156"/>
                <a:gd name="T110" fmla="*/ 682625 w 163"/>
                <a:gd name="T111" fmla="*/ 150813 h 156"/>
                <a:gd name="T112" fmla="*/ 619125 w 163"/>
                <a:gd name="T113" fmla="*/ 127000 h 156"/>
                <a:gd name="T114" fmla="*/ 555625 w 163"/>
                <a:gd name="T115" fmla="*/ 95250 h 156"/>
                <a:gd name="T116" fmla="*/ 476250 w 163"/>
                <a:gd name="T117" fmla="*/ 47625 h 156"/>
                <a:gd name="T118" fmla="*/ 373062 w 163"/>
                <a:gd name="T119" fmla="*/ 79375 h 156"/>
                <a:gd name="T120" fmla="*/ 341312 w 163"/>
                <a:gd name="T121" fmla="*/ 111125 h 156"/>
                <a:gd name="T122" fmla="*/ 341312 w 163"/>
                <a:gd name="T123" fmla="*/ 111125 h 156"/>
                <a:gd name="T124" fmla="*/ 341312 w 163"/>
                <a:gd name="T125" fmla="*/ 111125 h 1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63"/>
                <a:gd name="T190" fmla="*/ 0 h 156"/>
                <a:gd name="T191" fmla="*/ 163 w 163"/>
                <a:gd name="T192" fmla="*/ 156 h 1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63" h="156">
                  <a:moveTo>
                    <a:pt x="43" y="14"/>
                  </a:moveTo>
                  <a:cubicBezTo>
                    <a:pt x="43" y="20"/>
                    <a:pt x="35" y="16"/>
                    <a:pt x="33" y="19"/>
                  </a:cubicBezTo>
                  <a:cubicBezTo>
                    <a:pt x="32" y="16"/>
                    <a:pt x="23" y="19"/>
                    <a:pt x="22" y="25"/>
                  </a:cubicBezTo>
                  <a:cubicBezTo>
                    <a:pt x="22" y="25"/>
                    <a:pt x="16" y="24"/>
                    <a:pt x="14" y="29"/>
                  </a:cubicBezTo>
                  <a:cubicBezTo>
                    <a:pt x="14" y="29"/>
                    <a:pt x="9" y="28"/>
                    <a:pt x="6" y="32"/>
                  </a:cubicBezTo>
                  <a:cubicBezTo>
                    <a:pt x="7" y="38"/>
                    <a:pt x="5" y="42"/>
                    <a:pt x="5" y="42"/>
                  </a:cubicBezTo>
                  <a:cubicBezTo>
                    <a:pt x="0" y="49"/>
                    <a:pt x="6" y="51"/>
                    <a:pt x="6" y="51"/>
                  </a:cubicBezTo>
                  <a:cubicBezTo>
                    <a:pt x="8" y="53"/>
                    <a:pt x="12" y="50"/>
                    <a:pt x="16" y="55"/>
                  </a:cubicBezTo>
                  <a:cubicBezTo>
                    <a:pt x="24" y="55"/>
                    <a:pt x="22" y="61"/>
                    <a:pt x="22" y="61"/>
                  </a:cubicBezTo>
                  <a:cubicBezTo>
                    <a:pt x="24" y="70"/>
                    <a:pt x="30" y="68"/>
                    <a:pt x="30" y="68"/>
                  </a:cubicBezTo>
                  <a:cubicBezTo>
                    <a:pt x="34" y="65"/>
                    <a:pt x="34" y="71"/>
                    <a:pt x="34" y="71"/>
                  </a:cubicBezTo>
                  <a:cubicBezTo>
                    <a:pt x="37" y="82"/>
                    <a:pt x="33" y="81"/>
                    <a:pt x="33" y="81"/>
                  </a:cubicBezTo>
                  <a:cubicBezTo>
                    <a:pt x="27" y="81"/>
                    <a:pt x="30" y="87"/>
                    <a:pt x="30" y="87"/>
                  </a:cubicBezTo>
                  <a:cubicBezTo>
                    <a:pt x="34" y="89"/>
                    <a:pt x="29" y="94"/>
                    <a:pt x="29" y="94"/>
                  </a:cubicBezTo>
                  <a:cubicBezTo>
                    <a:pt x="26" y="98"/>
                    <a:pt x="20" y="96"/>
                    <a:pt x="20" y="96"/>
                  </a:cubicBezTo>
                  <a:cubicBezTo>
                    <a:pt x="7" y="92"/>
                    <a:pt x="13" y="107"/>
                    <a:pt x="13" y="107"/>
                  </a:cubicBezTo>
                  <a:cubicBezTo>
                    <a:pt x="14" y="109"/>
                    <a:pt x="23" y="105"/>
                    <a:pt x="27" y="112"/>
                  </a:cubicBezTo>
                  <a:cubicBezTo>
                    <a:pt x="35" y="118"/>
                    <a:pt x="38" y="122"/>
                    <a:pt x="43" y="121"/>
                  </a:cubicBezTo>
                  <a:cubicBezTo>
                    <a:pt x="49" y="122"/>
                    <a:pt x="56" y="121"/>
                    <a:pt x="56" y="121"/>
                  </a:cubicBezTo>
                  <a:cubicBezTo>
                    <a:pt x="67" y="114"/>
                    <a:pt x="67" y="128"/>
                    <a:pt x="67" y="128"/>
                  </a:cubicBezTo>
                  <a:cubicBezTo>
                    <a:pt x="76" y="132"/>
                    <a:pt x="74" y="136"/>
                    <a:pt x="74" y="136"/>
                  </a:cubicBezTo>
                  <a:cubicBezTo>
                    <a:pt x="75" y="140"/>
                    <a:pt x="78" y="141"/>
                    <a:pt x="78" y="141"/>
                  </a:cubicBezTo>
                  <a:cubicBezTo>
                    <a:pt x="84" y="143"/>
                    <a:pt x="83" y="147"/>
                    <a:pt x="83" y="147"/>
                  </a:cubicBezTo>
                  <a:cubicBezTo>
                    <a:pt x="83" y="156"/>
                    <a:pt x="88" y="147"/>
                    <a:pt x="88" y="147"/>
                  </a:cubicBezTo>
                  <a:cubicBezTo>
                    <a:pt x="91" y="139"/>
                    <a:pt x="97" y="143"/>
                    <a:pt x="97" y="143"/>
                  </a:cubicBezTo>
                  <a:cubicBezTo>
                    <a:pt x="98" y="147"/>
                    <a:pt x="104" y="143"/>
                    <a:pt x="104" y="143"/>
                  </a:cubicBezTo>
                  <a:cubicBezTo>
                    <a:pt x="105" y="135"/>
                    <a:pt x="102" y="137"/>
                    <a:pt x="102" y="133"/>
                  </a:cubicBezTo>
                  <a:cubicBezTo>
                    <a:pt x="102" y="133"/>
                    <a:pt x="101" y="128"/>
                    <a:pt x="108" y="131"/>
                  </a:cubicBezTo>
                  <a:cubicBezTo>
                    <a:pt x="110" y="132"/>
                    <a:pt x="110" y="128"/>
                    <a:pt x="112" y="128"/>
                  </a:cubicBezTo>
                  <a:cubicBezTo>
                    <a:pt x="112" y="128"/>
                    <a:pt x="114" y="130"/>
                    <a:pt x="118" y="130"/>
                  </a:cubicBezTo>
                  <a:cubicBezTo>
                    <a:pt x="118" y="130"/>
                    <a:pt x="116" y="128"/>
                    <a:pt x="120" y="126"/>
                  </a:cubicBezTo>
                  <a:cubicBezTo>
                    <a:pt x="120" y="126"/>
                    <a:pt x="123" y="123"/>
                    <a:pt x="125" y="126"/>
                  </a:cubicBezTo>
                  <a:cubicBezTo>
                    <a:pt x="125" y="126"/>
                    <a:pt x="123" y="122"/>
                    <a:pt x="129" y="119"/>
                  </a:cubicBezTo>
                  <a:cubicBezTo>
                    <a:pt x="129" y="119"/>
                    <a:pt x="134" y="117"/>
                    <a:pt x="131" y="113"/>
                  </a:cubicBezTo>
                  <a:cubicBezTo>
                    <a:pt x="131" y="113"/>
                    <a:pt x="131" y="109"/>
                    <a:pt x="139" y="103"/>
                  </a:cubicBezTo>
                  <a:cubicBezTo>
                    <a:pt x="139" y="103"/>
                    <a:pt x="145" y="101"/>
                    <a:pt x="145" y="97"/>
                  </a:cubicBezTo>
                  <a:cubicBezTo>
                    <a:pt x="145" y="94"/>
                    <a:pt x="140" y="98"/>
                    <a:pt x="141" y="95"/>
                  </a:cubicBezTo>
                  <a:cubicBezTo>
                    <a:pt x="141" y="95"/>
                    <a:pt x="143" y="89"/>
                    <a:pt x="148" y="93"/>
                  </a:cubicBezTo>
                  <a:cubicBezTo>
                    <a:pt x="148" y="93"/>
                    <a:pt x="154" y="94"/>
                    <a:pt x="157" y="92"/>
                  </a:cubicBezTo>
                  <a:cubicBezTo>
                    <a:pt x="157" y="92"/>
                    <a:pt x="162" y="85"/>
                    <a:pt x="158" y="84"/>
                  </a:cubicBezTo>
                  <a:cubicBezTo>
                    <a:pt x="158" y="84"/>
                    <a:pt x="156" y="81"/>
                    <a:pt x="158" y="71"/>
                  </a:cubicBezTo>
                  <a:cubicBezTo>
                    <a:pt x="158" y="71"/>
                    <a:pt x="162" y="69"/>
                    <a:pt x="160" y="64"/>
                  </a:cubicBezTo>
                  <a:cubicBezTo>
                    <a:pt x="157" y="60"/>
                    <a:pt x="163" y="59"/>
                    <a:pt x="161" y="57"/>
                  </a:cubicBezTo>
                  <a:cubicBezTo>
                    <a:pt x="161" y="57"/>
                    <a:pt x="158" y="54"/>
                    <a:pt x="160" y="51"/>
                  </a:cubicBezTo>
                  <a:cubicBezTo>
                    <a:pt x="162" y="50"/>
                    <a:pt x="159" y="46"/>
                    <a:pt x="163" y="43"/>
                  </a:cubicBezTo>
                  <a:cubicBezTo>
                    <a:pt x="163" y="43"/>
                    <a:pt x="159" y="40"/>
                    <a:pt x="162" y="37"/>
                  </a:cubicBezTo>
                  <a:cubicBezTo>
                    <a:pt x="160" y="36"/>
                    <a:pt x="159" y="34"/>
                    <a:pt x="159" y="34"/>
                  </a:cubicBezTo>
                  <a:cubicBezTo>
                    <a:pt x="154" y="26"/>
                    <a:pt x="147" y="27"/>
                    <a:pt x="147" y="27"/>
                  </a:cubicBezTo>
                  <a:cubicBezTo>
                    <a:pt x="143" y="19"/>
                    <a:pt x="139" y="17"/>
                    <a:pt x="139" y="17"/>
                  </a:cubicBezTo>
                  <a:cubicBezTo>
                    <a:pt x="140" y="7"/>
                    <a:pt x="135" y="9"/>
                    <a:pt x="135" y="9"/>
                  </a:cubicBezTo>
                  <a:cubicBezTo>
                    <a:pt x="130" y="7"/>
                    <a:pt x="131" y="3"/>
                    <a:pt x="131" y="3"/>
                  </a:cubicBezTo>
                  <a:cubicBezTo>
                    <a:pt x="130" y="0"/>
                    <a:pt x="124" y="1"/>
                    <a:pt x="124" y="1"/>
                  </a:cubicBezTo>
                  <a:cubicBezTo>
                    <a:pt x="115" y="11"/>
                    <a:pt x="110" y="9"/>
                    <a:pt x="110" y="9"/>
                  </a:cubicBezTo>
                  <a:cubicBezTo>
                    <a:pt x="102" y="8"/>
                    <a:pt x="97" y="14"/>
                    <a:pt x="97" y="14"/>
                  </a:cubicBezTo>
                  <a:cubicBezTo>
                    <a:pt x="92" y="16"/>
                    <a:pt x="93" y="19"/>
                    <a:pt x="93" y="19"/>
                  </a:cubicBezTo>
                  <a:cubicBezTo>
                    <a:pt x="88" y="24"/>
                    <a:pt x="86" y="19"/>
                    <a:pt x="86" y="19"/>
                  </a:cubicBezTo>
                  <a:cubicBezTo>
                    <a:pt x="81" y="10"/>
                    <a:pt x="78" y="16"/>
                    <a:pt x="78" y="16"/>
                  </a:cubicBezTo>
                  <a:cubicBezTo>
                    <a:pt x="73" y="19"/>
                    <a:pt x="70" y="12"/>
                    <a:pt x="70" y="12"/>
                  </a:cubicBezTo>
                  <a:cubicBezTo>
                    <a:pt x="67" y="4"/>
                    <a:pt x="60" y="6"/>
                    <a:pt x="60" y="6"/>
                  </a:cubicBezTo>
                  <a:cubicBezTo>
                    <a:pt x="50" y="5"/>
                    <a:pt x="47" y="10"/>
                    <a:pt x="47" y="10"/>
                  </a:cubicBezTo>
                  <a:cubicBezTo>
                    <a:pt x="46" y="13"/>
                    <a:pt x="45" y="14"/>
                    <a:pt x="43" y="14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30" name="Freeform 1175">
              <a:extLst>
                <a:ext uri="{FF2B5EF4-FFF2-40B4-BE49-F238E27FC236}">
                  <a16:creationId xmlns:a16="http://schemas.microsoft.com/office/drawing/2014/main" id="{69366F4A-A428-4F92-8BFC-B72AB3EBE4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3781" y="1847742"/>
              <a:ext cx="967582" cy="1250036"/>
            </a:xfrm>
            <a:custGeom>
              <a:avLst/>
              <a:gdLst>
                <a:gd name="T0" fmla="*/ 150812 w 137"/>
                <a:gd name="T1" fmla="*/ 103187 h 177"/>
                <a:gd name="T2" fmla="*/ 190500 w 137"/>
                <a:gd name="T3" fmla="*/ 230187 h 177"/>
                <a:gd name="T4" fmla="*/ 150812 w 137"/>
                <a:gd name="T5" fmla="*/ 293687 h 177"/>
                <a:gd name="T6" fmla="*/ 63500 w 137"/>
                <a:gd name="T7" fmla="*/ 373062 h 177"/>
                <a:gd name="T8" fmla="*/ 79375 w 137"/>
                <a:gd name="T9" fmla="*/ 531812 h 177"/>
                <a:gd name="T10" fmla="*/ 39687 w 137"/>
                <a:gd name="T11" fmla="*/ 658812 h 177"/>
                <a:gd name="T12" fmla="*/ 15875 w 137"/>
                <a:gd name="T13" fmla="*/ 801687 h 177"/>
                <a:gd name="T14" fmla="*/ 71437 w 137"/>
                <a:gd name="T15" fmla="*/ 865187 h 177"/>
                <a:gd name="T16" fmla="*/ 111125 w 137"/>
                <a:gd name="T17" fmla="*/ 912812 h 177"/>
                <a:gd name="T18" fmla="*/ 87312 w 137"/>
                <a:gd name="T19" fmla="*/ 1063625 h 177"/>
                <a:gd name="T20" fmla="*/ 119062 w 137"/>
                <a:gd name="T21" fmla="*/ 1166812 h 177"/>
                <a:gd name="T22" fmla="*/ 301625 w 137"/>
                <a:gd name="T23" fmla="*/ 1190625 h 177"/>
                <a:gd name="T24" fmla="*/ 412750 w 137"/>
                <a:gd name="T25" fmla="*/ 1174750 h 177"/>
                <a:gd name="T26" fmla="*/ 523875 w 137"/>
                <a:gd name="T27" fmla="*/ 1143000 h 177"/>
                <a:gd name="T28" fmla="*/ 587375 w 137"/>
                <a:gd name="T29" fmla="*/ 1309687 h 177"/>
                <a:gd name="T30" fmla="*/ 619125 w 137"/>
                <a:gd name="T31" fmla="*/ 1365250 h 177"/>
                <a:gd name="T32" fmla="*/ 714375 w 137"/>
                <a:gd name="T33" fmla="*/ 1373187 h 177"/>
                <a:gd name="T34" fmla="*/ 857250 w 137"/>
                <a:gd name="T35" fmla="*/ 1341437 h 177"/>
                <a:gd name="T36" fmla="*/ 1008062 w 137"/>
                <a:gd name="T37" fmla="*/ 1262062 h 177"/>
                <a:gd name="T38" fmla="*/ 1055687 w 137"/>
                <a:gd name="T39" fmla="*/ 1206500 h 177"/>
                <a:gd name="T40" fmla="*/ 984250 w 137"/>
                <a:gd name="T41" fmla="*/ 1079500 h 177"/>
                <a:gd name="T42" fmla="*/ 968375 w 137"/>
                <a:gd name="T43" fmla="*/ 944562 h 177"/>
                <a:gd name="T44" fmla="*/ 928687 w 137"/>
                <a:gd name="T45" fmla="*/ 825500 h 177"/>
                <a:gd name="T46" fmla="*/ 857250 w 137"/>
                <a:gd name="T47" fmla="*/ 762000 h 177"/>
                <a:gd name="T48" fmla="*/ 666750 w 137"/>
                <a:gd name="T49" fmla="*/ 730250 h 177"/>
                <a:gd name="T50" fmla="*/ 555625 w 137"/>
                <a:gd name="T51" fmla="*/ 706437 h 177"/>
                <a:gd name="T52" fmla="*/ 508000 w 137"/>
                <a:gd name="T53" fmla="*/ 627062 h 177"/>
                <a:gd name="T54" fmla="*/ 468312 w 137"/>
                <a:gd name="T55" fmla="*/ 484187 h 177"/>
                <a:gd name="T56" fmla="*/ 563562 w 137"/>
                <a:gd name="T57" fmla="*/ 381000 h 177"/>
                <a:gd name="T58" fmla="*/ 428625 w 137"/>
                <a:gd name="T59" fmla="*/ 222250 h 177"/>
                <a:gd name="T60" fmla="*/ 341312 w 137"/>
                <a:gd name="T61" fmla="*/ 63500 h 177"/>
                <a:gd name="T62" fmla="*/ 222250 w 137"/>
                <a:gd name="T63" fmla="*/ 87312 h 177"/>
                <a:gd name="T64" fmla="*/ 182562 w 137"/>
                <a:gd name="T65" fmla="*/ 39687 h 17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7"/>
                <a:gd name="T100" fmla="*/ 0 h 177"/>
                <a:gd name="T101" fmla="*/ 137 w 137"/>
                <a:gd name="T102" fmla="*/ 177 h 17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7" h="177">
                  <a:moveTo>
                    <a:pt x="23" y="5"/>
                  </a:moveTo>
                  <a:cubicBezTo>
                    <a:pt x="21" y="8"/>
                    <a:pt x="19" y="13"/>
                    <a:pt x="19" y="13"/>
                  </a:cubicBezTo>
                  <a:cubicBezTo>
                    <a:pt x="15" y="23"/>
                    <a:pt x="19" y="24"/>
                    <a:pt x="19" y="24"/>
                  </a:cubicBezTo>
                  <a:cubicBezTo>
                    <a:pt x="24" y="25"/>
                    <a:pt x="24" y="29"/>
                    <a:pt x="24" y="29"/>
                  </a:cubicBezTo>
                  <a:cubicBezTo>
                    <a:pt x="24" y="31"/>
                    <a:pt x="19" y="28"/>
                    <a:pt x="20" y="33"/>
                  </a:cubicBezTo>
                  <a:cubicBezTo>
                    <a:pt x="18" y="35"/>
                    <a:pt x="19" y="37"/>
                    <a:pt x="19" y="37"/>
                  </a:cubicBezTo>
                  <a:cubicBezTo>
                    <a:pt x="20" y="41"/>
                    <a:pt x="14" y="40"/>
                    <a:pt x="14" y="40"/>
                  </a:cubicBezTo>
                  <a:cubicBezTo>
                    <a:pt x="9" y="41"/>
                    <a:pt x="8" y="47"/>
                    <a:pt x="8" y="47"/>
                  </a:cubicBezTo>
                  <a:cubicBezTo>
                    <a:pt x="2" y="51"/>
                    <a:pt x="9" y="59"/>
                    <a:pt x="9" y="59"/>
                  </a:cubicBezTo>
                  <a:cubicBezTo>
                    <a:pt x="11" y="59"/>
                    <a:pt x="10" y="67"/>
                    <a:pt x="10" y="67"/>
                  </a:cubicBezTo>
                  <a:cubicBezTo>
                    <a:pt x="13" y="72"/>
                    <a:pt x="8" y="70"/>
                    <a:pt x="8" y="77"/>
                  </a:cubicBezTo>
                  <a:cubicBezTo>
                    <a:pt x="10" y="84"/>
                    <a:pt x="5" y="83"/>
                    <a:pt x="5" y="83"/>
                  </a:cubicBezTo>
                  <a:cubicBezTo>
                    <a:pt x="7" y="90"/>
                    <a:pt x="6" y="95"/>
                    <a:pt x="6" y="95"/>
                  </a:cubicBezTo>
                  <a:cubicBezTo>
                    <a:pt x="6" y="97"/>
                    <a:pt x="1" y="95"/>
                    <a:pt x="2" y="101"/>
                  </a:cubicBezTo>
                  <a:cubicBezTo>
                    <a:pt x="0" y="105"/>
                    <a:pt x="5" y="106"/>
                    <a:pt x="5" y="106"/>
                  </a:cubicBezTo>
                  <a:cubicBezTo>
                    <a:pt x="7" y="105"/>
                    <a:pt x="6" y="110"/>
                    <a:pt x="9" y="109"/>
                  </a:cubicBezTo>
                  <a:cubicBezTo>
                    <a:pt x="11" y="109"/>
                    <a:pt x="10" y="106"/>
                    <a:pt x="14" y="107"/>
                  </a:cubicBezTo>
                  <a:cubicBezTo>
                    <a:pt x="9" y="112"/>
                    <a:pt x="14" y="115"/>
                    <a:pt x="14" y="115"/>
                  </a:cubicBezTo>
                  <a:cubicBezTo>
                    <a:pt x="13" y="119"/>
                    <a:pt x="9" y="120"/>
                    <a:pt x="10" y="124"/>
                  </a:cubicBezTo>
                  <a:cubicBezTo>
                    <a:pt x="9" y="127"/>
                    <a:pt x="14" y="130"/>
                    <a:pt x="11" y="134"/>
                  </a:cubicBezTo>
                  <a:cubicBezTo>
                    <a:pt x="11" y="142"/>
                    <a:pt x="8" y="147"/>
                    <a:pt x="8" y="147"/>
                  </a:cubicBezTo>
                  <a:cubicBezTo>
                    <a:pt x="14" y="150"/>
                    <a:pt x="15" y="147"/>
                    <a:pt x="15" y="147"/>
                  </a:cubicBezTo>
                  <a:cubicBezTo>
                    <a:pt x="18" y="144"/>
                    <a:pt x="24" y="148"/>
                    <a:pt x="24" y="148"/>
                  </a:cubicBezTo>
                  <a:cubicBezTo>
                    <a:pt x="25" y="150"/>
                    <a:pt x="36" y="148"/>
                    <a:pt x="38" y="150"/>
                  </a:cubicBezTo>
                  <a:cubicBezTo>
                    <a:pt x="46" y="151"/>
                    <a:pt x="46" y="148"/>
                    <a:pt x="46" y="148"/>
                  </a:cubicBezTo>
                  <a:cubicBezTo>
                    <a:pt x="49" y="143"/>
                    <a:pt x="52" y="148"/>
                    <a:pt x="52" y="148"/>
                  </a:cubicBezTo>
                  <a:cubicBezTo>
                    <a:pt x="57" y="152"/>
                    <a:pt x="59" y="148"/>
                    <a:pt x="59" y="148"/>
                  </a:cubicBezTo>
                  <a:cubicBezTo>
                    <a:pt x="59" y="144"/>
                    <a:pt x="66" y="144"/>
                    <a:pt x="66" y="144"/>
                  </a:cubicBezTo>
                  <a:cubicBezTo>
                    <a:pt x="66" y="154"/>
                    <a:pt x="70" y="156"/>
                    <a:pt x="70" y="156"/>
                  </a:cubicBezTo>
                  <a:cubicBezTo>
                    <a:pt x="73" y="159"/>
                    <a:pt x="74" y="165"/>
                    <a:pt x="74" y="165"/>
                  </a:cubicBezTo>
                  <a:cubicBezTo>
                    <a:pt x="76" y="164"/>
                    <a:pt x="76" y="168"/>
                    <a:pt x="76" y="168"/>
                  </a:cubicBezTo>
                  <a:cubicBezTo>
                    <a:pt x="82" y="170"/>
                    <a:pt x="78" y="172"/>
                    <a:pt x="78" y="172"/>
                  </a:cubicBezTo>
                  <a:cubicBezTo>
                    <a:pt x="76" y="176"/>
                    <a:pt x="81" y="176"/>
                    <a:pt x="81" y="176"/>
                  </a:cubicBezTo>
                  <a:cubicBezTo>
                    <a:pt x="87" y="177"/>
                    <a:pt x="90" y="173"/>
                    <a:pt x="90" y="173"/>
                  </a:cubicBezTo>
                  <a:cubicBezTo>
                    <a:pt x="95" y="170"/>
                    <a:pt x="100" y="173"/>
                    <a:pt x="100" y="173"/>
                  </a:cubicBezTo>
                  <a:cubicBezTo>
                    <a:pt x="103" y="169"/>
                    <a:pt x="108" y="169"/>
                    <a:pt x="108" y="169"/>
                  </a:cubicBezTo>
                  <a:cubicBezTo>
                    <a:pt x="110" y="164"/>
                    <a:pt x="116" y="165"/>
                    <a:pt x="116" y="165"/>
                  </a:cubicBezTo>
                  <a:cubicBezTo>
                    <a:pt x="117" y="159"/>
                    <a:pt x="126" y="156"/>
                    <a:pt x="127" y="159"/>
                  </a:cubicBezTo>
                  <a:cubicBezTo>
                    <a:pt x="129" y="156"/>
                    <a:pt x="137" y="160"/>
                    <a:pt x="137" y="154"/>
                  </a:cubicBezTo>
                  <a:cubicBezTo>
                    <a:pt x="135" y="154"/>
                    <a:pt x="133" y="152"/>
                    <a:pt x="133" y="152"/>
                  </a:cubicBezTo>
                  <a:cubicBezTo>
                    <a:pt x="132" y="144"/>
                    <a:pt x="129" y="145"/>
                    <a:pt x="129" y="145"/>
                  </a:cubicBezTo>
                  <a:cubicBezTo>
                    <a:pt x="123" y="144"/>
                    <a:pt x="124" y="136"/>
                    <a:pt x="124" y="136"/>
                  </a:cubicBezTo>
                  <a:cubicBezTo>
                    <a:pt x="119" y="131"/>
                    <a:pt x="126" y="133"/>
                    <a:pt x="126" y="126"/>
                  </a:cubicBezTo>
                  <a:cubicBezTo>
                    <a:pt x="126" y="122"/>
                    <a:pt x="122" y="121"/>
                    <a:pt x="122" y="119"/>
                  </a:cubicBezTo>
                  <a:cubicBezTo>
                    <a:pt x="119" y="116"/>
                    <a:pt x="119" y="111"/>
                    <a:pt x="119" y="111"/>
                  </a:cubicBezTo>
                  <a:cubicBezTo>
                    <a:pt x="114" y="107"/>
                    <a:pt x="117" y="104"/>
                    <a:pt x="117" y="104"/>
                  </a:cubicBezTo>
                  <a:cubicBezTo>
                    <a:pt x="121" y="101"/>
                    <a:pt x="114" y="102"/>
                    <a:pt x="114" y="102"/>
                  </a:cubicBezTo>
                  <a:cubicBezTo>
                    <a:pt x="109" y="104"/>
                    <a:pt x="108" y="96"/>
                    <a:pt x="108" y="96"/>
                  </a:cubicBezTo>
                  <a:cubicBezTo>
                    <a:pt x="108" y="86"/>
                    <a:pt x="98" y="90"/>
                    <a:pt x="98" y="90"/>
                  </a:cubicBezTo>
                  <a:cubicBezTo>
                    <a:pt x="91" y="95"/>
                    <a:pt x="84" y="92"/>
                    <a:pt x="84" y="92"/>
                  </a:cubicBezTo>
                  <a:cubicBezTo>
                    <a:pt x="82" y="87"/>
                    <a:pt x="76" y="89"/>
                    <a:pt x="76" y="89"/>
                  </a:cubicBezTo>
                  <a:cubicBezTo>
                    <a:pt x="73" y="85"/>
                    <a:pt x="70" y="89"/>
                    <a:pt x="70" y="89"/>
                  </a:cubicBezTo>
                  <a:cubicBezTo>
                    <a:pt x="59" y="91"/>
                    <a:pt x="65" y="86"/>
                    <a:pt x="65" y="86"/>
                  </a:cubicBezTo>
                  <a:cubicBezTo>
                    <a:pt x="70" y="79"/>
                    <a:pt x="64" y="79"/>
                    <a:pt x="64" y="79"/>
                  </a:cubicBezTo>
                  <a:cubicBezTo>
                    <a:pt x="61" y="80"/>
                    <a:pt x="63" y="71"/>
                    <a:pt x="63" y="71"/>
                  </a:cubicBezTo>
                  <a:cubicBezTo>
                    <a:pt x="63" y="65"/>
                    <a:pt x="59" y="61"/>
                    <a:pt x="59" y="61"/>
                  </a:cubicBezTo>
                  <a:cubicBezTo>
                    <a:pt x="53" y="56"/>
                    <a:pt x="64" y="54"/>
                    <a:pt x="64" y="54"/>
                  </a:cubicBezTo>
                  <a:cubicBezTo>
                    <a:pt x="72" y="54"/>
                    <a:pt x="71" y="48"/>
                    <a:pt x="71" y="48"/>
                  </a:cubicBezTo>
                  <a:cubicBezTo>
                    <a:pt x="72" y="44"/>
                    <a:pt x="63" y="40"/>
                    <a:pt x="63" y="40"/>
                  </a:cubicBezTo>
                  <a:cubicBezTo>
                    <a:pt x="55" y="35"/>
                    <a:pt x="54" y="28"/>
                    <a:pt x="54" y="28"/>
                  </a:cubicBezTo>
                  <a:cubicBezTo>
                    <a:pt x="50" y="23"/>
                    <a:pt x="59" y="21"/>
                    <a:pt x="51" y="16"/>
                  </a:cubicBezTo>
                  <a:cubicBezTo>
                    <a:pt x="46" y="16"/>
                    <a:pt x="43" y="8"/>
                    <a:pt x="43" y="8"/>
                  </a:cubicBezTo>
                  <a:cubicBezTo>
                    <a:pt x="39" y="0"/>
                    <a:pt x="36" y="5"/>
                    <a:pt x="36" y="5"/>
                  </a:cubicBezTo>
                  <a:cubicBezTo>
                    <a:pt x="31" y="5"/>
                    <a:pt x="28" y="11"/>
                    <a:pt x="28" y="11"/>
                  </a:cubicBezTo>
                  <a:cubicBezTo>
                    <a:pt x="25" y="12"/>
                    <a:pt x="29" y="4"/>
                    <a:pt x="23" y="5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31" name="Freeform 1176">
              <a:extLst>
                <a:ext uri="{FF2B5EF4-FFF2-40B4-BE49-F238E27FC236}">
                  <a16:creationId xmlns:a16="http://schemas.microsoft.com/office/drawing/2014/main" id="{BB71F082-05BA-49C5-9D60-F1713BB8F5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4512" y="1868928"/>
              <a:ext cx="988771" cy="1144102"/>
            </a:xfrm>
            <a:custGeom>
              <a:avLst/>
              <a:gdLst>
                <a:gd name="T0" fmla="*/ 627063 w 140"/>
                <a:gd name="T1" fmla="*/ 1262063 h 162"/>
                <a:gd name="T2" fmla="*/ 587375 w 140"/>
                <a:gd name="T3" fmla="*/ 1222375 h 162"/>
                <a:gd name="T4" fmla="*/ 595313 w 140"/>
                <a:gd name="T5" fmla="*/ 1150938 h 162"/>
                <a:gd name="T6" fmla="*/ 539750 w 140"/>
                <a:gd name="T7" fmla="*/ 1127125 h 162"/>
                <a:gd name="T8" fmla="*/ 492125 w 140"/>
                <a:gd name="T9" fmla="*/ 1127125 h 162"/>
                <a:gd name="T10" fmla="*/ 444500 w 140"/>
                <a:gd name="T11" fmla="*/ 1158875 h 162"/>
                <a:gd name="T12" fmla="*/ 293688 w 140"/>
                <a:gd name="T13" fmla="*/ 1150938 h 162"/>
                <a:gd name="T14" fmla="*/ 261938 w 140"/>
                <a:gd name="T15" fmla="*/ 1095375 h 162"/>
                <a:gd name="T16" fmla="*/ 246063 w 140"/>
                <a:gd name="T17" fmla="*/ 1047750 h 162"/>
                <a:gd name="T18" fmla="*/ 174625 w 140"/>
                <a:gd name="T19" fmla="*/ 1016000 h 162"/>
                <a:gd name="T20" fmla="*/ 103188 w 140"/>
                <a:gd name="T21" fmla="*/ 992188 h 162"/>
                <a:gd name="T22" fmla="*/ 87313 w 140"/>
                <a:gd name="T23" fmla="*/ 944563 h 162"/>
                <a:gd name="T24" fmla="*/ 55563 w 140"/>
                <a:gd name="T25" fmla="*/ 904875 h 162"/>
                <a:gd name="T26" fmla="*/ 15875 w 140"/>
                <a:gd name="T27" fmla="*/ 873125 h 162"/>
                <a:gd name="T28" fmla="*/ 15875 w 140"/>
                <a:gd name="T29" fmla="*/ 873125 h 162"/>
                <a:gd name="T30" fmla="*/ 23813 w 140"/>
                <a:gd name="T31" fmla="*/ 801688 h 162"/>
                <a:gd name="T32" fmla="*/ 23813 w 140"/>
                <a:gd name="T33" fmla="*/ 698500 h 162"/>
                <a:gd name="T34" fmla="*/ 23813 w 140"/>
                <a:gd name="T35" fmla="*/ 698500 h 162"/>
                <a:gd name="T36" fmla="*/ 47625 w 140"/>
                <a:gd name="T37" fmla="*/ 674688 h 162"/>
                <a:gd name="T38" fmla="*/ 39688 w 140"/>
                <a:gd name="T39" fmla="*/ 547688 h 162"/>
                <a:gd name="T40" fmla="*/ 47625 w 140"/>
                <a:gd name="T41" fmla="*/ 436563 h 162"/>
                <a:gd name="T42" fmla="*/ 95250 w 140"/>
                <a:gd name="T43" fmla="*/ 325438 h 162"/>
                <a:gd name="T44" fmla="*/ 150813 w 140"/>
                <a:gd name="T45" fmla="*/ 277813 h 162"/>
                <a:gd name="T46" fmla="*/ 174625 w 140"/>
                <a:gd name="T47" fmla="*/ 222250 h 162"/>
                <a:gd name="T48" fmla="*/ 261938 w 140"/>
                <a:gd name="T49" fmla="*/ 206375 h 162"/>
                <a:gd name="T50" fmla="*/ 309563 w 140"/>
                <a:gd name="T51" fmla="*/ 198438 h 162"/>
                <a:gd name="T52" fmla="*/ 444500 w 140"/>
                <a:gd name="T53" fmla="*/ 190500 h 162"/>
                <a:gd name="T54" fmla="*/ 539750 w 140"/>
                <a:gd name="T55" fmla="*/ 206375 h 162"/>
                <a:gd name="T56" fmla="*/ 595313 w 140"/>
                <a:gd name="T57" fmla="*/ 222250 h 162"/>
                <a:gd name="T58" fmla="*/ 682625 w 140"/>
                <a:gd name="T59" fmla="*/ 174625 h 162"/>
                <a:gd name="T60" fmla="*/ 706438 w 140"/>
                <a:gd name="T61" fmla="*/ 87313 h 162"/>
                <a:gd name="T62" fmla="*/ 777875 w 140"/>
                <a:gd name="T63" fmla="*/ 55563 h 162"/>
                <a:gd name="T64" fmla="*/ 865188 w 140"/>
                <a:gd name="T65" fmla="*/ 87313 h 162"/>
                <a:gd name="T66" fmla="*/ 992188 w 140"/>
                <a:gd name="T67" fmla="*/ 31750 h 162"/>
                <a:gd name="T68" fmla="*/ 1103313 w 140"/>
                <a:gd name="T69" fmla="*/ 15875 h 162"/>
                <a:gd name="T70" fmla="*/ 1071563 w 140"/>
                <a:gd name="T71" fmla="*/ 79375 h 162"/>
                <a:gd name="T72" fmla="*/ 1071563 w 140"/>
                <a:gd name="T73" fmla="*/ 166688 h 162"/>
                <a:gd name="T74" fmla="*/ 1111250 w 140"/>
                <a:gd name="T75" fmla="*/ 206375 h 162"/>
                <a:gd name="T76" fmla="*/ 1079500 w 140"/>
                <a:gd name="T77" fmla="*/ 238125 h 162"/>
                <a:gd name="T78" fmla="*/ 1071563 w 140"/>
                <a:gd name="T79" fmla="*/ 269875 h 162"/>
                <a:gd name="T80" fmla="*/ 1031875 w 140"/>
                <a:gd name="T81" fmla="*/ 293688 h 162"/>
                <a:gd name="T82" fmla="*/ 984250 w 140"/>
                <a:gd name="T83" fmla="*/ 349250 h 162"/>
                <a:gd name="T84" fmla="*/ 992188 w 140"/>
                <a:gd name="T85" fmla="*/ 444500 h 162"/>
                <a:gd name="T86" fmla="*/ 1000125 w 140"/>
                <a:gd name="T87" fmla="*/ 508000 h 162"/>
                <a:gd name="T88" fmla="*/ 984250 w 140"/>
                <a:gd name="T89" fmla="*/ 587375 h 162"/>
                <a:gd name="T90" fmla="*/ 960438 w 140"/>
                <a:gd name="T91" fmla="*/ 635000 h 162"/>
                <a:gd name="T92" fmla="*/ 968375 w 140"/>
                <a:gd name="T93" fmla="*/ 730250 h 162"/>
                <a:gd name="T94" fmla="*/ 936625 w 140"/>
                <a:gd name="T95" fmla="*/ 777875 h 162"/>
                <a:gd name="T96" fmla="*/ 960438 w 140"/>
                <a:gd name="T97" fmla="*/ 817563 h 162"/>
                <a:gd name="T98" fmla="*/ 992188 w 140"/>
                <a:gd name="T99" fmla="*/ 841375 h 162"/>
                <a:gd name="T100" fmla="*/ 1031875 w 140"/>
                <a:gd name="T101" fmla="*/ 825500 h 162"/>
                <a:gd name="T102" fmla="*/ 1031875 w 140"/>
                <a:gd name="T103" fmla="*/ 889000 h 162"/>
                <a:gd name="T104" fmla="*/ 1000125 w 140"/>
                <a:gd name="T105" fmla="*/ 960438 h 162"/>
                <a:gd name="T106" fmla="*/ 1008063 w 140"/>
                <a:gd name="T107" fmla="*/ 1039813 h 162"/>
                <a:gd name="T108" fmla="*/ 984250 w 140"/>
                <a:gd name="T109" fmla="*/ 1143000 h 162"/>
                <a:gd name="T110" fmla="*/ 936625 w 140"/>
                <a:gd name="T111" fmla="*/ 1198563 h 162"/>
                <a:gd name="T112" fmla="*/ 873125 w 140"/>
                <a:gd name="T113" fmla="*/ 1238250 h 162"/>
                <a:gd name="T114" fmla="*/ 769938 w 140"/>
                <a:gd name="T115" fmla="*/ 1238250 h 162"/>
                <a:gd name="T116" fmla="*/ 690563 w 140"/>
                <a:gd name="T117" fmla="*/ 1238250 h 162"/>
                <a:gd name="T118" fmla="*/ 627063 w 140"/>
                <a:gd name="T119" fmla="*/ 1262063 h 162"/>
                <a:gd name="T120" fmla="*/ 627063 w 140"/>
                <a:gd name="T121" fmla="*/ 1262063 h 162"/>
                <a:gd name="T122" fmla="*/ 627063 w 140"/>
                <a:gd name="T123" fmla="*/ 1262063 h 16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0"/>
                <a:gd name="T187" fmla="*/ 0 h 162"/>
                <a:gd name="T188" fmla="*/ 140 w 140"/>
                <a:gd name="T189" fmla="*/ 162 h 16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0" h="162">
                  <a:moveTo>
                    <a:pt x="79" y="159"/>
                  </a:moveTo>
                  <a:cubicBezTo>
                    <a:pt x="75" y="159"/>
                    <a:pt x="79" y="153"/>
                    <a:pt x="74" y="154"/>
                  </a:cubicBezTo>
                  <a:cubicBezTo>
                    <a:pt x="68" y="148"/>
                    <a:pt x="75" y="145"/>
                    <a:pt x="75" y="145"/>
                  </a:cubicBezTo>
                  <a:cubicBezTo>
                    <a:pt x="70" y="146"/>
                    <a:pt x="68" y="142"/>
                    <a:pt x="68" y="142"/>
                  </a:cubicBezTo>
                  <a:cubicBezTo>
                    <a:pt x="63" y="135"/>
                    <a:pt x="62" y="142"/>
                    <a:pt x="62" y="142"/>
                  </a:cubicBezTo>
                  <a:cubicBezTo>
                    <a:pt x="62" y="144"/>
                    <a:pt x="58" y="142"/>
                    <a:pt x="56" y="146"/>
                  </a:cubicBezTo>
                  <a:cubicBezTo>
                    <a:pt x="43" y="150"/>
                    <a:pt x="37" y="145"/>
                    <a:pt x="37" y="145"/>
                  </a:cubicBezTo>
                  <a:cubicBezTo>
                    <a:pt x="32" y="143"/>
                    <a:pt x="33" y="138"/>
                    <a:pt x="33" y="138"/>
                  </a:cubicBezTo>
                  <a:cubicBezTo>
                    <a:pt x="33" y="135"/>
                    <a:pt x="31" y="132"/>
                    <a:pt x="31" y="132"/>
                  </a:cubicBezTo>
                  <a:cubicBezTo>
                    <a:pt x="28" y="126"/>
                    <a:pt x="22" y="128"/>
                    <a:pt x="22" y="128"/>
                  </a:cubicBezTo>
                  <a:cubicBezTo>
                    <a:pt x="10" y="130"/>
                    <a:pt x="13" y="125"/>
                    <a:pt x="13" y="125"/>
                  </a:cubicBezTo>
                  <a:cubicBezTo>
                    <a:pt x="15" y="121"/>
                    <a:pt x="11" y="119"/>
                    <a:pt x="11" y="119"/>
                  </a:cubicBezTo>
                  <a:cubicBezTo>
                    <a:pt x="6" y="119"/>
                    <a:pt x="7" y="114"/>
                    <a:pt x="7" y="114"/>
                  </a:cubicBezTo>
                  <a:cubicBezTo>
                    <a:pt x="8" y="109"/>
                    <a:pt x="2" y="110"/>
                    <a:pt x="2" y="110"/>
                  </a:cubicBezTo>
                  <a:lnTo>
                    <a:pt x="3" y="101"/>
                  </a:lnTo>
                  <a:lnTo>
                    <a:pt x="3" y="88"/>
                  </a:lnTo>
                  <a:cubicBezTo>
                    <a:pt x="3" y="88"/>
                    <a:pt x="3" y="84"/>
                    <a:pt x="6" y="85"/>
                  </a:cubicBezTo>
                  <a:cubicBezTo>
                    <a:pt x="10" y="77"/>
                    <a:pt x="3" y="77"/>
                    <a:pt x="5" y="69"/>
                  </a:cubicBezTo>
                  <a:cubicBezTo>
                    <a:pt x="5" y="69"/>
                    <a:pt x="0" y="66"/>
                    <a:pt x="6" y="55"/>
                  </a:cubicBezTo>
                  <a:cubicBezTo>
                    <a:pt x="10" y="53"/>
                    <a:pt x="8" y="46"/>
                    <a:pt x="12" y="41"/>
                  </a:cubicBezTo>
                  <a:cubicBezTo>
                    <a:pt x="17" y="39"/>
                    <a:pt x="16" y="35"/>
                    <a:pt x="19" y="35"/>
                  </a:cubicBezTo>
                  <a:cubicBezTo>
                    <a:pt x="19" y="35"/>
                    <a:pt x="23" y="32"/>
                    <a:pt x="22" y="28"/>
                  </a:cubicBezTo>
                  <a:cubicBezTo>
                    <a:pt x="22" y="28"/>
                    <a:pt x="20" y="23"/>
                    <a:pt x="33" y="26"/>
                  </a:cubicBezTo>
                  <a:cubicBezTo>
                    <a:pt x="33" y="26"/>
                    <a:pt x="38" y="32"/>
                    <a:pt x="39" y="25"/>
                  </a:cubicBezTo>
                  <a:cubicBezTo>
                    <a:pt x="39" y="25"/>
                    <a:pt x="41" y="19"/>
                    <a:pt x="56" y="24"/>
                  </a:cubicBezTo>
                  <a:cubicBezTo>
                    <a:pt x="56" y="24"/>
                    <a:pt x="68" y="22"/>
                    <a:pt x="68" y="26"/>
                  </a:cubicBezTo>
                  <a:cubicBezTo>
                    <a:pt x="68" y="26"/>
                    <a:pt x="66" y="30"/>
                    <a:pt x="75" y="28"/>
                  </a:cubicBezTo>
                  <a:cubicBezTo>
                    <a:pt x="75" y="28"/>
                    <a:pt x="78" y="29"/>
                    <a:pt x="86" y="22"/>
                  </a:cubicBezTo>
                  <a:cubicBezTo>
                    <a:pt x="86" y="16"/>
                    <a:pt x="89" y="16"/>
                    <a:pt x="89" y="11"/>
                  </a:cubicBezTo>
                  <a:cubicBezTo>
                    <a:pt x="89" y="11"/>
                    <a:pt x="85" y="3"/>
                    <a:pt x="98" y="7"/>
                  </a:cubicBezTo>
                  <a:cubicBezTo>
                    <a:pt x="98" y="7"/>
                    <a:pt x="106" y="12"/>
                    <a:pt x="109" y="11"/>
                  </a:cubicBezTo>
                  <a:cubicBezTo>
                    <a:pt x="116" y="11"/>
                    <a:pt x="114" y="11"/>
                    <a:pt x="125" y="4"/>
                  </a:cubicBezTo>
                  <a:cubicBezTo>
                    <a:pt x="125" y="4"/>
                    <a:pt x="126" y="0"/>
                    <a:pt x="139" y="2"/>
                  </a:cubicBezTo>
                  <a:cubicBezTo>
                    <a:pt x="137" y="5"/>
                    <a:pt x="135" y="10"/>
                    <a:pt x="135" y="10"/>
                  </a:cubicBezTo>
                  <a:cubicBezTo>
                    <a:pt x="131" y="20"/>
                    <a:pt x="135" y="21"/>
                    <a:pt x="135" y="21"/>
                  </a:cubicBezTo>
                  <a:cubicBezTo>
                    <a:pt x="140" y="22"/>
                    <a:pt x="140" y="26"/>
                    <a:pt x="140" y="26"/>
                  </a:cubicBezTo>
                  <a:cubicBezTo>
                    <a:pt x="140" y="28"/>
                    <a:pt x="135" y="25"/>
                    <a:pt x="136" y="30"/>
                  </a:cubicBezTo>
                  <a:cubicBezTo>
                    <a:pt x="134" y="32"/>
                    <a:pt x="135" y="34"/>
                    <a:pt x="135" y="34"/>
                  </a:cubicBezTo>
                  <a:cubicBezTo>
                    <a:pt x="136" y="38"/>
                    <a:pt x="130" y="37"/>
                    <a:pt x="130" y="37"/>
                  </a:cubicBezTo>
                  <a:cubicBezTo>
                    <a:pt x="125" y="38"/>
                    <a:pt x="124" y="44"/>
                    <a:pt x="124" y="44"/>
                  </a:cubicBezTo>
                  <a:cubicBezTo>
                    <a:pt x="118" y="48"/>
                    <a:pt x="125" y="56"/>
                    <a:pt x="125" y="56"/>
                  </a:cubicBezTo>
                  <a:cubicBezTo>
                    <a:pt x="127" y="56"/>
                    <a:pt x="126" y="64"/>
                    <a:pt x="126" y="64"/>
                  </a:cubicBezTo>
                  <a:cubicBezTo>
                    <a:pt x="129" y="69"/>
                    <a:pt x="124" y="67"/>
                    <a:pt x="124" y="74"/>
                  </a:cubicBezTo>
                  <a:cubicBezTo>
                    <a:pt x="126" y="81"/>
                    <a:pt x="121" y="80"/>
                    <a:pt x="121" y="80"/>
                  </a:cubicBezTo>
                  <a:cubicBezTo>
                    <a:pt x="123" y="87"/>
                    <a:pt x="122" y="92"/>
                    <a:pt x="122" y="92"/>
                  </a:cubicBezTo>
                  <a:cubicBezTo>
                    <a:pt x="122" y="94"/>
                    <a:pt x="117" y="92"/>
                    <a:pt x="118" y="98"/>
                  </a:cubicBezTo>
                  <a:cubicBezTo>
                    <a:pt x="116" y="102"/>
                    <a:pt x="121" y="103"/>
                    <a:pt x="121" y="103"/>
                  </a:cubicBezTo>
                  <a:cubicBezTo>
                    <a:pt x="123" y="102"/>
                    <a:pt x="122" y="107"/>
                    <a:pt x="125" y="106"/>
                  </a:cubicBezTo>
                  <a:cubicBezTo>
                    <a:pt x="127" y="106"/>
                    <a:pt x="126" y="103"/>
                    <a:pt x="130" y="104"/>
                  </a:cubicBezTo>
                  <a:cubicBezTo>
                    <a:pt x="125" y="109"/>
                    <a:pt x="130" y="112"/>
                    <a:pt x="130" y="112"/>
                  </a:cubicBezTo>
                  <a:cubicBezTo>
                    <a:pt x="129" y="116"/>
                    <a:pt x="125" y="117"/>
                    <a:pt x="126" y="121"/>
                  </a:cubicBezTo>
                  <a:cubicBezTo>
                    <a:pt x="125" y="124"/>
                    <a:pt x="130" y="127"/>
                    <a:pt x="127" y="131"/>
                  </a:cubicBezTo>
                  <a:cubicBezTo>
                    <a:pt x="127" y="139"/>
                    <a:pt x="124" y="144"/>
                    <a:pt x="124" y="144"/>
                  </a:cubicBezTo>
                  <a:cubicBezTo>
                    <a:pt x="124" y="147"/>
                    <a:pt x="118" y="151"/>
                    <a:pt x="118" y="151"/>
                  </a:cubicBezTo>
                  <a:cubicBezTo>
                    <a:pt x="115" y="157"/>
                    <a:pt x="110" y="156"/>
                    <a:pt x="110" y="156"/>
                  </a:cubicBezTo>
                  <a:cubicBezTo>
                    <a:pt x="101" y="160"/>
                    <a:pt x="97" y="156"/>
                    <a:pt x="97" y="156"/>
                  </a:cubicBezTo>
                  <a:cubicBezTo>
                    <a:pt x="92" y="152"/>
                    <a:pt x="87" y="156"/>
                    <a:pt x="87" y="156"/>
                  </a:cubicBezTo>
                  <a:cubicBezTo>
                    <a:pt x="84" y="162"/>
                    <a:pt x="79" y="159"/>
                    <a:pt x="79" y="159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32" name="Freeform 1177">
              <a:extLst>
                <a:ext uri="{FF2B5EF4-FFF2-40B4-BE49-F238E27FC236}">
                  <a16:creationId xmlns:a16="http://schemas.microsoft.com/office/drawing/2014/main" id="{C829BB6B-9399-41B9-A9AF-0A0E9641D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7818" y="2327983"/>
              <a:ext cx="981707" cy="1299473"/>
            </a:xfrm>
            <a:custGeom>
              <a:avLst/>
              <a:gdLst>
                <a:gd name="T0" fmla="*/ 47625 w 139"/>
                <a:gd name="T1" fmla="*/ 1127125 h 184"/>
                <a:gd name="T2" fmla="*/ 111125 w 139"/>
                <a:gd name="T3" fmla="*/ 1047750 h 184"/>
                <a:gd name="T4" fmla="*/ 142875 w 139"/>
                <a:gd name="T5" fmla="*/ 904875 h 184"/>
                <a:gd name="T6" fmla="*/ 119062 w 139"/>
                <a:gd name="T7" fmla="*/ 769938 h 184"/>
                <a:gd name="T8" fmla="*/ 79375 w 139"/>
                <a:gd name="T9" fmla="*/ 642938 h 184"/>
                <a:gd name="T10" fmla="*/ 87312 w 139"/>
                <a:gd name="T11" fmla="*/ 484188 h 184"/>
                <a:gd name="T12" fmla="*/ 79375 w 139"/>
                <a:gd name="T13" fmla="*/ 309563 h 184"/>
                <a:gd name="T14" fmla="*/ 7937 w 139"/>
                <a:gd name="T15" fmla="*/ 269875 h 184"/>
                <a:gd name="T16" fmla="*/ 0 w 139"/>
                <a:gd name="T17" fmla="*/ 198438 h 184"/>
                <a:gd name="T18" fmla="*/ 134937 w 139"/>
                <a:gd name="T19" fmla="*/ 63500 h 184"/>
                <a:gd name="T20" fmla="*/ 246062 w 139"/>
                <a:gd name="T21" fmla="*/ 63500 h 184"/>
                <a:gd name="T22" fmla="*/ 388937 w 139"/>
                <a:gd name="T23" fmla="*/ 71438 h 184"/>
                <a:gd name="T24" fmla="*/ 492125 w 139"/>
                <a:gd name="T25" fmla="*/ 182563 h 184"/>
                <a:gd name="T26" fmla="*/ 492125 w 139"/>
                <a:gd name="T27" fmla="*/ 285750 h 184"/>
                <a:gd name="T28" fmla="*/ 484187 w 139"/>
                <a:gd name="T29" fmla="*/ 357188 h 184"/>
                <a:gd name="T30" fmla="*/ 555625 w 139"/>
                <a:gd name="T31" fmla="*/ 428625 h 184"/>
                <a:gd name="T32" fmla="*/ 642937 w 139"/>
                <a:gd name="T33" fmla="*/ 500063 h 184"/>
                <a:gd name="T34" fmla="*/ 730250 w 139"/>
                <a:gd name="T35" fmla="*/ 579438 h 184"/>
                <a:gd name="T36" fmla="*/ 912812 w 139"/>
                <a:gd name="T37" fmla="*/ 642938 h 184"/>
                <a:gd name="T38" fmla="*/ 1008062 w 139"/>
                <a:gd name="T39" fmla="*/ 611188 h 184"/>
                <a:gd name="T40" fmla="*/ 1055687 w 139"/>
                <a:gd name="T41" fmla="*/ 706438 h 184"/>
                <a:gd name="T42" fmla="*/ 1087437 w 139"/>
                <a:gd name="T43" fmla="*/ 809625 h 184"/>
                <a:gd name="T44" fmla="*/ 992187 w 139"/>
                <a:gd name="T45" fmla="*/ 904875 h 184"/>
                <a:gd name="T46" fmla="*/ 920750 w 139"/>
                <a:gd name="T47" fmla="*/ 1047750 h 184"/>
                <a:gd name="T48" fmla="*/ 777875 w 139"/>
                <a:gd name="T49" fmla="*/ 1039813 h 184"/>
                <a:gd name="T50" fmla="*/ 706437 w 139"/>
                <a:gd name="T51" fmla="*/ 1206500 h 184"/>
                <a:gd name="T52" fmla="*/ 642937 w 139"/>
                <a:gd name="T53" fmla="*/ 1317625 h 184"/>
                <a:gd name="T54" fmla="*/ 460375 w 139"/>
                <a:gd name="T55" fmla="*/ 1365250 h 184"/>
                <a:gd name="T56" fmla="*/ 404812 w 139"/>
                <a:gd name="T57" fmla="*/ 1420813 h 184"/>
                <a:gd name="T58" fmla="*/ 301625 w 139"/>
                <a:gd name="T59" fmla="*/ 1397000 h 184"/>
                <a:gd name="T60" fmla="*/ 174625 w 139"/>
                <a:gd name="T61" fmla="*/ 1452563 h 184"/>
                <a:gd name="T62" fmla="*/ 71437 w 139"/>
                <a:gd name="T63" fmla="*/ 1373188 h 184"/>
                <a:gd name="T64" fmla="*/ 79375 w 139"/>
                <a:gd name="T65" fmla="*/ 1230313 h 184"/>
                <a:gd name="T66" fmla="*/ 55562 w 139"/>
                <a:gd name="T67" fmla="*/ 1166813 h 18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39"/>
                <a:gd name="T103" fmla="*/ 0 h 184"/>
                <a:gd name="T104" fmla="*/ 139 w 139"/>
                <a:gd name="T105" fmla="*/ 184 h 18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39" h="184">
                  <a:moveTo>
                    <a:pt x="7" y="147"/>
                  </a:moveTo>
                  <a:cubicBezTo>
                    <a:pt x="9" y="144"/>
                    <a:pt x="6" y="142"/>
                    <a:pt x="6" y="142"/>
                  </a:cubicBezTo>
                  <a:cubicBezTo>
                    <a:pt x="5" y="138"/>
                    <a:pt x="6" y="136"/>
                    <a:pt x="6" y="136"/>
                  </a:cubicBezTo>
                  <a:cubicBezTo>
                    <a:pt x="11" y="135"/>
                    <a:pt x="14" y="132"/>
                    <a:pt x="14" y="132"/>
                  </a:cubicBezTo>
                  <a:cubicBezTo>
                    <a:pt x="22" y="126"/>
                    <a:pt x="20" y="124"/>
                    <a:pt x="20" y="124"/>
                  </a:cubicBezTo>
                  <a:cubicBezTo>
                    <a:pt x="16" y="121"/>
                    <a:pt x="18" y="114"/>
                    <a:pt x="18" y="114"/>
                  </a:cubicBezTo>
                  <a:cubicBezTo>
                    <a:pt x="22" y="111"/>
                    <a:pt x="19" y="107"/>
                    <a:pt x="19" y="107"/>
                  </a:cubicBezTo>
                  <a:cubicBezTo>
                    <a:pt x="20" y="98"/>
                    <a:pt x="15" y="97"/>
                    <a:pt x="15" y="97"/>
                  </a:cubicBezTo>
                  <a:cubicBezTo>
                    <a:pt x="15" y="89"/>
                    <a:pt x="11" y="89"/>
                    <a:pt x="11" y="89"/>
                  </a:cubicBezTo>
                  <a:cubicBezTo>
                    <a:pt x="5" y="87"/>
                    <a:pt x="9" y="86"/>
                    <a:pt x="10" y="81"/>
                  </a:cubicBezTo>
                  <a:cubicBezTo>
                    <a:pt x="8" y="73"/>
                    <a:pt x="11" y="71"/>
                    <a:pt x="11" y="71"/>
                  </a:cubicBezTo>
                  <a:cubicBezTo>
                    <a:pt x="16" y="63"/>
                    <a:pt x="11" y="61"/>
                    <a:pt x="11" y="61"/>
                  </a:cubicBezTo>
                  <a:cubicBezTo>
                    <a:pt x="12" y="51"/>
                    <a:pt x="6" y="48"/>
                    <a:pt x="6" y="48"/>
                  </a:cubicBezTo>
                  <a:cubicBezTo>
                    <a:pt x="5" y="46"/>
                    <a:pt x="9" y="46"/>
                    <a:pt x="10" y="39"/>
                  </a:cubicBezTo>
                  <a:cubicBezTo>
                    <a:pt x="6" y="31"/>
                    <a:pt x="1" y="34"/>
                    <a:pt x="1" y="34"/>
                  </a:cubicBezTo>
                  <a:lnTo>
                    <a:pt x="0" y="25"/>
                  </a:lnTo>
                  <a:cubicBezTo>
                    <a:pt x="10" y="23"/>
                    <a:pt x="5" y="14"/>
                    <a:pt x="5" y="14"/>
                  </a:cubicBezTo>
                  <a:cubicBezTo>
                    <a:pt x="11" y="12"/>
                    <a:pt x="13" y="8"/>
                    <a:pt x="17" y="8"/>
                  </a:cubicBezTo>
                  <a:cubicBezTo>
                    <a:pt x="17" y="8"/>
                    <a:pt x="19" y="0"/>
                    <a:pt x="24" y="7"/>
                  </a:cubicBezTo>
                  <a:cubicBezTo>
                    <a:pt x="24" y="7"/>
                    <a:pt x="26" y="12"/>
                    <a:pt x="31" y="8"/>
                  </a:cubicBezTo>
                  <a:cubicBezTo>
                    <a:pt x="31" y="8"/>
                    <a:pt x="34" y="5"/>
                    <a:pt x="40" y="6"/>
                  </a:cubicBezTo>
                  <a:cubicBezTo>
                    <a:pt x="40" y="6"/>
                    <a:pt x="47" y="5"/>
                    <a:pt x="49" y="9"/>
                  </a:cubicBezTo>
                  <a:cubicBezTo>
                    <a:pt x="49" y="9"/>
                    <a:pt x="54" y="13"/>
                    <a:pt x="53" y="16"/>
                  </a:cubicBezTo>
                  <a:cubicBezTo>
                    <a:pt x="53" y="16"/>
                    <a:pt x="54" y="21"/>
                    <a:pt x="62" y="23"/>
                  </a:cubicBezTo>
                  <a:lnTo>
                    <a:pt x="62" y="36"/>
                  </a:lnTo>
                  <a:lnTo>
                    <a:pt x="61" y="45"/>
                  </a:lnTo>
                  <a:cubicBezTo>
                    <a:pt x="61" y="45"/>
                    <a:pt x="67" y="44"/>
                    <a:pt x="66" y="49"/>
                  </a:cubicBezTo>
                  <a:cubicBezTo>
                    <a:pt x="66" y="49"/>
                    <a:pt x="65" y="54"/>
                    <a:pt x="70" y="54"/>
                  </a:cubicBezTo>
                  <a:cubicBezTo>
                    <a:pt x="70" y="54"/>
                    <a:pt x="74" y="56"/>
                    <a:pt x="72" y="60"/>
                  </a:cubicBezTo>
                  <a:cubicBezTo>
                    <a:pt x="72" y="60"/>
                    <a:pt x="69" y="65"/>
                    <a:pt x="81" y="63"/>
                  </a:cubicBezTo>
                  <a:cubicBezTo>
                    <a:pt x="81" y="63"/>
                    <a:pt x="87" y="61"/>
                    <a:pt x="90" y="67"/>
                  </a:cubicBezTo>
                  <a:cubicBezTo>
                    <a:pt x="90" y="67"/>
                    <a:pt x="92" y="70"/>
                    <a:pt x="92" y="73"/>
                  </a:cubicBezTo>
                  <a:cubicBezTo>
                    <a:pt x="92" y="73"/>
                    <a:pt x="91" y="78"/>
                    <a:pt x="96" y="80"/>
                  </a:cubicBezTo>
                  <a:cubicBezTo>
                    <a:pt x="96" y="80"/>
                    <a:pt x="102" y="85"/>
                    <a:pt x="115" y="81"/>
                  </a:cubicBezTo>
                  <a:cubicBezTo>
                    <a:pt x="117" y="77"/>
                    <a:pt x="121" y="79"/>
                    <a:pt x="121" y="77"/>
                  </a:cubicBezTo>
                  <a:cubicBezTo>
                    <a:pt x="121" y="77"/>
                    <a:pt x="122" y="70"/>
                    <a:pt x="127" y="77"/>
                  </a:cubicBezTo>
                  <a:cubicBezTo>
                    <a:pt x="127" y="77"/>
                    <a:pt x="129" y="81"/>
                    <a:pt x="134" y="80"/>
                  </a:cubicBezTo>
                  <a:cubicBezTo>
                    <a:pt x="134" y="80"/>
                    <a:pt x="127" y="83"/>
                    <a:pt x="133" y="89"/>
                  </a:cubicBezTo>
                  <a:cubicBezTo>
                    <a:pt x="138" y="88"/>
                    <a:pt x="135" y="93"/>
                    <a:pt x="138" y="94"/>
                  </a:cubicBezTo>
                  <a:cubicBezTo>
                    <a:pt x="139" y="99"/>
                    <a:pt x="137" y="102"/>
                    <a:pt x="137" y="102"/>
                  </a:cubicBezTo>
                  <a:cubicBezTo>
                    <a:pt x="137" y="102"/>
                    <a:pt x="129" y="104"/>
                    <a:pt x="130" y="109"/>
                  </a:cubicBezTo>
                  <a:cubicBezTo>
                    <a:pt x="131" y="111"/>
                    <a:pt x="125" y="111"/>
                    <a:pt x="125" y="114"/>
                  </a:cubicBezTo>
                  <a:cubicBezTo>
                    <a:pt x="125" y="114"/>
                    <a:pt x="127" y="120"/>
                    <a:pt x="123" y="121"/>
                  </a:cubicBezTo>
                  <a:cubicBezTo>
                    <a:pt x="123" y="121"/>
                    <a:pt x="122" y="133"/>
                    <a:pt x="116" y="132"/>
                  </a:cubicBezTo>
                  <a:cubicBezTo>
                    <a:pt x="116" y="132"/>
                    <a:pt x="108" y="134"/>
                    <a:pt x="105" y="131"/>
                  </a:cubicBezTo>
                  <a:cubicBezTo>
                    <a:pt x="105" y="131"/>
                    <a:pt x="101" y="126"/>
                    <a:pt x="98" y="131"/>
                  </a:cubicBezTo>
                  <a:cubicBezTo>
                    <a:pt x="98" y="131"/>
                    <a:pt x="91" y="129"/>
                    <a:pt x="92" y="140"/>
                  </a:cubicBezTo>
                  <a:cubicBezTo>
                    <a:pt x="92" y="140"/>
                    <a:pt x="92" y="147"/>
                    <a:pt x="89" y="152"/>
                  </a:cubicBezTo>
                  <a:cubicBezTo>
                    <a:pt x="89" y="152"/>
                    <a:pt x="89" y="155"/>
                    <a:pt x="89" y="159"/>
                  </a:cubicBezTo>
                  <a:cubicBezTo>
                    <a:pt x="89" y="159"/>
                    <a:pt x="81" y="162"/>
                    <a:pt x="81" y="166"/>
                  </a:cubicBezTo>
                  <a:cubicBezTo>
                    <a:pt x="81" y="166"/>
                    <a:pt x="80" y="172"/>
                    <a:pt x="70" y="172"/>
                  </a:cubicBezTo>
                  <a:cubicBezTo>
                    <a:pt x="70" y="172"/>
                    <a:pt x="67" y="169"/>
                    <a:pt x="58" y="172"/>
                  </a:cubicBezTo>
                  <a:cubicBezTo>
                    <a:pt x="58" y="172"/>
                    <a:pt x="53" y="167"/>
                    <a:pt x="53" y="175"/>
                  </a:cubicBezTo>
                  <a:cubicBezTo>
                    <a:pt x="53" y="175"/>
                    <a:pt x="54" y="181"/>
                    <a:pt x="51" y="179"/>
                  </a:cubicBezTo>
                  <a:cubicBezTo>
                    <a:pt x="51" y="179"/>
                    <a:pt x="49" y="176"/>
                    <a:pt x="44" y="176"/>
                  </a:cubicBezTo>
                  <a:cubicBezTo>
                    <a:pt x="44" y="176"/>
                    <a:pt x="40" y="170"/>
                    <a:pt x="38" y="176"/>
                  </a:cubicBezTo>
                  <a:cubicBezTo>
                    <a:pt x="38" y="176"/>
                    <a:pt x="31" y="176"/>
                    <a:pt x="29" y="180"/>
                  </a:cubicBezTo>
                  <a:cubicBezTo>
                    <a:pt x="29" y="180"/>
                    <a:pt x="26" y="184"/>
                    <a:pt x="22" y="183"/>
                  </a:cubicBezTo>
                  <a:cubicBezTo>
                    <a:pt x="19" y="184"/>
                    <a:pt x="22" y="178"/>
                    <a:pt x="17" y="180"/>
                  </a:cubicBezTo>
                  <a:cubicBezTo>
                    <a:pt x="13" y="173"/>
                    <a:pt x="9" y="173"/>
                    <a:pt x="9" y="173"/>
                  </a:cubicBezTo>
                  <a:cubicBezTo>
                    <a:pt x="7" y="169"/>
                    <a:pt x="10" y="167"/>
                    <a:pt x="10" y="167"/>
                  </a:cubicBezTo>
                  <a:cubicBezTo>
                    <a:pt x="13" y="161"/>
                    <a:pt x="10" y="155"/>
                    <a:pt x="10" y="155"/>
                  </a:cubicBezTo>
                  <a:cubicBezTo>
                    <a:pt x="8" y="153"/>
                    <a:pt x="12" y="147"/>
                    <a:pt x="7" y="147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33" name="Freeform 1178">
              <a:extLst>
                <a:ext uri="{FF2B5EF4-FFF2-40B4-BE49-F238E27FC236}">
                  <a16:creationId xmlns:a16="http://schemas.microsoft.com/office/drawing/2014/main" id="{C8034AD8-F87D-484F-BC90-AEABA9909E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1553" y="3224898"/>
              <a:ext cx="953456" cy="1024041"/>
            </a:xfrm>
            <a:custGeom>
              <a:avLst/>
              <a:gdLst>
                <a:gd name="T0" fmla="*/ 968375 w 135"/>
                <a:gd name="T1" fmla="*/ 1047750 h 145"/>
                <a:gd name="T2" fmla="*/ 920750 w 135"/>
                <a:gd name="T3" fmla="*/ 1087437 h 145"/>
                <a:gd name="T4" fmla="*/ 849312 w 135"/>
                <a:gd name="T5" fmla="*/ 1111250 h 145"/>
                <a:gd name="T6" fmla="*/ 785812 w 135"/>
                <a:gd name="T7" fmla="*/ 1111250 h 145"/>
                <a:gd name="T8" fmla="*/ 690562 w 135"/>
                <a:gd name="T9" fmla="*/ 1087437 h 145"/>
                <a:gd name="T10" fmla="*/ 658812 w 135"/>
                <a:gd name="T11" fmla="*/ 1095375 h 145"/>
                <a:gd name="T12" fmla="*/ 603250 w 135"/>
                <a:gd name="T13" fmla="*/ 1150937 h 145"/>
                <a:gd name="T14" fmla="*/ 523875 w 135"/>
                <a:gd name="T15" fmla="*/ 1055687 h 145"/>
                <a:gd name="T16" fmla="*/ 436562 w 135"/>
                <a:gd name="T17" fmla="*/ 1071562 h 145"/>
                <a:gd name="T18" fmla="*/ 412750 w 135"/>
                <a:gd name="T19" fmla="*/ 1079500 h 145"/>
                <a:gd name="T20" fmla="*/ 412750 w 135"/>
                <a:gd name="T21" fmla="*/ 1047750 h 145"/>
                <a:gd name="T22" fmla="*/ 373062 w 135"/>
                <a:gd name="T23" fmla="*/ 1055687 h 145"/>
                <a:gd name="T24" fmla="*/ 396875 w 135"/>
                <a:gd name="T25" fmla="*/ 1023937 h 145"/>
                <a:gd name="T26" fmla="*/ 373062 w 135"/>
                <a:gd name="T27" fmla="*/ 992187 h 145"/>
                <a:gd name="T28" fmla="*/ 333375 w 135"/>
                <a:gd name="T29" fmla="*/ 1000125 h 145"/>
                <a:gd name="T30" fmla="*/ 277812 w 135"/>
                <a:gd name="T31" fmla="*/ 992187 h 145"/>
                <a:gd name="T32" fmla="*/ 254000 w 135"/>
                <a:gd name="T33" fmla="*/ 944562 h 145"/>
                <a:gd name="T34" fmla="*/ 174625 w 135"/>
                <a:gd name="T35" fmla="*/ 881062 h 145"/>
                <a:gd name="T36" fmla="*/ 103187 w 135"/>
                <a:gd name="T37" fmla="*/ 865187 h 145"/>
                <a:gd name="T38" fmla="*/ 15875 w 135"/>
                <a:gd name="T39" fmla="*/ 873125 h 145"/>
                <a:gd name="T40" fmla="*/ 31750 w 135"/>
                <a:gd name="T41" fmla="*/ 801687 h 145"/>
                <a:gd name="T42" fmla="*/ 0 w 135"/>
                <a:gd name="T43" fmla="*/ 754062 h 145"/>
                <a:gd name="T44" fmla="*/ 7937 w 135"/>
                <a:gd name="T45" fmla="*/ 563562 h 145"/>
                <a:gd name="T46" fmla="*/ 39687 w 135"/>
                <a:gd name="T47" fmla="*/ 468312 h 145"/>
                <a:gd name="T48" fmla="*/ 142875 w 135"/>
                <a:gd name="T49" fmla="*/ 444500 h 145"/>
                <a:gd name="T50" fmla="*/ 206375 w 135"/>
                <a:gd name="T51" fmla="*/ 388937 h 145"/>
                <a:gd name="T52" fmla="*/ 182562 w 135"/>
                <a:gd name="T53" fmla="*/ 277812 h 145"/>
                <a:gd name="T54" fmla="*/ 182562 w 135"/>
                <a:gd name="T55" fmla="*/ 190500 h 145"/>
                <a:gd name="T56" fmla="*/ 198437 w 135"/>
                <a:gd name="T57" fmla="*/ 150812 h 145"/>
                <a:gd name="T58" fmla="*/ 198437 w 135"/>
                <a:gd name="T59" fmla="*/ 103187 h 145"/>
                <a:gd name="T60" fmla="*/ 214312 w 135"/>
                <a:gd name="T61" fmla="*/ 71437 h 145"/>
                <a:gd name="T62" fmla="*/ 333375 w 135"/>
                <a:gd name="T63" fmla="*/ 71437 h 145"/>
                <a:gd name="T64" fmla="*/ 428625 w 135"/>
                <a:gd name="T65" fmla="*/ 71437 h 145"/>
                <a:gd name="T66" fmla="*/ 492125 w 135"/>
                <a:gd name="T67" fmla="*/ 63500 h 145"/>
                <a:gd name="T68" fmla="*/ 563562 w 135"/>
                <a:gd name="T69" fmla="*/ 55562 h 145"/>
                <a:gd name="T70" fmla="*/ 603250 w 135"/>
                <a:gd name="T71" fmla="*/ 23812 h 145"/>
                <a:gd name="T72" fmla="*/ 658812 w 135"/>
                <a:gd name="T73" fmla="*/ 79375 h 145"/>
                <a:gd name="T74" fmla="*/ 658812 w 135"/>
                <a:gd name="T75" fmla="*/ 134937 h 145"/>
                <a:gd name="T76" fmla="*/ 674687 w 135"/>
                <a:gd name="T77" fmla="*/ 198437 h 145"/>
                <a:gd name="T78" fmla="*/ 769937 w 135"/>
                <a:gd name="T79" fmla="*/ 190500 h 145"/>
                <a:gd name="T80" fmla="*/ 849312 w 135"/>
                <a:gd name="T81" fmla="*/ 158750 h 145"/>
                <a:gd name="T82" fmla="*/ 873125 w 135"/>
                <a:gd name="T83" fmla="*/ 222250 h 145"/>
                <a:gd name="T84" fmla="*/ 873125 w 135"/>
                <a:gd name="T85" fmla="*/ 317500 h 145"/>
                <a:gd name="T86" fmla="*/ 865187 w 135"/>
                <a:gd name="T87" fmla="*/ 365125 h 145"/>
                <a:gd name="T88" fmla="*/ 936625 w 135"/>
                <a:gd name="T89" fmla="*/ 428625 h 145"/>
                <a:gd name="T90" fmla="*/ 920750 w 135"/>
                <a:gd name="T91" fmla="*/ 515937 h 145"/>
                <a:gd name="T92" fmla="*/ 920750 w 135"/>
                <a:gd name="T93" fmla="*/ 547687 h 145"/>
                <a:gd name="T94" fmla="*/ 936625 w 135"/>
                <a:gd name="T95" fmla="*/ 611187 h 145"/>
                <a:gd name="T96" fmla="*/ 944562 w 135"/>
                <a:gd name="T97" fmla="*/ 650875 h 145"/>
                <a:gd name="T98" fmla="*/ 976312 w 135"/>
                <a:gd name="T99" fmla="*/ 690562 h 145"/>
                <a:gd name="T100" fmla="*/ 1016000 w 135"/>
                <a:gd name="T101" fmla="*/ 762000 h 145"/>
                <a:gd name="T102" fmla="*/ 1039812 w 135"/>
                <a:gd name="T103" fmla="*/ 809625 h 145"/>
                <a:gd name="T104" fmla="*/ 1055687 w 135"/>
                <a:gd name="T105" fmla="*/ 865187 h 145"/>
                <a:gd name="T106" fmla="*/ 1063625 w 135"/>
                <a:gd name="T107" fmla="*/ 904875 h 145"/>
                <a:gd name="T108" fmla="*/ 1008062 w 135"/>
                <a:gd name="T109" fmla="*/ 920750 h 145"/>
                <a:gd name="T110" fmla="*/ 960437 w 135"/>
                <a:gd name="T111" fmla="*/ 952500 h 145"/>
                <a:gd name="T112" fmla="*/ 968375 w 135"/>
                <a:gd name="T113" fmla="*/ 1047750 h 145"/>
                <a:gd name="T114" fmla="*/ 968375 w 135"/>
                <a:gd name="T115" fmla="*/ 1047750 h 145"/>
                <a:gd name="T116" fmla="*/ 968375 w 135"/>
                <a:gd name="T117" fmla="*/ 1047750 h 14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35"/>
                <a:gd name="T178" fmla="*/ 0 h 145"/>
                <a:gd name="T179" fmla="*/ 135 w 135"/>
                <a:gd name="T180" fmla="*/ 145 h 14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35" h="145">
                  <a:moveTo>
                    <a:pt x="122" y="132"/>
                  </a:moveTo>
                  <a:cubicBezTo>
                    <a:pt x="122" y="132"/>
                    <a:pt x="115" y="132"/>
                    <a:pt x="116" y="137"/>
                  </a:cubicBezTo>
                  <a:cubicBezTo>
                    <a:pt x="116" y="137"/>
                    <a:pt x="116" y="141"/>
                    <a:pt x="107" y="140"/>
                  </a:cubicBezTo>
                  <a:cubicBezTo>
                    <a:pt x="107" y="140"/>
                    <a:pt x="104" y="135"/>
                    <a:pt x="99" y="140"/>
                  </a:cubicBezTo>
                  <a:cubicBezTo>
                    <a:pt x="99" y="140"/>
                    <a:pt x="92" y="141"/>
                    <a:pt x="87" y="137"/>
                  </a:cubicBezTo>
                  <a:cubicBezTo>
                    <a:pt x="87" y="137"/>
                    <a:pt x="84" y="130"/>
                    <a:pt x="83" y="138"/>
                  </a:cubicBezTo>
                  <a:cubicBezTo>
                    <a:pt x="83" y="138"/>
                    <a:pt x="81" y="144"/>
                    <a:pt x="76" y="145"/>
                  </a:cubicBezTo>
                  <a:cubicBezTo>
                    <a:pt x="72" y="144"/>
                    <a:pt x="74" y="133"/>
                    <a:pt x="66" y="133"/>
                  </a:cubicBezTo>
                  <a:cubicBezTo>
                    <a:pt x="66" y="133"/>
                    <a:pt x="58" y="130"/>
                    <a:pt x="55" y="135"/>
                  </a:cubicBezTo>
                  <a:cubicBezTo>
                    <a:pt x="55" y="135"/>
                    <a:pt x="56" y="140"/>
                    <a:pt x="52" y="136"/>
                  </a:cubicBezTo>
                  <a:cubicBezTo>
                    <a:pt x="52" y="136"/>
                    <a:pt x="54" y="133"/>
                    <a:pt x="52" y="132"/>
                  </a:cubicBezTo>
                  <a:cubicBezTo>
                    <a:pt x="52" y="132"/>
                    <a:pt x="50" y="131"/>
                    <a:pt x="47" y="133"/>
                  </a:cubicBezTo>
                  <a:cubicBezTo>
                    <a:pt x="47" y="133"/>
                    <a:pt x="49" y="132"/>
                    <a:pt x="50" y="129"/>
                  </a:cubicBezTo>
                  <a:cubicBezTo>
                    <a:pt x="50" y="129"/>
                    <a:pt x="51" y="124"/>
                    <a:pt x="47" y="125"/>
                  </a:cubicBezTo>
                  <a:cubicBezTo>
                    <a:pt x="47" y="125"/>
                    <a:pt x="43" y="124"/>
                    <a:pt x="42" y="126"/>
                  </a:cubicBezTo>
                  <a:cubicBezTo>
                    <a:pt x="42" y="126"/>
                    <a:pt x="40" y="121"/>
                    <a:pt x="35" y="125"/>
                  </a:cubicBezTo>
                  <a:cubicBezTo>
                    <a:pt x="35" y="125"/>
                    <a:pt x="36" y="118"/>
                    <a:pt x="32" y="119"/>
                  </a:cubicBezTo>
                  <a:cubicBezTo>
                    <a:pt x="25" y="119"/>
                    <a:pt x="25" y="111"/>
                    <a:pt x="22" y="111"/>
                  </a:cubicBezTo>
                  <a:cubicBezTo>
                    <a:pt x="22" y="111"/>
                    <a:pt x="20" y="106"/>
                    <a:pt x="13" y="109"/>
                  </a:cubicBezTo>
                  <a:cubicBezTo>
                    <a:pt x="10" y="106"/>
                    <a:pt x="12" y="112"/>
                    <a:pt x="2" y="110"/>
                  </a:cubicBezTo>
                  <a:cubicBezTo>
                    <a:pt x="7" y="104"/>
                    <a:pt x="4" y="101"/>
                    <a:pt x="4" y="101"/>
                  </a:cubicBezTo>
                  <a:cubicBezTo>
                    <a:pt x="5" y="92"/>
                    <a:pt x="0" y="95"/>
                    <a:pt x="0" y="95"/>
                  </a:cubicBezTo>
                  <a:cubicBezTo>
                    <a:pt x="0" y="95"/>
                    <a:pt x="3" y="88"/>
                    <a:pt x="1" y="71"/>
                  </a:cubicBezTo>
                  <a:cubicBezTo>
                    <a:pt x="0" y="64"/>
                    <a:pt x="7" y="61"/>
                    <a:pt x="5" y="59"/>
                  </a:cubicBezTo>
                  <a:cubicBezTo>
                    <a:pt x="5" y="56"/>
                    <a:pt x="15" y="52"/>
                    <a:pt x="18" y="56"/>
                  </a:cubicBezTo>
                  <a:cubicBezTo>
                    <a:pt x="18" y="56"/>
                    <a:pt x="29" y="62"/>
                    <a:pt x="26" y="49"/>
                  </a:cubicBezTo>
                  <a:cubicBezTo>
                    <a:pt x="26" y="49"/>
                    <a:pt x="27" y="40"/>
                    <a:pt x="23" y="35"/>
                  </a:cubicBezTo>
                  <a:cubicBezTo>
                    <a:pt x="23" y="35"/>
                    <a:pt x="17" y="29"/>
                    <a:pt x="23" y="24"/>
                  </a:cubicBezTo>
                  <a:cubicBezTo>
                    <a:pt x="23" y="24"/>
                    <a:pt x="26" y="22"/>
                    <a:pt x="25" y="19"/>
                  </a:cubicBezTo>
                  <a:cubicBezTo>
                    <a:pt x="25" y="19"/>
                    <a:pt x="20" y="15"/>
                    <a:pt x="25" y="13"/>
                  </a:cubicBezTo>
                  <a:cubicBezTo>
                    <a:pt x="25" y="13"/>
                    <a:pt x="30" y="12"/>
                    <a:pt x="27" y="9"/>
                  </a:cubicBezTo>
                  <a:cubicBezTo>
                    <a:pt x="34" y="7"/>
                    <a:pt x="38" y="12"/>
                    <a:pt x="42" y="9"/>
                  </a:cubicBezTo>
                  <a:cubicBezTo>
                    <a:pt x="51" y="6"/>
                    <a:pt x="53" y="12"/>
                    <a:pt x="54" y="9"/>
                  </a:cubicBezTo>
                  <a:cubicBezTo>
                    <a:pt x="57" y="5"/>
                    <a:pt x="62" y="8"/>
                    <a:pt x="62" y="8"/>
                  </a:cubicBezTo>
                  <a:cubicBezTo>
                    <a:pt x="62" y="8"/>
                    <a:pt x="66" y="10"/>
                    <a:pt x="71" y="7"/>
                  </a:cubicBezTo>
                  <a:cubicBezTo>
                    <a:pt x="71" y="3"/>
                    <a:pt x="73" y="3"/>
                    <a:pt x="76" y="3"/>
                  </a:cubicBezTo>
                  <a:cubicBezTo>
                    <a:pt x="84" y="0"/>
                    <a:pt x="79" y="9"/>
                    <a:pt x="83" y="10"/>
                  </a:cubicBezTo>
                  <a:cubicBezTo>
                    <a:pt x="83" y="10"/>
                    <a:pt x="85" y="15"/>
                    <a:pt x="83" y="17"/>
                  </a:cubicBezTo>
                  <a:cubicBezTo>
                    <a:pt x="83" y="17"/>
                    <a:pt x="80" y="22"/>
                    <a:pt x="85" y="25"/>
                  </a:cubicBezTo>
                  <a:cubicBezTo>
                    <a:pt x="85" y="25"/>
                    <a:pt x="95" y="26"/>
                    <a:pt x="97" y="24"/>
                  </a:cubicBezTo>
                  <a:cubicBezTo>
                    <a:pt x="99" y="20"/>
                    <a:pt x="103" y="23"/>
                    <a:pt x="107" y="20"/>
                  </a:cubicBezTo>
                  <a:cubicBezTo>
                    <a:pt x="111" y="20"/>
                    <a:pt x="108" y="26"/>
                    <a:pt x="110" y="28"/>
                  </a:cubicBezTo>
                  <a:cubicBezTo>
                    <a:pt x="110" y="28"/>
                    <a:pt x="113" y="34"/>
                    <a:pt x="110" y="40"/>
                  </a:cubicBezTo>
                  <a:cubicBezTo>
                    <a:pt x="110" y="40"/>
                    <a:pt x="107" y="42"/>
                    <a:pt x="109" y="46"/>
                  </a:cubicBezTo>
                  <a:cubicBezTo>
                    <a:pt x="109" y="46"/>
                    <a:pt x="114" y="46"/>
                    <a:pt x="118" y="54"/>
                  </a:cubicBezTo>
                  <a:cubicBezTo>
                    <a:pt x="118" y="54"/>
                    <a:pt x="120" y="59"/>
                    <a:pt x="116" y="65"/>
                  </a:cubicBezTo>
                  <a:cubicBezTo>
                    <a:pt x="114" y="64"/>
                    <a:pt x="109" y="69"/>
                    <a:pt x="116" y="69"/>
                  </a:cubicBezTo>
                  <a:cubicBezTo>
                    <a:pt x="116" y="69"/>
                    <a:pt x="113" y="76"/>
                    <a:pt x="118" y="77"/>
                  </a:cubicBezTo>
                  <a:cubicBezTo>
                    <a:pt x="118" y="77"/>
                    <a:pt x="116" y="81"/>
                    <a:pt x="119" y="82"/>
                  </a:cubicBezTo>
                  <a:cubicBezTo>
                    <a:pt x="122" y="81"/>
                    <a:pt x="118" y="86"/>
                    <a:pt x="123" y="87"/>
                  </a:cubicBezTo>
                  <a:cubicBezTo>
                    <a:pt x="128" y="91"/>
                    <a:pt x="124" y="94"/>
                    <a:pt x="128" y="96"/>
                  </a:cubicBezTo>
                  <a:cubicBezTo>
                    <a:pt x="134" y="95"/>
                    <a:pt x="129" y="102"/>
                    <a:pt x="131" y="102"/>
                  </a:cubicBezTo>
                  <a:cubicBezTo>
                    <a:pt x="131" y="102"/>
                    <a:pt x="135" y="103"/>
                    <a:pt x="133" y="109"/>
                  </a:cubicBezTo>
                  <a:cubicBezTo>
                    <a:pt x="133" y="109"/>
                    <a:pt x="127" y="112"/>
                    <a:pt x="134" y="114"/>
                  </a:cubicBezTo>
                  <a:cubicBezTo>
                    <a:pt x="134" y="114"/>
                    <a:pt x="130" y="121"/>
                    <a:pt x="127" y="116"/>
                  </a:cubicBezTo>
                  <a:cubicBezTo>
                    <a:pt x="127" y="116"/>
                    <a:pt x="124" y="113"/>
                    <a:pt x="121" y="120"/>
                  </a:cubicBezTo>
                  <a:cubicBezTo>
                    <a:pt x="121" y="120"/>
                    <a:pt x="117" y="126"/>
                    <a:pt x="122" y="132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34" name="Freeform 1179">
              <a:extLst>
                <a:ext uri="{FF2B5EF4-FFF2-40B4-BE49-F238E27FC236}">
                  <a16:creationId xmlns:a16="http://schemas.microsoft.com/office/drawing/2014/main" id="{BF85338D-F84F-4909-BF00-7C6BE31D1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4856" y="2822345"/>
              <a:ext cx="628575" cy="1165289"/>
            </a:xfrm>
            <a:custGeom>
              <a:avLst/>
              <a:gdLst>
                <a:gd name="T0" fmla="*/ 460375 w 89"/>
                <a:gd name="T1" fmla="*/ 39687 h 165"/>
                <a:gd name="T2" fmla="*/ 476250 w 89"/>
                <a:gd name="T3" fmla="*/ 103187 h 165"/>
                <a:gd name="T4" fmla="*/ 484187 w 89"/>
                <a:gd name="T5" fmla="*/ 150812 h 165"/>
                <a:gd name="T6" fmla="*/ 539750 w 89"/>
                <a:gd name="T7" fmla="*/ 214312 h 165"/>
                <a:gd name="T8" fmla="*/ 595312 w 89"/>
                <a:gd name="T9" fmla="*/ 230187 h 165"/>
                <a:gd name="T10" fmla="*/ 611187 w 89"/>
                <a:gd name="T11" fmla="*/ 301625 h 165"/>
                <a:gd name="T12" fmla="*/ 595312 w 89"/>
                <a:gd name="T13" fmla="*/ 373062 h 165"/>
                <a:gd name="T14" fmla="*/ 571500 w 89"/>
                <a:gd name="T15" fmla="*/ 428625 h 165"/>
                <a:gd name="T16" fmla="*/ 611187 w 89"/>
                <a:gd name="T17" fmla="*/ 500062 h 165"/>
                <a:gd name="T18" fmla="*/ 682625 w 89"/>
                <a:gd name="T19" fmla="*/ 523875 h 165"/>
                <a:gd name="T20" fmla="*/ 666750 w 89"/>
                <a:gd name="T21" fmla="*/ 555625 h 165"/>
                <a:gd name="T22" fmla="*/ 666750 w 89"/>
                <a:gd name="T23" fmla="*/ 603250 h 165"/>
                <a:gd name="T24" fmla="*/ 650875 w 89"/>
                <a:gd name="T25" fmla="*/ 642937 h 165"/>
                <a:gd name="T26" fmla="*/ 650875 w 89"/>
                <a:gd name="T27" fmla="*/ 730250 h 165"/>
                <a:gd name="T28" fmla="*/ 674687 w 89"/>
                <a:gd name="T29" fmla="*/ 841375 h 165"/>
                <a:gd name="T30" fmla="*/ 611187 w 89"/>
                <a:gd name="T31" fmla="*/ 896937 h 165"/>
                <a:gd name="T32" fmla="*/ 508000 w 89"/>
                <a:gd name="T33" fmla="*/ 920750 h 165"/>
                <a:gd name="T34" fmla="*/ 476250 w 89"/>
                <a:gd name="T35" fmla="*/ 1016000 h 165"/>
                <a:gd name="T36" fmla="*/ 468312 w 89"/>
                <a:gd name="T37" fmla="*/ 1198562 h 165"/>
                <a:gd name="T38" fmla="*/ 412750 w 89"/>
                <a:gd name="T39" fmla="*/ 1206500 h 165"/>
                <a:gd name="T40" fmla="*/ 325437 w 89"/>
                <a:gd name="T41" fmla="*/ 1238250 h 165"/>
                <a:gd name="T42" fmla="*/ 269875 w 89"/>
                <a:gd name="T43" fmla="*/ 1230312 h 165"/>
                <a:gd name="T44" fmla="*/ 230187 w 89"/>
                <a:gd name="T45" fmla="*/ 1214437 h 165"/>
                <a:gd name="T46" fmla="*/ 158750 w 89"/>
                <a:gd name="T47" fmla="*/ 1230312 h 165"/>
                <a:gd name="T48" fmla="*/ 158750 w 89"/>
                <a:gd name="T49" fmla="*/ 1277937 h 165"/>
                <a:gd name="T50" fmla="*/ 103187 w 89"/>
                <a:gd name="T51" fmla="*/ 1238250 h 165"/>
                <a:gd name="T52" fmla="*/ 103187 w 89"/>
                <a:gd name="T53" fmla="*/ 1238250 h 165"/>
                <a:gd name="T54" fmla="*/ 47625 w 89"/>
                <a:gd name="T55" fmla="*/ 1238250 h 165"/>
                <a:gd name="T56" fmla="*/ 47625 w 89"/>
                <a:gd name="T57" fmla="*/ 1238250 h 165"/>
                <a:gd name="T58" fmla="*/ 31750 w 89"/>
                <a:gd name="T59" fmla="*/ 1182687 h 165"/>
                <a:gd name="T60" fmla="*/ 7937 w 89"/>
                <a:gd name="T61" fmla="*/ 1055687 h 165"/>
                <a:gd name="T62" fmla="*/ 7937 w 89"/>
                <a:gd name="T63" fmla="*/ 912812 h 165"/>
                <a:gd name="T64" fmla="*/ 23812 w 89"/>
                <a:gd name="T65" fmla="*/ 793750 h 165"/>
                <a:gd name="T66" fmla="*/ 15875 w 89"/>
                <a:gd name="T67" fmla="*/ 674687 h 165"/>
                <a:gd name="T68" fmla="*/ 23812 w 89"/>
                <a:gd name="T69" fmla="*/ 619125 h 165"/>
                <a:gd name="T70" fmla="*/ 39687 w 89"/>
                <a:gd name="T71" fmla="*/ 539750 h 165"/>
                <a:gd name="T72" fmla="*/ 47625 w 89"/>
                <a:gd name="T73" fmla="*/ 500062 h 165"/>
                <a:gd name="T74" fmla="*/ 39687 w 89"/>
                <a:gd name="T75" fmla="*/ 468312 h 165"/>
                <a:gd name="T76" fmla="*/ 55562 w 89"/>
                <a:gd name="T77" fmla="*/ 349250 h 165"/>
                <a:gd name="T78" fmla="*/ 79375 w 89"/>
                <a:gd name="T79" fmla="*/ 246062 h 165"/>
                <a:gd name="T80" fmla="*/ 103187 w 89"/>
                <a:gd name="T81" fmla="*/ 230187 h 165"/>
                <a:gd name="T82" fmla="*/ 142875 w 89"/>
                <a:gd name="T83" fmla="*/ 206375 h 165"/>
                <a:gd name="T84" fmla="*/ 206375 w 89"/>
                <a:gd name="T85" fmla="*/ 166687 h 165"/>
                <a:gd name="T86" fmla="*/ 269875 w 89"/>
                <a:gd name="T87" fmla="*/ 95250 h 165"/>
                <a:gd name="T88" fmla="*/ 341312 w 89"/>
                <a:gd name="T89" fmla="*/ 47625 h 165"/>
                <a:gd name="T90" fmla="*/ 388937 w 89"/>
                <a:gd name="T91" fmla="*/ 31750 h 165"/>
                <a:gd name="T92" fmla="*/ 460375 w 89"/>
                <a:gd name="T93" fmla="*/ 39687 h 165"/>
                <a:gd name="T94" fmla="*/ 460375 w 89"/>
                <a:gd name="T95" fmla="*/ 39687 h 165"/>
                <a:gd name="T96" fmla="*/ 460375 w 89"/>
                <a:gd name="T97" fmla="*/ 39687 h 16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9"/>
                <a:gd name="T148" fmla="*/ 0 h 165"/>
                <a:gd name="T149" fmla="*/ 89 w 89"/>
                <a:gd name="T150" fmla="*/ 165 h 16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9" h="165">
                  <a:moveTo>
                    <a:pt x="58" y="5"/>
                  </a:moveTo>
                  <a:cubicBezTo>
                    <a:pt x="58" y="9"/>
                    <a:pt x="63" y="8"/>
                    <a:pt x="60" y="13"/>
                  </a:cubicBezTo>
                  <a:cubicBezTo>
                    <a:pt x="60" y="13"/>
                    <a:pt x="56" y="16"/>
                    <a:pt x="61" y="19"/>
                  </a:cubicBezTo>
                  <a:cubicBezTo>
                    <a:pt x="66" y="23"/>
                    <a:pt x="66" y="27"/>
                    <a:pt x="68" y="27"/>
                  </a:cubicBezTo>
                  <a:cubicBezTo>
                    <a:pt x="68" y="27"/>
                    <a:pt x="72" y="33"/>
                    <a:pt x="75" y="29"/>
                  </a:cubicBezTo>
                  <a:cubicBezTo>
                    <a:pt x="75" y="29"/>
                    <a:pt x="77" y="30"/>
                    <a:pt x="77" y="38"/>
                  </a:cubicBezTo>
                  <a:cubicBezTo>
                    <a:pt x="74" y="43"/>
                    <a:pt x="80" y="45"/>
                    <a:pt x="75" y="47"/>
                  </a:cubicBezTo>
                  <a:cubicBezTo>
                    <a:pt x="75" y="47"/>
                    <a:pt x="71" y="47"/>
                    <a:pt x="72" y="54"/>
                  </a:cubicBezTo>
                  <a:cubicBezTo>
                    <a:pt x="72" y="54"/>
                    <a:pt x="72" y="58"/>
                    <a:pt x="77" y="63"/>
                  </a:cubicBezTo>
                  <a:cubicBezTo>
                    <a:pt x="77" y="63"/>
                    <a:pt x="84" y="63"/>
                    <a:pt x="86" y="66"/>
                  </a:cubicBezTo>
                  <a:cubicBezTo>
                    <a:pt x="89" y="69"/>
                    <a:pt x="84" y="70"/>
                    <a:pt x="84" y="70"/>
                  </a:cubicBezTo>
                  <a:cubicBezTo>
                    <a:pt x="79" y="72"/>
                    <a:pt x="84" y="76"/>
                    <a:pt x="84" y="76"/>
                  </a:cubicBezTo>
                  <a:cubicBezTo>
                    <a:pt x="85" y="79"/>
                    <a:pt x="82" y="81"/>
                    <a:pt x="82" y="81"/>
                  </a:cubicBezTo>
                  <a:cubicBezTo>
                    <a:pt x="76" y="86"/>
                    <a:pt x="82" y="92"/>
                    <a:pt x="82" y="92"/>
                  </a:cubicBezTo>
                  <a:cubicBezTo>
                    <a:pt x="86" y="97"/>
                    <a:pt x="85" y="106"/>
                    <a:pt x="85" y="106"/>
                  </a:cubicBezTo>
                  <a:cubicBezTo>
                    <a:pt x="88" y="119"/>
                    <a:pt x="77" y="113"/>
                    <a:pt x="77" y="113"/>
                  </a:cubicBezTo>
                  <a:cubicBezTo>
                    <a:pt x="74" y="109"/>
                    <a:pt x="64" y="113"/>
                    <a:pt x="64" y="116"/>
                  </a:cubicBezTo>
                  <a:cubicBezTo>
                    <a:pt x="66" y="118"/>
                    <a:pt x="59" y="121"/>
                    <a:pt x="60" y="128"/>
                  </a:cubicBezTo>
                  <a:cubicBezTo>
                    <a:pt x="62" y="145"/>
                    <a:pt x="59" y="151"/>
                    <a:pt x="59" y="151"/>
                  </a:cubicBezTo>
                  <a:cubicBezTo>
                    <a:pt x="56" y="154"/>
                    <a:pt x="52" y="152"/>
                    <a:pt x="52" y="152"/>
                  </a:cubicBezTo>
                  <a:cubicBezTo>
                    <a:pt x="47" y="157"/>
                    <a:pt x="41" y="156"/>
                    <a:pt x="41" y="156"/>
                  </a:cubicBezTo>
                  <a:cubicBezTo>
                    <a:pt x="39" y="153"/>
                    <a:pt x="34" y="155"/>
                    <a:pt x="34" y="155"/>
                  </a:cubicBezTo>
                  <a:cubicBezTo>
                    <a:pt x="30" y="159"/>
                    <a:pt x="29" y="153"/>
                    <a:pt x="29" y="153"/>
                  </a:cubicBezTo>
                  <a:cubicBezTo>
                    <a:pt x="24" y="153"/>
                    <a:pt x="20" y="155"/>
                    <a:pt x="20" y="155"/>
                  </a:cubicBezTo>
                  <a:cubicBezTo>
                    <a:pt x="23" y="158"/>
                    <a:pt x="20" y="161"/>
                    <a:pt x="20" y="161"/>
                  </a:cubicBezTo>
                  <a:cubicBezTo>
                    <a:pt x="15" y="165"/>
                    <a:pt x="13" y="156"/>
                    <a:pt x="13" y="156"/>
                  </a:cubicBezTo>
                  <a:lnTo>
                    <a:pt x="6" y="156"/>
                  </a:lnTo>
                  <a:cubicBezTo>
                    <a:pt x="7" y="151"/>
                    <a:pt x="4" y="149"/>
                    <a:pt x="4" y="149"/>
                  </a:cubicBezTo>
                  <a:cubicBezTo>
                    <a:pt x="0" y="145"/>
                    <a:pt x="1" y="133"/>
                    <a:pt x="1" y="133"/>
                  </a:cubicBezTo>
                  <a:cubicBezTo>
                    <a:pt x="0" y="126"/>
                    <a:pt x="1" y="115"/>
                    <a:pt x="1" y="115"/>
                  </a:cubicBezTo>
                  <a:cubicBezTo>
                    <a:pt x="4" y="112"/>
                    <a:pt x="0" y="106"/>
                    <a:pt x="3" y="100"/>
                  </a:cubicBezTo>
                  <a:cubicBezTo>
                    <a:pt x="6" y="93"/>
                    <a:pt x="2" y="85"/>
                    <a:pt x="2" y="85"/>
                  </a:cubicBezTo>
                  <a:cubicBezTo>
                    <a:pt x="0" y="80"/>
                    <a:pt x="3" y="78"/>
                    <a:pt x="3" y="78"/>
                  </a:cubicBezTo>
                  <a:cubicBezTo>
                    <a:pt x="3" y="78"/>
                    <a:pt x="5" y="75"/>
                    <a:pt x="5" y="68"/>
                  </a:cubicBezTo>
                  <a:cubicBezTo>
                    <a:pt x="4" y="67"/>
                    <a:pt x="6" y="63"/>
                    <a:pt x="6" y="63"/>
                  </a:cubicBezTo>
                  <a:cubicBezTo>
                    <a:pt x="8" y="60"/>
                    <a:pt x="5" y="59"/>
                    <a:pt x="5" y="59"/>
                  </a:cubicBezTo>
                  <a:cubicBezTo>
                    <a:pt x="1" y="48"/>
                    <a:pt x="7" y="44"/>
                    <a:pt x="7" y="44"/>
                  </a:cubicBezTo>
                  <a:cubicBezTo>
                    <a:pt x="7" y="34"/>
                    <a:pt x="10" y="38"/>
                    <a:pt x="10" y="31"/>
                  </a:cubicBezTo>
                  <a:cubicBezTo>
                    <a:pt x="12" y="31"/>
                    <a:pt x="13" y="29"/>
                    <a:pt x="13" y="29"/>
                  </a:cubicBezTo>
                  <a:cubicBezTo>
                    <a:pt x="16" y="22"/>
                    <a:pt x="18" y="26"/>
                    <a:pt x="18" y="26"/>
                  </a:cubicBezTo>
                  <a:cubicBezTo>
                    <a:pt x="22" y="27"/>
                    <a:pt x="26" y="21"/>
                    <a:pt x="26" y="21"/>
                  </a:cubicBezTo>
                  <a:cubicBezTo>
                    <a:pt x="33" y="16"/>
                    <a:pt x="34" y="12"/>
                    <a:pt x="34" y="12"/>
                  </a:cubicBezTo>
                  <a:cubicBezTo>
                    <a:pt x="38" y="5"/>
                    <a:pt x="43" y="6"/>
                    <a:pt x="43" y="6"/>
                  </a:cubicBezTo>
                  <a:cubicBezTo>
                    <a:pt x="47" y="7"/>
                    <a:pt x="49" y="4"/>
                    <a:pt x="49" y="4"/>
                  </a:cubicBezTo>
                  <a:cubicBezTo>
                    <a:pt x="52" y="0"/>
                    <a:pt x="54" y="6"/>
                    <a:pt x="58" y="5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35" name="Freeform 1180">
              <a:extLst>
                <a:ext uri="{FF2B5EF4-FFF2-40B4-BE49-F238E27FC236}">
                  <a16:creationId xmlns:a16="http://schemas.microsoft.com/office/drawing/2014/main" id="{36189A21-171D-488F-A352-49874D2A32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6345" y="3818137"/>
              <a:ext cx="974645" cy="494365"/>
            </a:xfrm>
            <a:custGeom>
              <a:avLst/>
              <a:gdLst>
                <a:gd name="T0" fmla="*/ 1031875 w 138"/>
                <a:gd name="T1" fmla="*/ 87313 h 70"/>
                <a:gd name="T2" fmla="*/ 1071563 w 138"/>
                <a:gd name="T3" fmla="*/ 134938 h 70"/>
                <a:gd name="T4" fmla="*/ 1055688 w 138"/>
                <a:gd name="T5" fmla="*/ 206375 h 70"/>
                <a:gd name="T6" fmla="*/ 992188 w 138"/>
                <a:gd name="T7" fmla="*/ 198438 h 70"/>
                <a:gd name="T8" fmla="*/ 928688 w 138"/>
                <a:gd name="T9" fmla="*/ 214313 h 70"/>
                <a:gd name="T10" fmla="*/ 849313 w 138"/>
                <a:gd name="T11" fmla="*/ 222250 h 70"/>
                <a:gd name="T12" fmla="*/ 793750 w 138"/>
                <a:gd name="T13" fmla="*/ 230188 h 70"/>
                <a:gd name="T14" fmla="*/ 762000 w 138"/>
                <a:gd name="T15" fmla="*/ 254000 h 70"/>
                <a:gd name="T16" fmla="*/ 730250 w 138"/>
                <a:gd name="T17" fmla="*/ 285750 h 70"/>
                <a:gd name="T18" fmla="*/ 706438 w 138"/>
                <a:gd name="T19" fmla="*/ 293688 h 70"/>
                <a:gd name="T20" fmla="*/ 603250 w 138"/>
                <a:gd name="T21" fmla="*/ 317500 h 70"/>
                <a:gd name="T22" fmla="*/ 579438 w 138"/>
                <a:gd name="T23" fmla="*/ 381000 h 70"/>
                <a:gd name="T24" fmla="*/ 444500 w 138"/>
                <a:gd name="T25" fmla="*/ 436563 h 70"/>
                <a:gd name="T26" fmla="*/ 444500 w 138"/>
                <a:gd name="T27" fmla="*/ 436563 h 70"/>
                <a:gd name="T28" fmla="*/ 261938 w 138"/>
                <a:gd name="T29" fmla="*/ 452438 h 70"/>
                <a:gd name="T30" fmla="*/ 261938 w 138"/>
                <a:gd name="T31" fmla="*/ 452438 h 70"/>
                <a:gd name="T32" fmla="*/ 119063 w 138"/>
                <a:gd name="T33" fmla="*/ 508000 h 70"/>
                <a:gd name="T34" fmla="*/ 0 w 138"/>
                <a:gd name="T35" fmla="*/ 555625 h 70"/>
                <a:gd name="T36" fmla="*/ 23813 w 138"/>
                <a:gd name="T37" fmla="*/ 460375 h 70"/>
                <a:gd name="T38" fmla="*/ 47625 w 138"/>
                <a:gd name="T39" fmla="*/ 333375 h 70"/>
                <a:gd name="T40" fmla="*/ 119063 w 138"/>
                <a:gd name="T41" fmla="*/ 269875 h 70"/>
                <a:gd name="T42" fmla="*/ 142875 w 138"/>
                <a:gd name="T43" fmla="*/ 254000 h 70"/>
                <a:gd name="T44" fmla="*/ 261938 w 138"/>
                <a:gd name="T45" fmla="*/ 174625 h 70"/>
                <a:gd name="T46" fmla="*/ 317500 w 138"/>
                <a:gd name="T47" fmla="*/ 134938 h 70"/>
                <a:gd name="T48" fmla="*/ 317500 w 138"/>
                <a:gd name="T49" fmla="*/ 79375 h 70"/>
                <a:gd name="T50" fmla="*/ 333375 w 138"/>
                <a:gd name="T51" fmla="*/ 7938 h 70"/>
                <a:gd name="T52" fmla="*/ 365125 w 138"/>
                <a:gd name="T53" fmla="*/ 23813 h 70"/>
                <a:gd name="T54" fmla="*/ 396875 w 138"/>
                <a:gd name="T55" fmla="*/ 31750 h 70"/>
                <a:gd name="T56" fmla="*/ 436563 w 138"/>
                <a:gd name="T57" fmla="*/ 55563 h 70"/>
                <a:gd name="T58" fmla="*/ 468313 w 138"/>
                <a:gd name="T59" fmla="*/ 63500 h 70"/>
                <a:gd name="T60" fmla="*/ 523875 w 138"/>
                <a:gd name="T61" fmla="*/ 87313 h 70"/>
                <a:gd name="T62" fmla="*/ 571500 w 138"/>
                <a:gd name="T63" fmla="*/ 111125 h 70"/>
                <a:gd name="T64" fmla="*/ 619125 w 138"/>
                <a:gd name="T65" fmla="*/ 119063 h 70"/>
                <a:gd name="T66" fmla="*/ 619125 w 138"/>
                <a:gd name="T67" fmla="*/ 119063 h 70"/>
                <a:gd name="T68" fmla="*/ 674688 w 138"/>
                <a:gd name="T69" fmla="*/ 119063 h 70"/>
                <a:gd name="T70" fmla="*/ 674688 w 138"/>
                <a:gd name="T71" fmla="*/ 119063 h 70"/>
                <a:gd name="T72" fmla="*/ 730250 w 138"/>
                <a:gd name="T73" fmla="*/ 158750 h 70"/>
                <a:gd name="T74" fmla="*/ 730250 w 138"/>
                <a:gd name="T75" fmla="*/ 111125 h 70"/>
                <a:gd name="T76" fmla="*/ 801688 w 138"/>
                <a:gd name="T77" fmla="*/ 95250 h 70"/>
                <a:gd name="T78" fmla="*/ 841375 w 138"/>
                <a:gd name="T79" fmla="*/ 111125 h 70"/>
                <a:gd name="T80" fmla="*/ 896938 w 138"/>
                <a:gd name="T81" fmla="*/ 119063 h 70"/>
                <a:gd name="T82" fmla="*/ 984250 w 138"/>
                <a:gd name="T83" fmla="*/ 87313 h 70"/>
                <a:gd name="T84" fmla="*/ 1031875 w 138"/>
                <a:gd name="T85" fmla="*/ 87313 h 70"/>
                <a:gd name="T86" fmla="*/ 1031875 w 138"/>
                <a:gd name="T87" fmla="*/ 87313 h 70"/>
                <a:gd name="T88" fmla="*/ 1031875 w 138"/>
                <a:gd name="T89" fmla="*/ 87313 h 7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38"/>
                <a:gd name="T136" fmla="*/ 0 h 70"/>
                <a:gd name="T137" fmla="*/ 138 w 138"/>
                <a:gd name="T138" fmla="*/ 70 h 7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38" h="70">
                  <a:moveTo>
                    <a:pt x="130" y="11"/>
                  </a:moveTo>
                  <a:cubicBezTo>
                    <a:pt x="130" y="11"/>
                    <a:pt x="136" y="8"/>
                    <a:pt x="135" y="17"/>
                  </a:cubicBezTo>
                  <a:cubicBezTo>
                    <a:pt x="135" y="17"/>
                    <a:pt x="138" y="20"/>
                    <a:pt x="133" y="26"/>
                  </a:cubicBezTo>
                  <a:cubicBezTo>
                    <a:pt x="133" y="26"/>
                    <a:pt x="132" y="21"/>
                    <a:pt x="125" y="25"/>
                  </a:cubicBezTo>
                  <a:cubicBezTo>
                    <a:pt x="125" y="25"/>
                    <a:pt x="123" y="31"/>
                    <a:pt x="117" y="27"/>
                  </a:cubicBezTo>
                  <a:cubicBezTo>
                    <a:pt x="113" y="23"/>
                    <a:pt x="108" y="31"/>
                    <a:pt x="107" y="28"/>
                  </a:cubicBezTo>
                  <a:cubicBezTo>
                    <a:pt x="107" y="28"/>
                    <a:pt x="100" y="24"/>
                    <a:pt x="100" y="29"/>
                  </a:cubicBezTo>
                  <a:cubicBezTo>
                    <a:pt x="100" y="29"/>
                    <a:pt x="99" y="34"/>
                    <a:pt x="96" y="32"/>
                  </a:cubicBezTo>
                  <a:cubicBezTo>
                    <a:pt x="96" y="32"/>
                    <a:pt x="96" y="27"/>
                    <a:pt x="92" y="36"/>
                  </a:cubicBezTo>
                  <a:cubicBezTo>
                    <a:pt x="92" y="36"/>
                    <a:pt x="92" y="34"/>
                    <a:pt x="89" y="37"/>
                  </a:cubicBezTo>
                  <a:cubicBezTo>
                    <a:pt x="89" y="37"/>
                    <a:pt x="83" y="37"/>
                    <a:pt x="76" y="40"/>
                  </a:cubicBezTo>
                  <a:cubicBezTo>
                    <a:pt x="76" y="40"/>
                    <a:pt x="76" y="43"/>
                    <a:pt x="73" y="48"/>
                  </a:cubicBezTo>
                  <a:cubicBezTo>
                    <a:pt x="67" y="56"/>
                    <a:pt x="67" y="54"/>
                    <a:pt x="56" y="55"/>
                  </a:cubicBezTo>
                  <a:lnTo>
                    <a:pt x="33" y="57"/>
                  </a:lnTo>
                  <a:cubicBezTo>
                    <a:pt x="33" y="57"/>
                    <a:pt x="20" y="53"/>
                    <a:pt x="15" y="64"/>
                  </a:cubicBezTo>
                  <a:cubicBezTo>
                    <a:pt x="15" y="64"/>
                    <a:pt x="12" y="70"/>
                    <a:pt x="0" y="70"/>
                  </a:cubicBezTo>
                  <a:cubicBezTo>
                    <a:pt x="6" y="62"/>
                    <a:pt x="3" y="58"/>
                    <a:pt x="3" y="58"/>
                  </a:cubicBezTo>
                  <a:cubicBezTo>
                    <a:pt x="0" y="49"/>
                    <a:pt x="6" y="42"/>
                    <a:pt x="6" y="42"/>
                  </a:cubicBezTo>
                  <a:cubicBezTo>
                    <a:pt x="13" y="40"/>
                    <a:pt x="15" y="34"/>
                    <a:pt x="15" y="34"/>
                  </a:cubicBezTo>
                  <a:cubicBezTo>
                    <a:pt x="16" y="35"/>
                    <a:pt x="18" y="32"/>
                    <a:pt x="18" y="32"/>
                  </a:cubicBezTo>
                  <a:cubicBezTo>
                    <a:pt x="26" y="20"/>
                    <a:pt x="33" y="22"/>
                    <a:pt x="33" y="22"/>
                  </a:cubicBezTo>
                  <a:cubicBezTo>
                    <a:pt x="41" y="23"/>
                    <a:pt x="40" y="17"/>
                    <a:pt x="40" y="17"/>
                  </a:cubicBezTo>
                  <a:cubicBezTo>
                    <a:pt x="41" y="12"/>
                    <a:pt x="40" y="10"/>
                    <a:pt x="40" y="10"/>
                  </a:cubicBezTo>
                  <a:cubicBezTo>
                    <a:pt x="37" y="3"/>
                    <a:pt x="42" y="1"/>
                    <a:pt x="42" y="1"/>
                  </a:cubicBezTo>
                  <a:cubicBezTo>
                    <a:pt x="42" y="1"/>
                    <a:pt x="46" y="1"/>
                    <a:pt x="46" y="3"/>
                  </a:cubicBezTo>
                  <a:cubicBezTo>
                    <a:pt x="46" y="3"/>
                    <a:pt x="47" y="7"/>
                    <a:pt x="50" y="4"/>
                  </a:cubicBezTo>
                  <a:cubicBezTo>
                    <a:pt x="50" y="4"/>
                    <a:pt x="53" y="0"/>
                    <a:pt x="55" y="7"/>
                  </a:cubicBezTo>
                  <a:cubicBezTo>
                    <a:pt x="55" y="7"/>
                    <a:pt x="52" y="15"/>
                    <a:pt x="59" y="8"/>
                  </a:cubicBezTo>
                  <a:cubicBezTo>
                    <a:pt x="59" y="8"/>
                    <a:pt x="64" y="3"/>
                    <a:pt x="66" y="11"/>
                  </a:cubicBezTo>
                  <a:cubicBezTo>
                    <a:pt x="66" y="11"/>
                    <a:pt x="67" y="15"/>
                    <a:pt x="72" y="14"/>
                  </a:cubicBezTo>
                  <a:cubicBezTo>
                    <a:pt x="72" y="14"/>
                    <a:pt x="75" y="14"/>
                    <a:pt x="78" y="15"/>
                  </a:cubicBezTo>
                  <a:lnTo>
                    <a:pt x="85" y="15"/>
                  </a:lnTo>
                  <a:cubicBezTo>
                    <a:pt x="85" y="15"/>
                    <a:pt x="87" y="24"/>
                    <a:pt x="92" y="20"/>
                  </a:cubicBezTo>
                  <a:cubicBezTo>
                    <a:pt x="92" y="20"/>
                    <a:pt x="95" y="17"/>
                    <a:pt x="92" y="14"/>
                  </a:cubicBezTo>
                  <a:cubicBezTo>
                    <a:pt x="92" y="14"/>
                    <a:pt x="96" y="12"/>
                    <a:pt x="101" y="12"/>
                  </a:cubicBezTo>
                  <a:cubicBezTo>
                    <a:pt x="101" y="12"/>
                    <a:pt x="102" y="18"/>
                    <a:pt x="106" y="14"/>
                  </a:cubicBezTo>
                  <a:cubicBezTo>
                    <a:pt x="106" y="14"/>
                    <a:pt x="111" y="12"/>
                    <a:pt x="113" y="15"/>
                  </a:cubicBezTo>
                  <a:cubicBezTo>
                    <a:pt x="113" y="15"/>
                    <a:pt x="119" y="16"/>
                    <a:pt x="124" y="11"/>
                  </a:cubicBezTo>
                  <a:cubicBezTo>
                    <a:pt x="124" y="11"/>
                    <a:pt x="128" y="13"/>
                    <a:pt x="130" y="11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36" name="Freeform 1181">
              <a:extLst>
                <a:ext uri="{FF2B5EF4-FFF2-40B4-BE49-F238E27FC236}">
                  <a16:creationId xmlns:a16="http://schemas.microsoft.com/office/drawing/2014/main" id="{25B58B6D-0E0A-4763-87BF-F4F310B39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889" y="3477245"/>
              <a:ext cx="882831" cy="713299"/>
            </a:xfrm>
            <a:custGeom>
              <a:avLst/>
              <a:gdLst>
                <a:gd name="T0" fmla="*/ 579437 w 125"/>
                <a:gd name="T1" fmla="*/ 285750 h 101"/>
                <a:gd name="T2" fmla="*/ 523875 w 125"/>
                <a:gd name="T3" fmla="*/ 277812 h 101"/>
                <a:gd name="T4" fmla="*/ 523875 w 125"/>
                <a:gd name="T5" fmla="*/ 277812 h 101"/>
                <a:gd name="T6" fmla="*/ 476250 w 125"/>
                <a:gd name="T7" fmla="*/ 246062 h 101"/>
                <a:gd name="T8" fmla="*/ 428625 w 125"/>
                <a:gd name="T9" fmla="*/ 214312 h 101"/>
                <a:gd name="T10" fmla="*/ 388937 w 125"/>
                <a:gd name="T11" fmla="*/ 182562 h 101"/>
                <a:gd name="T12" fmla="*/ 349250 w 125"/>
                <a:gd name="T13" fmla="*/ 150812 h 101"/>
                <a:gd name="T14" fmla="*/ 333375 w 125"/>
                <a:gd name="T15" fmla="*/ 55562 h 101"/>
                <a:gd name="T16" fmla="*/ 333375 w 125"/>
                <a:gd name="T17" fmla="*/ 55562 h 101"/>
                <a:gd name="T18" fmla="*/ 269875 w 125"/>
                <a:gd name="T19" fmla="*/ 39687 h 101"/>
                <a:gd name="T20" fmla="*/ 269875 w 125"/>
                <a:gd name="T21" fmla="*/ 39687 h 101"/>
                <a:gd name="T22" fmla="*/ 214312 w 125"/>
                <a:gd name="T23" fmla="*/ 15875 h 101"/>
                <a:gd name="T24" fmla="*/ 206375 w 125"/>
                <a:gd name="T25" fmla="*/ 39687 h 101"/>
                <a:gd name="T26" fmla="*/ 150812 w 125"/>
                <a:gd name="T27" fmla="*/ 103187 h 101"/>
                <a:gd name="T28" fmla="*/ 119062 w 125"/>
                <a:gd name="T29" fmla="*/ 182562 h 101"/>
                <a:gd name="T30" fmla="*/ 23812 w 125"/>
                <a:gd name="T31" fmla="*/ 285750 h 101"/>
                <a:gd name="T32" fmla="*/ 0 w 125"/>
                <a:gd name="T33" fmla="*/ 396875 h 101"/>
                <a:gd name="T34" fmla="*/ 47625 w 125"/>
                <a:gd name="T35" fmla="*/ 436562 h 101"/>
                <a:gd name="T36" fmla="*/ 71437 w 125"/>
                <a:gd name="T37" fmla="*/ 476250 h 101"/>
                <a:gd name="T38" fmla="*/ 103187 w 125"/>
                <a:gd name="T39" fmla="*/ 508000 h 101"/>
                <a:gd name="T40" fmla="*/ 158750 w 125"/>
                <a:gd name="T41" fmla="*/ 563562 h 101"/>
                <a:gd name="T42" fmla="*/ 206375 w 125"/>
                <a:gd name="T43" fmla="*/ 611187 h 101"/>
                <a:gd name="T44" fmla="*/ 254000 w 125"/>
                <a:gd name="T45" fmla="*/ 658812 h 101"/>
                <a:gd name="T46" fmla="*/ 254000 w 125"/>
                <a:gd name="T47" fmla="*/ 714375 h 101"/>
                <a:gd name="T48" fmla="*/ 349250 w 125"/>
                <a:gd name="T49" fmla="*/ 682625 h 101"/>
                <a:gd name="T50" fmla="*/ 436562 w 125"/>
                <a:gd name="T51" fmla="*/ 658812 h 101"/>
                <a:gd name="T52" fmla="*/ 523875 w 125"/>
                <a:gd name="T53" fmla="*/ 706437 h 101"/>
                <a:gd name="T54" fmla="*/ 603250 w 125"/>
                <a:gd name="T55" fmla="*/ 730250 h 101"/>
                <a:gd name="T56" fmla="*/ 706437 w 125"/>
                <a:gd name="T57" fmla="*/ 762000 h 101"/>
                <a:gd name="T58" fmla="*/ 841375 w 125"/>
                <a:gd name="T59" fmla="*/ 785812 h 101"/>
                <a:gd name="T60" fmla="*/ 952500 w 125"/>
                <a:gd name="T61" fmla="*/ 785812 h 101"/>
                <a:gd name="T62" fmla="*/ 952500 w 125"/>
                <a:gd name="T63" fmla="*/ 690562 h 101"/>
                <a:gd name="T64" fmla="*/ 936625 w 125"/>
                <a:gd name="T65" fmla="*/ 627062 h 101"/>
                <a:gd name="T66" fmla="*/ 881062 w 125"/>
                <a:gd name="T67" fmla="*/ 555625 h 101"/>
                <a:gd name="T68" fmla="*/ 841375 w 125"/>
                <a:gd name="T69" fmla="*/ 539750 h 101"/>
                <a:gd name="T70" fmla="*/ 785812 w 125"/>
                <a:gd name="T71" fmla="*/ 500062 h 101"/>
                <a:gd name="T72" fmla="*/ 777875 w 125"/>
                <a:gd name="T73" fmla="*/ 428625 h 101"/>
                <a:gd name="T74" fmla="*/ 730250 w 125"/>
                <a:gd name="T75" fmla="*/ 452437 h 101"/>
                <a:gd name="T76" fmla="*/ 706437 w 125"/>
                <a:gd name="T77" fmla="*/ 420687 h 101"/>
                <a:gd name="T78" fmla="*/ 682625 w 125"/>
                <a:gd name="T79" fmla="*/ 396875 h 101"/>
                <a:gd name="T80" fmla="*/ 619125 w 125"/>
                <a:gd name="T81" fmla="*/ 341312 h 101"/>
                <a:gd name="T82" fmla="*/ 579437 w 125"/>
                <a:gd name="T83" fmla="*/ 285750 h 101"/>
                <a:gd name="T84" fmla="*/ 579437 w 125"/>
                <a:gd name="T85" fmla="*/ 285750 h 101"/>
                <a:gd name="T86" fmla="*/ 579437 w 125"/>
                <a:gd name="T87" fmla="*/ 285750 h 10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25"/>
                <a:gd name="T133" fmla="*/ 0 h 101"/>
                <a:gd name="T134" fmla="*/ 125 w 125"/>
                <a:gd name="T135" fmla="*/ 101 h 101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25" h="101">
                  <a:moveTo>
                    <a:pt x="73" y="36"/>
                  </a:moveTo>
                  <a:lnTo>
                    <a:pt x="66" y="35"/>
                  </a:lnTo>
                  <a:cubicBezTo>
                    <a:pt x="66" y="35"/>
                    <a:pt x="65" y="31"/>
                    <a:pt x="60" y="31"/>
                  </a:cubicBezTo>
                  <a:cubicBezTo>
                    <a:pt x="60" y="31"/>
                    <a:pt x="55" y="32"/>
                    <a:pt x="54" y="27"/>
                  </a:cubicBezTo>
                  <a:cubicBezTo>
                    <a:pt x="54" y="27"/>
                    <a:pt x="54" y="20"/>
                    <a:pt x="49" y="23"/>
                  </a:cubicBezTo>
                  <a:cubicBezTo>
                    <a:pt x="49" y="23"/>
                    <a:pt x="44" y="22"/>
                    <a:pt x="44" y="19"/>
                  </a:cubicBezTo>
                  <a:cubicBezTo>
                    <a:pt x="44" y="19"/>
                    <a:pt x="41" y="18"/>
                    <a:pt x="42" y="7"/>
                  </a:cubicBezTo>
                  <a:lnTo>
                    <a:pt x="34" y="5"/>
                  </a:lnTo>
                  <a:cubicBezTo>
                    <a:pt x="30" y="0"/>
                    <a:pt x="28" y="0"/>
                    <a:pt x="27" y="2"/>
                  </a:cubicBezTo>
                  <a:cubicBezTo>
                    <a:pt x="26" y="3"/>
                    <a:pt x="26" y="5"/>
                    <a:pt x="26" y="5"/>
                  </a:cubicBezTo>
                  <a:cubicBezTo>
                    <a:pt x="19" y="8"/>
                    <a:pt x="19" y="13"/>
                    <a:pt x="19" y="13"/>
                  </a:cubicBezTo>
                  <a:cubicBezTo>
                    <a:pt x="15" y="17"/>
                    <a:pt x="15" y="23"/>
                    <a:pt x="15" y="23"/>
                  </a:cubicBezTo>
                  <a:cubicBezTo>
                    <a:pt x="15" y="23"/>
                    <a:pt x="12" y="32"/>
                    <a:pt x="3" y="36"/>
                  </a:cubicBezTo>
                  <a:cubicBezTo>
                    <a:pt x="0" y="41"/>
                    <a:pt x="0" y="50"/>
                    <a:pt x="0" y="50"/>
                  </a:cubicBezTo>
                  <a:cubicBezTo>
                    <a:pt x="7" y="48"/>
                    <a:pt x="6" y="55"/>
                    <a:pt x="6" y="55"/>
                  </a:cubicBezTo>
                  <a:cubicBezTo>
                    <a:pt x="10" y="56"/>
                    <a:pt x="9" y="60"/>
                    <a:pt x="9" y="60"/>
                  </a:cubicBezTo>
                  <a:cubicBezTo>
                    <a:pt x="8" y="65"/>
                    <a:pt x="13" y="64"/>
                    <a:pt x="13" y="64"/>
                  </a:cubicBezTo>
                  <a:cubicBezTo>
                    <a:pt x="19" y="63"/>
                    <a:pt x="15" y="69"/>
                    <a:pt x="20" y="71"/>
                  </a:cubicBezTo>
                  <a:cubicBezTo>
                    <a:pt x="19" y="80"/>
                    <a:pt x="26" y="77"/>
                    <a:pt x="26" y="77"/>
                  </a:cubicBezTo>
                  <a:cubicBezTo>
                    <a:pt x="32" y="74"/>
                    <a:pt x="35" y="83"/>
                    <a:pt x="32" y="83"/>
                  </a:cubicBezTo>
                  <a:cubicBezTo>
                    <a:pt x="31" y="89"/>
                    <a:pt x="32" y="90"/>
                    <a:pt x="32" y="90"/>
                  </a:cubicBezTo>
                  <a:cubicBezTo>
                    <a:pt x="37" y="90"/>
                    <a:pt x="36" y="83"/>
                    <a:pt x="44" y="86"/>
                  </a:cubicBezTo>
                  <a:cubicBezTo>
                    <a:pt x="48" y="74"/>
                    <a:pt x="55" y="83"/>
                    <a:pt x="55" y="83"/>
                  </a:cubicBezTo>
                  <a:cubicBezTo>
                    <a:pt x="59" y="91"/>
                    <a:pt x="66" y="89"/>
                    <a:pt x="66" y="89"/>
                  </a:cubicBezTo>
                  <a:cubicBezTo>
                    <a:pt x="70" y="87"/>
                    <a:pt x="76" y="92"/>
                    <a:pt x="76" y="92"/>
                  </a:cubicBezTo>
                  <a:cubicBezTo>
                    <a:pt x="80" y="91"/>
                    <a:pt x="83" y="97"/>
                    <a:pt x="89" y="96"/>
                  </a:cubicBezTo>
                  <a:cubicBezTo>
                    <a:pt x="93" y="95"/>
                    <a:pt x="98" y="101"/>
                    <a:pt x="106" y="99"/>
                  </a:cubicBezTo>
                  <a:cubicBezTo>
                    <a:pt x="113" y="97"/>
                    <a:pt x="117" y="97"/>
                    <a:pt x="120" y="99"/>
                  </a:cubicBezTo>
                  <a:cubicBezTo>
                    <a:pt x="125" y="90"/>
                    <a:pt x="120" y="87"/>
                    <a:pt x="120" y="87"/>
                  </a:cubicBezTo>
                  <a:cubicBezTo>
                    <a:pt x="116" y="85"/>
                    <a:pt x="121" y="81"/>
                    <a:pt x="118" y="79"/>
                  </a:cubicBezTo>
                  <a:cubicBezTo>
                    <a:pt x="115" y="71"/>
                    <a:pt x="111" y="70"/>
                    <a:pt x="111" y="70"/>
                  </a:cubicBezTo>
                  <a:cubicBezTo>
                    <a:pt x="108" y="63"/>
                    <a:pt x="106" y="68"/>
                    <a:pt x="106" y="68"/>
                  </a:cubicBezTo>
                  <a:cubicBezTo>
                    <a:pt x="95" y="70"/>
                    <a:pt x="99" y="63"/>
                    <a:pt x="99" y="63"/>
                  </a:cubicBezTo>
                  <a:cubicBezTo>
                    <a:pt x="101" y="51"/>
                    <a:pt x="98" y="54"/>
                    <a:pt x="98" y="54"/>
                  </a:cubicBezTo>
                  <a:cubicBezTo>
                    <a:pt x="93" y="54"/>
                    <a:pt x="92" y="57"/>
                    <a:pt x="92" y="57"/>
                  </a:cubicBezTo>
                  <a:cubicBezTo>
                    <a:pt x="86" y="58"/>
                    <a:pt x="89" y="53"/>
                    <a:pt x="89" y="53"/>
                  </a:cubicBezTo>
                  <a:cubicBezTo>
                    <a:pt x="89" y="50"/>
                    <a:pt x="86" y="50"/>
                    <a:pt x="86" y="50"/>
                  </a:cubicBezTo>
                  <a:cubicBezTo>
                    <a:pt x="82" y="49"/>
                    <a:pt x="85" y="42"/>
                    <a:pt x="78" y="43"/>
                  </a:cubicBezTo>
                  <a:cubicBezTo>
                    <a:pt x="78" y="39"/>
                    <a:pt x="73" y="36"/>
                    <a:pt x="73" y="36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37" name="Freeform 1190">
              <a:extLst>
                <a:ext uri="{FF2B5EF4-FFF2-40B4-BE49-F238E27FC236}">
                  <a16:creationId xmlns:a16="http://schemas.microsoft.com/office/drawing/2014/main" id="{E1BD23DE-2DC2-4EAA-A4BD-69DB949D6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0471" y="2970654"/>
              <a:ext cx="565013" cy="953419"/>
            </a:xfrm>
            <a:custGeom>
              <a:avLst/>
              <a:gdLst>
                <a:gd name="T0" fmla="*/ 317500 w 80"/>
                <a:gd name="T1" fmla="*/ 968375 h 135"/>
                <a:gd name="T2" fmla="*/ 349250 w 80"/>
                <a:gd name="T3" fmla="*/ 976312 h 135"/>
                <a:gd name="T4" fmla="*/ 381000 w 80"/>
                <a:gd name="T5" fmla="*/ 984250 h 135"/>
                <a:gd name="T6" fmla="*/ 420688 w 80"/>
                <a:gd name="T7" fmla="*/ 1008062 h 135"/>
                <a:gd name="T8" fmla="*/ 452438 w 80"/>
                <a:gd name="T9" fmla="*/ 1016000 h 135"/>
                <a:gd name="T10" fmla="*/ 508000 w 80"/>
                <a:gd name="T11" fmla="*/ 1039812 h 135"/>
                <a:gd name="T12" fmla="*/ 555625 w 80"/>
                <a:gd name="T13" fmla="*/ 1063625 h 135"/>
                <a:gd name="T14" fmla="*/ 603250 w 80"/>
                <a:gd name="T15" fmla="*/ 1071562 h 135"/>
                <a:gd name="T16" fmla="*/ 587375 w 80"/>
                <a:gd name="T17" fmla="*/ 1016000 h 135"/>
                <a:gd name="T18" fmla="*/ 563563 w 80"/>
                <a:gd name="T19" fmla="*/ 889000 h 135"/>
                <a:gd name="T20" fmla="*/ 563563 w 80"/>
                <a:gd name="T21" fmla="*/ 746125 h 135"/>
                <a:gd name="T22" fmla="*/ 579438 w 80"/>
                <a:gd name="T23" fmla="*/ 627062 h 135"/>
                <a:gd name="T24" fmla="*/ 571500 w 80"/>
                <a:gd name="T25" fmla="*/ 508000 h 135"/>
                <a:gd name="T26" fmla="*/ 579438 w 80"/>
                <a:gd name="T27" fmla="*/ 452437 h 135"/>
                <a:gd name="T28" fmla="*/ 595313 w 80"/>
                <a:gd name="T29" fmla="*/ 373062 h 135"/>
                <a:gd name="T30" fmla="*/ 603250 w 80"/>
                <a:gd name="T31" fmla="*/ 333375 h 135"/>
                <a:gd name="T32" fmla="*/ 595313 w 80"/>
                <a:gd name="T33" fmla="*/ 301625 h 135"/>
                <a:gd name="T34" fmla="*/ 611188 w 80"/>
                <a:gd name="T35" fmla="*/ 182562 h 135"/>
                <a:gd name="T36" fmla="*/ 635000 w 80"/>
                <a:gd name="T37" fmla="*/ 79375 h 135"/>
                <a:gd name="T38" fmla="*/ 595313 w 80"/>
                <a:gd name="T39" fmla="*/ 31750 h 135"/>
                <a:gd name="T40" fmla="*/ 531813 w 80"/>
                <a:gd name="T41" fmla="*/ 15875 h 135"/>
                <a:gd name="T42" fmla="*/ 484188 w 80"/>
                <a:gd name="T43" fmla="*/ 39687 h 135"/>
                <a:gd name="T44" fmla="*/ 404813 w 80"/>
                <a:gd name="T45" fmla="*/ 63500 h 135"/>
                <a:gd name="T46" fmla="*/ 317500 w 80"/>
                <a:gd name="T47" fmla="*/ 79375 h 135"/>
                <a:gd name="T48" fmla="*/ 277813 w 80"/>
                <a:gd name="T49" fmla="*/ 150812 h 135"/>
                <a:gd name="T50" fmla="*/ 277813 w 80"/>
                <a:gd name="T51" fmla="*/ 214312 h 135"/>
                <a:gd name="T52" fmla="*/ 230188 w 80"/>
                <a:gd name="T53" fmla="*/ 246062 h 135"/>
                <a:gd name="T54" fmla="*/ 150813 w 80"/>
                <a:gd name="T55" fmla="*/ 285750 h 135"/>
                <a:gd name="T56" fmla="*/ 127000 w 80"/>
                <a:gd name="T57" fmla="*/ 309562 h 135"/>
                <a:gd name="T58" fmla="*/ 79375 w 80"/>
                <a:gd name="T59" fmla="*/ 373062 h 135"/>
                <a:gd name="T60" fmla="*/ 7938 w 80"/>
                <a:gd name="T61" fmla="*/ 404812 h 135"/>
                <a:gd name="T62" fmla="*/ 0 w 80"/>
                <a:gd name="T63" fmla="*/ 436562 h 135"/>
                <a:gd name="T64" fmla="*/ 31750 w 80"/>
                <a:gd name="T65" fmla="*/ 571500 h 135"/>
                <a:gd name="T66" fmla="*/ 39688 w 80"/>
                <a:gd name="T67" fmla="*/ 619125 h 135"/>
                <a:gd name="T68" fmla="*/ 23813 w 80"/>
                <a:gd name="T69" fmla="*/ 666750 h 135"/>
                <a:gd name="T70" fmla="*/ 79375 w 80"/>
                <a:gd name="T71" fmla="*/ 690562 h 135"/>
                <a:gd name="T72" fmla="*/ 47625 w 80"/>
                <a:gd name="T73" fmla="*/ 714375 h 135"/>
                <a:gd name="T74" fmla="*/ 95250 w 80"/>
                <a:gd name="T75" fmla="*/ 769937 h 135"/>
                <a:gd name="T76" fmla="*/ 119063 w 80"/>
                <a:gd name="T77" fmla="*/ 793750 h 135"/>
                <a:gd name="T78" fmla="*/ 150813 w 80"/>
                <a:gd name="T79" fmla="*/ 817562 h 135"/>
                <a:gd name="T80" fmla="*/ 174625 w 80"/>
                <a:gd name="T81" fmla="*/ 849312 h 135"/>
                <a:gd name="T82" fmla="*/ 222250 w 80"/>
                <a:gd name="T83" fmla="*/ 849312 h 135"/>
                <a:gd name="T84" fmla="*/ 269875 w 80"/>
                <a:gd name="T85" fmla="*/ 881062 h 135"/>
                <a:gd name="T86" fmla="*/ 317500 w 80"/>
                <a:gd name="T87" fmla="*/ 968375 h 135"/>
                <a:gd name="T88" fmla="*/ 317500 w 80"/>
                <a:gd name="T89" fmla="*/ 968375 h 135"/>
                <a:gd name="T90" fmla="*/ 317500 w 80"/>
                <a:gd name="T91" fmla="*/ 968375 h 13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0"/>
                <a:gd name="T139" fmla="*/ 0 h 135"/>
                <a:gd name="T140" fmla="*/ 80 w 80"/>
                <a:gd name="T141" fmla="*/ 135 h 13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0" h="135">
                  <a:moveTo>
                    <a:pt x="40" y="122"/>
                  </a:moveTo>
                  <a:cubicBezTo>
                    <a:pt x="40" y="122"/>
                    <a:pt x="44" y="121"/>
                    <a:pt x="44" y="123"/>
                  </a:cubicBezTo>
                  <a:cubicBezTo>
                    <a:pt x="44" y="123"/>
                    <a:pt x="45" y="127"/>
                    <a:pt x="48" y="124"/>
                  </a:cubicBezTo>
                  <a:cubicBezTo>
                    <a:pt x="48" y="124"/>
                    <a:pt x="51" y="120"/>
                    <a:pt x="53" y="127"/>
                  </a:cubicBezTo>
                  <a:cubicBezTo>
                    <a:pt x="53" y="127"/>
                    <a:pt x="50" y="135"/>
                    <a:pt x="57" y="128"/>
                  </a:cubicBezTo>
                  <a:cubicBezTo>
                    <a:pt x="57" y="128"/>
                    <a:pt x="62" y="123"/>
                    <a:pt x="64" y="131"/>
                  </a:cubicBezTo>
                  <a:cubicBezTo>
                    <a:pt x="64" y="131"/>
                    <a:pt x="65" y="135"/>
                    <a:pt x="70" y="134"/>
                  </a:cubicBezTo>
                  <a:cubicBezTo>
                    <a:pt x="70" y="134"/>
                    <a:pt x="73" y="134"/>
                    <a:pt x="76" y="135"/>
                  </a:cubicBezTo>
                  <a:cubicBezTo>
                    <a:pt x="77" y="130"/>
                    <a:pt x="74" y="128"/>
                    <a:pt x="74" y="128"/>
                  </a:cubicBezTo>
                  <a:cubicBezTo>
                    <a:pt x="70" y="124"/>
                    <a:pt x="71" y="112"/>
                    <a:pt x="71" y="112"/>
                  </a:cubicBezTo>
                  <a:cubicBezTo>
                    <a:pt x="70" y="105"/>
                    <a:pt x="71" y="94"/>
                    <a:pt x="71" y="94"/>
                  </a:cubicBezTo>
                  <a:cubicBezTo>
                    <a:pt x="74" y="91"/>
                    <a:pt x="70" y="85"/>
                    <a:pt x="73" y="79"/>
                  </a:cubicBezTo>
                  <a:cubicBezTo>
                    <a:pt x="76" y="72"/>
                    <a:pt x="72" y="64"/>
                    <a:pt x="72" y="64"/>
                  </a:cubicBezTo>
                  <a:cubicBezTo>
                    <a:pt x="70" y="59"/>
                    <a:pt x="73" y="57"/>
                    <a:pt x="73" y="57"/>
                  </a:cubicBezTo>
                  <a:cubicBezTo>
                    <a:pt x="73" y="57"/>
                    <a:pt x="75" y="54"/>
                    <a:pt x="75" y="47"/>
                  </a:cubicBezTo>
                  <a:cubicBezTo>
                    <a:pt x="74" y="46"/>
                    <a:pt x="76" y="42"/>
                    <a:pt x="76" y="42"/>
                  </a:cubicBezTo>
                  <a:cubicBezTo>
                    <a:pt x="78" y="39"/>
                    <a:pt x="75" y="38"/>
                    <a:pt x="75" y="38"/>
                  </a:cubicBezTo>
                  <a:cubicBezTo>
                    <a:pt x="71" y="27"/>
                    <a:pt x="77" y="23"/>
                    <a:pt x="77" y="23"/>
                  </a:cubicBezTo>
                  <a:cubicBezTo>
                    <a:pt x="77" y="13"/>
                    <a:pt x="80" y="17"/>
                    <a:pt x="80" y="10"/>
                  </a:cubicBezTo>
                  <a:cubicBezTo>
                    <a:pt x="77" y="9"/>
                    <a:pt x="79" y="0"/>
                    <a:pt x="75" y="4"/>
                  </a:cubicBezTo>
                  <a:cubicBezTo>
                    <a:pt x="72" y="1"/>
                    <a:pt x="67" y="2"/>
                    <a:pt x="67" y="2"/>
                  </a:cubicBezTo>
                  <a:cubicBezTo>
                    <a:pt x="63" y="1"/>
                    <a:pt x="61" y="5"/>
                    <a:pt x="61" y="5"/>
                  </a:cubicBezTo>
                  <a:cubicBezTo>
                    <a:pt x="58" y="8"/>
                    <a:pt x="51" y="8"/>
                    <a:pt x="51" y="8"/>
                  </a:cubicBezTo>
                  <a:cubicBezTo>
                    <a:pt x="46" y="11"/>
                    <a:pt x="41" y="3"/>
                    <a:pt x="40" y="10"/>
                  </a:cubicBezTo>
                  <a:cubicBezTo>
                    <a:pt x="41" y="13"/>
                    <a:pt x="35" y="19"/>
                    <a:pt x="35" y="19"/>
                  </a:cubicBezTo>
                  <a:cubicBezTo>
                    <a:pt x="39" y="24"/>
                    <a:pt x="35" y="27"/>
                    <a:pt x="35" y="27"/>
                  </a:cubicBezTo>
                  <a:cubicBezTo>
                    <a:pt x="35" y="30"/>
                    <a:pt x="29" y="31"/>
                    <a:pt x="29" y="31"/>
                  </a:cubicBezTo>
                  <a:cubicBezTo>
                    <a:pt x="16" y="30"/>
                    <a:pt x="19" y="36"/>
                    <a:pt x="19" y="36"/>
                  </a:cubicBezTo>
                  <a:cubicBezTo>
                    <a:pt x="22" y="39"/>
                    <a:pt x="16" y="39"/>
                    <a:pt x="16" y="39"/>
                  </a:cubicBezTo>
                  <a:cubicBezTo>
                    <a:pt x="12" y="48"/>
                    <a:pt x="10" y="47"/>
                    <a:pt x="10" y="47"/>
                  </a:cubicBezTo>
                  <a:cubicBezTo>
                    <a:pt x="8" y="50"/>
                    <a:pt x="3" y="47"/>
                    <a:pt x="1" y="51"/>
                  </a:cubicBezTo>
                  <a:cubicBezTo>
                    <a:pt x="0" y="51"/>
                    <a:pt x="0" y="55"/>
                    <a:pt x="0" y="55"/>
                  </a:cubicBezTo>
                  <a:cubicBezTo>
                    <a:pt x="0" y="55"/>
                    <a:pt x="4" y="63"/>
                    <a:pt x="4" y="72"/>
                  </a:cubicBezTo>
                  <a:cubicBezTo>
                    <a:pt x="4" y="72"/>
                    <a:pt x="7" y="77"/>
                    <a:pt x="5" y="78"/>
                  </a:cubicBezTo>
                  <a:cubicBezTo>
                    <a:pt x="5" y="78"/>
                    <a:pt x="3" y="81"/>
                    <a:pt x="3" y="84"/>
                  </a:cubicBezTo>
                  <a:cubicBezTo>
                    <a:pt x="3" y="84"/>
                    <a:pt x="10" y="84"/>
                    <a:pt x="10" y="87"/>
                  </a:cubicBezTo>
                  <a:cubicBezTo>
                    <a:pt x="10" y="87"/>
                    <a:pt x="12" y="90"/>
                    <a:pt x="6" y="90"/>
                  </a:cubicBezTo>
                  <a:cubicBezTo>
                    <a:pt x="13" y="91"/>
                    <a:pt x="9" y="96"/>
                    <a:pt x="12" y="97"/>
                  </a:cubicBezTo>
                  <a:cubicBezTo>
                    <a:pt x="12" y="97"/>
                    <a:pt x="16" y="93"/>
                    <a:pt x="15" y="100"/>
                  </a:cubicBezTo>
                  <a:cubicBezTo>
                    <a:pt x="15" y="100"/>
                    <a:pt x="14" y="109"/>
                    <a:pt x="19" y="103"/>
                  </a:cubicBezTo>
                  <a:cubicBezTo>
                    <a:pt x="19" y="103"/>
                    <a:pt x="22" y="97"/>
                    <a:pt x="22" y="107"/>
                  </a:cubicBezTo>
                  <a:cubicBezTo>
                    <a:pt x="22" y="107"/>
                    <a:pt x="19" y="115"/>
                    <a:pt x="28" y="107"/>
                  </a:cubicBezTo>
                  <a:cubicBezTo>
                    <a:pt x="28" y="107"/>
                    <a:pt x="33" y="105"/>
                    <a:pt x="34" y="111"/>
                  </a:cubicBezTo>
                  <a:cubicBezTo>
                    <a:pt x="34" y="111"/>
                    <a:pt x="42" y="113"/>
                    <a:pt x="40" y="122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38" name="Freeform 1191">
              <a:extLst>
                <a:ext uri="{FF2B5EF4-FFF2-40B4-BE49-F238E27FC236}">
                  <a16:creationId xmlns:a16="http://schemas.microsoft.com/office/drawing/2014/main" id="{BD73D4EC-7F59-449A-9FDA-B79A6857C8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462" y="3323771"/>
              <a:ext cx="741579" cy="988731"/>
            </a:xfrm>
            <a:custGeom>
              <a:avLst/>
              <a:gdLst>
                <a:gd name="T0" fmla="*/ 0 w 105"/>
                <a:gd name="T1" fmla="*/ 452438 h 140"/>
                <a:gd name="T2" fmla="*/ 7937 w 105"/>
                <a:gd name="T3" fmla="*/ 365125 h 140"/>
                <a:gd name="T4" fmla="*/ 31750 w 105"/>
                <a:gd name="T5" fmla="*/ 301625 h 140"/>
                <a:gd name="T6" fmla="*/ 71437 w 105"/>
                <a:gd name="T7" fmla="*/ 269875 h 140"/>
                <a:gd name="T8" fmla="*/ 127000 w 105"/>
                <a:gd name="T9" fmla="*/ 238125 h 140"/>
                <a:gd name="T10" fmla="*/ 206375 w 105"/>
                <a:gd name="T11" fmla="*/ 230188 h 140"/>
                <a:gd name="T12" fmla="*/ 309562 w 105"/>
                <a:gd name="T13" fmla="*/ 222250 h 140"/>
                <a:gd name="T14" fmla="*/ 388937 w 105"/>
                <a:gd name="T15" fmla="*/ 198438 h 140"/>
                <a:gd name="T16" fmla="*/ 341312 w 105"/>
                <a:gd name="T17" fmla="*/ 190500 h 140"/>
                <a:gd name="T18" fmla="*/ 341312 w 105"/>
                <a:gd name="T19" fmla="*/ 134938 h 140"/>
                <a:gd name="T20" fmla="*/ 373062 w 105"/>
                <a:gd name="T21" fmla="*/ 71438 h 140"/>
                <a:gd name="T22" fmla="*/ 412750 w 105"/>
                <a:gd name="T23" fmla="*/ 23813 h 140"/>
                <a:gd name="T24" fmla="*/ 468312 w 105"/>
                <a:gd name="T25" fmla="*/ 23813 h 140"/>
                <a:gd name="T26" fmla="*/ 508000 w 105"/>
                <a:gd name="T27" fmla="*/ 39688 h 140"/>
                <a:gd name="T28" fmla="*/ 539750 w 105"/>
                <a:gd name="T29" fmla="*/ 174625 h 140"/>
                <a:gd name="T30" fmla="*/ 547687 w 105"/>
                <a:gd name="T31" fmla="*/ 222250 h 140"/>
                <a:gd name="T32" fmla="*/ 531812 w 105"/>
                <a:gd name="T33" fmla="*/ 269875 h 140"/>
                <a:gd name="T34" fmla="*/ 587375 w 105"/>
                <a:gd name="T35" fmla="*/ 293688 h 140"/>
                <a:gd name="T36" fmla="*/ 555625 w 105"/>
                <a:gd name="T37" fmla="*/ 317500 h 140"/>
                <a:gd name="T38" fmla="*/ 603250 w 105"/>
                <a:gd name="T39" fmla="*/ 373063 h 140"/>
                <a:gd name="T40" fmla="*/ 627062 w 105"/>
                <a:gd name="T41" fmla="*/ 396875 h 140"/>
                <a:gd name="T42" fmla="*/ 658812 w 105"/>
                <a:gd name="T43" fmla="*/ 420688 h 140"/>
                <a:gd name="T44" fmla="*/ 682625 w 105"/>
                <a:gd name="T45" fmla="*/ 452438 h 140"/>
                <a:gd name="T46" fmla="*/ 730250 w 105"/>
                <a:gd name="T47" fmla="*/ 452438 h 140"/>
                <a:gd name="T48" fmla="*/ 777875 w 105"/>
                <a:gd name="T49" fmla="*/ 484188 h 140"/>
                <a:gd name="T50" fmla="*/ 825500 w 105"/>
                <a:gd name="T51" fmla="*/ 563563 h 140"/>
                <a:gd name="T52" fmla="*/ 809625 w 105"/>
                <a:gd name="T53" fmla="*/ 635000 h 140"/>
                <a:gd name="T54" fmla="*/ 809625 w 105"/>
                <a:gd name="T55" fmla="*/ 690563 h 140"/>
                <a:gd name="T56" fmla="*/ 754062 w 105"/>
                <a:gd name="T57" fmla="*/ 730250 h 140"/>
                <a:gd name="T58" fmla="*/ 635000 w 105"/>
                <a:gd name="T59" fmla="*/ 809625 h 140"/>
                <a:gd name="T60" fmla="*/ 611187 w 105"/>
                <a:gd name="T61" fmla="*/ 825500 h 140"/>
                <a:gd name="T62" fmla="*/ 539750 w 105"/>
                <a:gd name="T63" fmla="*/ 889000 h 140"/>
                <a:gd name="T64" fmla="*/ 515937 w 105"/>
                <a:gd name="T65" fmla="*/ 1016000 h 140"/>
                <a:gd name="T66" fmla="*/ 492125 w 105"/>
                <a:gd name="T67" fmla="*/ 1111250 h 140"/>
                <a:gd name="T68" fmla="*/ 412750 w 105"/>
                <a:gd name="T69" fmla="*/ 1031875 h 140"/>
                <a:gd name="T70" fmla="*/ 373062 w 105"/>
                <a:gd name="T71" fmla="*/ 960438 h 140"/>
                <a:gd name="T72" fmla="*/ 373062 w 105"/>
                <a:gd name="T73" fmla="*/ 865188 h 140"/>
                <a:gd name="T74" fmla="*/ 357187 w 105"/>
                <a:gd name="T75" fmla="*/ 801688 h 140"/>
                <a:gd name="T76" fmla="*/ 301625 w 105"/>
                <a:gd name="T77" fmla="*/ 730250 h 140"/>
                <a:gd name="T78" fmla="*/ 261937 w 105"/>
                <a:gd name="T79" fmla="*/ 714375 h 140"/>
                <a:gd name="T80" fmla="*/ 206375 w 105"/>
                <a:gd name="T81" fmla="*/ 674688 h 140"/>
                <a:gd name="T82" fmla="*/ 198437 w 105"/>
                <a:gd name="T83" fmla="*/ 603250 h 140"/>
                <a:gd name="T84" fmla="*/ 150812 w 105"/>
                <a:gd name="T85" fmla="*/ 627063 h 140"/>
                <a:gd name="T86" fmla="*/ 127000 w 105"/>
                <a:gd name="T87" fmla="*/ 595313 h 140"/>
                <a:gd name="T88" fmla="*/ 103187 w 105"/>
                <a:gd name="T89" fmla="*/ 571500 h 140"/>
                <a:gd name="T90" fmla="*/ 39687 w 105"/>
                <a:gd name="T91" fmla="*/ 515938 h 140"/>
                <a:gd name="T92" fmla="*/ 0 w 105"/>
                <a:gd name="T93" fmla="*/ 452438 h 140"/>
                <a:gd name="T94" fmla="*/ 0 w 105"/>
                <a:gd name="T95" fmla="*/ 452438 h 140"/>
                <a:gd name="T96" fmla="*/ 0 w 105"/>
                <a:gd name="T97" fmla="*/ 452438 h 14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05"/>
                <a:gd name="T148" fmla="*/ 0 h 140"/>
                <a:gd name="T149" fmla="*/ 105 w 105"/>
                <a:gd name="T150" fmla="*/ 140 h 14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05" h="140">
                  <a:moveTo>
                    <a:pt x="0" y="57"/>
                  </a:moveTo>
                  <a:cubicBezTo>
                    <a:pt x="2" y="50"/>
                    <a:pt x="1" y="46"/>
                    <a:pt x="1" y="46"/>
                  </a:cubicBezTo>
                  <a:cubicBezTo>
                    <a:pt x="0" y="39"/>
                    <a:pt x="4" y="38"/>
                    <a:pt x="4" y="38"/>
                  </a:cubicBezTo>
                  <a:cubicBezTo>
                    <a:pt x="8" y="37"/>
                    <a:pt x="9" y="34"/>
                    <a:pt x="9" y="34"/>
                  </a:cubicBezTo>
                  <a:cubicBezTo>
                    <a:pt x="8" y="27"/>
                    <a:pt x="16" y="30"/>
                    <a:pt x="16" y="30"/>
                  </a:cubicBezTo>
                  <a:cubicBezTo>
                    <a:pt x="25" y="32"/>
                    <a:pt x="26" y="29"/>
                    <a:pt x="26" y="29"/>
                  </a:cubicBezTo>
                  <a:cubicBezTo>
                    <a:pt x="30" y="27"/>
                    <a:pt x="39" y="28"/>
                    <a:pt x="39" y="28"/>
                  </a:cubicBezTo>
                  <a:cubicBezTo>
                    <a:pt x="49" y="28"/>
                    <a:pt x="49" y="25"/>
                    <a:pt x="49" y="25"/>
                  </a:cubicBezTo>
                  <a:cubicBezTo>
                    <a:pt x="48" y="23"/>
                    <a:pt x="43" y="24"/>
                    <a:pt x="43" y="24"/>
                  </a:cubicBezTo>
                  <a:cubicBezTo>
                    <a:pt x="42" y="21"/>
                    <a:pt x="43" y="17"/>
                    <a:pt x="43" y="17"/>
                  </a:cubicBezTo>
                  <a:cubicBezTo>
                    <a:pt x="49" y="16"/>
                    <a:pt x="47" y="9"/>
                    <a:pt x="47" y="9"/>
                  </a:cubicBezTo>
                  <a:cubicBezTo>
                    <a:pt x="46" y="2"/>
                    <a:pt x="52" y="3"/>
                    <a:pt x="52" y="3"/>
                  </a:cubicBezTo>
                  <a:cubicBezTo>
                    <a:pt x="54" y="0"/>
                    <a:pt x="59" y="3"/>
                    <a:pt x="59" y="3"/>
                  </a:cubicBezTo>
                  <a:cubicBezTo>
                    <a:pt x="60" y="6"/>
                    <a:pt x="64" y="5"/>
                    <a:pt x="64" y="5"/>
                  </a:cubicBezTo>
                  <a:cubicBezTo>
                    <a:pt x="64" y="5"/>
                    <a:pt x="68" y="13"/>
                    <a:pt x="68" y="22"/>
                  </a:cubicBezTo>
                  <a:cubicBezTo>
                    <a:pt x="68" y="22"/>
                    <a:pt x="71" y="27"/>
                    <a:pt x="69" y="28"/>
                  </a:cubicBezTo>
                  <a:cubicBezTo>
                    <a:pt x="69" y="28"/>
                    <a:pt x="67" y="31"/>
                    <a:pt x="67" y="34"/>
                  </a:cubicBezTo>
                  <a:cubicBezTo>
                    <a:pt x="67" y="34"/>
                    <a:pt x="74" y="34"/>
                    <a:pt x="74" y="37"/>
                  </a:cubicBezTo>
                  <a:cubicBezTo>
                    <a:pt x="74" y="37"/>
                    <a:pt x="76" y="40"/>
                    <a:pt x="70" y="40"/>
                  </a:cubicBezTo>
                  <a:cubicBezTo>
                    <a:pt x="77" y="41"/>
                    <a:pt x="73" y="46"/>
                    <a:pt x="76" y="47"/>
                  </a:cubicBezTo>
                  <a:cubicBezTo>
                    <a:pt x="76" y="47"/>
                    <a:pt x="80" y="43"/>
                    <a:pt x="79" y="50"/>
                  </a:cubicBezTo>
                  <a:cubicBezTo>
                    <a:pt x="79" y="50"/>
                    <a:pt x="78" y="59"/>
                    <a:pt x="83" y="53"/>
                  </a:cubicBezTo>
                  <a:cubicBezTo>
                    <a:pt x="83" y="53"/>
                    <a:pt x="86" y="47"/>
                    <a:pt x="86" y="57"/>
                  </a:cubicBezTo>
                  <a:cubicBezTo>
                    <a:pt x="86" y="57"/>
                    <a:pt x="83" y="65"/>
                    <a:pt x="92" y="57"/>
                  </a:cubicBezTo>
                  <a:cubicBezTo>
                    <a:pt x="92" y="57"/>
                    <a:pt x="97" y="55"/>
                    <a:pt x="98" y="61"/>
                  </a:cubicBezTo>
                  <a:cubicBezTo>
                    <a:pt x="98" y="61"/>
                    <a:pt x="105" y="62"/>
                    <a:pt x="104" y="71"/>
                  </a:cubicBezTo>
                  <a:cubicBezTo>
                    <a:pt x="104" y="71"/>
                    <a:pt x="99" y="73"/>
                    <a:pt x="102" y="80"/>
                  </a:cubicBezTo>
                  <a:cubicBezTo>
                    <a:pt x="102" y="80"/>
                    <a:pt x="103" y="82"/>
                    <a:pt x="102" y="87"/>
                  </a:cubicBezTo>
                  <a:cubicBezTo>
                    <a:pt x="102" y="87"/>
                    <a:pt x="103" y="93"/>
                    <a:pt x="95" y="92"/>
                  </a:cubicBezTo>
                  <a:cubicBezTo>
                    <a:pt x="95" y="92"/>
                    <a:pt x="88" y="90"/>
                    <a:pt x="80" y="102"/>
                  </a:cubicBezTo>
                  <a:cubicBezTo>
                    <a:pt x="80" y="102"/>
                    <a:pt x="78" y="105"/>
                    <a:pt x="77" y="104"/>
                  </a:cubicBezTo>
                  <a:cubicBezTo>
                    <a:pt x="77" y="104"/>
                    <a:pt x="75" y="110"/>
                    <a:pt x="68" y="112"/>
                  </a:cubicBezTo>
                  <a:cubicBezTo>
                    <a:pt x="68" y="112"/>
                    <a:pt x="62" y="119"/>
                    <a:pt x="65" y="128"/>
                  </a:cubicBezTo>
                  <a:cubicBezTo>
                    <a:pt x="65" y="128"/>
                    <a:pt x="68" y="132"/>
                    <a:pt x="62" y="140"/>
                  </a:cubicBezTo>
                  <a:cubicBezTo>
                    <a:pt x="62" y="140"/>
                    <a:pt x="58" y="129"/>
                    <a:pt x="52" y="130"/>
                  </a:cubicBezTo>
                  <a:cubicBezTo>
                    <a:pt x="52" y="130"/>
                    <a:pt x="53" y="123"/>
                    <a:pt x="47" y="121"/>
                  </a:cubicBezTo>
                  <a:cubicBezTo>
                    <a:pt x="53" y="112"/>
                    <a:pt x="47" y="109"/>
                    <a:pt x="47" y="109"/>
                  </a:cubicBezTo>
                  <a:cubicBezTo>
                    <a:pt x="43" y="107"/>
                    <a:pt x="48" y="103"/>
                    <a:pt x="45" y="101"/>
                  </a:cubicBezTo>
                  <a:cubicBezTo>
                    <a:pt x="42" y="93"/>
                    <a:pt x="38" y="92"/>
                    <a:pt x="38" y="92"/>
                  </a:cubicBezTo>
                  <a:cubicBezTo>
                    <a:pt x="35" y="85"/>
                    <a:pt x="33" y="90"/>
                    <a:pt x="33" y="90"/>
                  </a:cubicBezTo>
                  <a:cubicBezTo>
                    <a:pt x="22" y="92"/>
                    <a:pt x="26" y="85"/>
                    <a:pt x="26" y="85"/>
                  </a:cubicBezTo>
                  <a:cubicBezTo>
                    <a:pt x="28" y="73"/>
                    <a:pt x="25" y="76"/>
                    <a:pt x="25" y="76"/>
                  </a:cubicBezTo>
                  <a:cubicBezTo>
                    <a:pt x="20" y="76"/>
                    <a:pt x="19" y="79"/>
                    <a:pt x="19" y="79"/>
                  </a:cubicBezTo>
                  <a:cubicBezTo>
                    <a:pt x="13" y="80"/>
                    <a:pt x="16" y="75"/>
                    <a:pt x="16" y="75"/>
                  </a:cubicBezTo>
                  <a:cubicBezTo>
                    <a:pt x="16" y="72"/>
                    <a:pt x="13" y="72"/>
                    <a:pt x="13" y="72"/>
                  </a:cubicBezTo>
                  <a:cubicBezTo>
                    <a:pt x="9" y="71"/>
                    <a:pt x="12" y="64"/>
                    <a:pt x="5" y="65"/>
                  </a:cubicBezTo>
                  <a:cubicBezTo>
                    <a:pt x="5" y="61"/>
                    <a:pt x="0" y="57"/>
                    <a:pt x="0" y="57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39" name="Freeform 1192">
              <a:extLst>
                <a:ext uri="{FF2B5EF4-FFF2-40B4-BE49-F238E27FC236}">
                  <a16:creationId xmlns:a16="http://schemas.microsoft.com/office/drawing/2014/main" id="{FF2DA939-9ECA-4264-AEE9-52324B5517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831" y="2730535"/>
              <a:ext cx="1024084" cy="995794"/>
            </a:xfrm>
            <a:custGeom>
              <a:avLst/>
              <a:gdLst>
                <a:gd name="T0" fmla="*/ 87312 w 145"/>
                <a:gd name="T1" fmla="*/ 896937 h 141"/>
                <a:gd name="T2" fmla="*/ 63500 w 145"/>
                <a:gd name="T3" fmla="*/ 833437 h 141"/>
                <a:gd name="T4" fmla="*/ 47625 w 145"/>
                <a:gd name="T5" fmla="*/ 762000 h 141"/>
                <a:gd name="T6" fmla="*/ 55562 w 145"/>
                <a:gd name="T7" fmla="*/ 666750 h 141"/>
                <a:gd name="T8" fmla="*/ 47625 w 145"/>
                <a:gd name="T9" fmla="*/ 603250 h 141"/>
                <a:gd name="T10" fmla="*/ 158750 w 145"/>
                <a:gd name="T11" fmla="*/ 452437 h 141"/>
                <a:gd name="T12" fmla="*/ 492125 w 145"/>
                <a:gd name="T13" fmla="*/ 150812 h 141"/>
                <a:gd name="T14" fmla="*/ 571500 w 145"/>
                <a:gd name="T15" fmla="*/ 111125 h 141"/>
                <a:gd name="T16" fmla="*/ 635000 w 145"/>
                <a:gd name="T17" fmla="*/ 79375 h 141"/>
                <a:gd name="T18" fmla="*/ 674687 w 145"/>
                <a:gd name="T19" fmla="*/ 47625 h 141"/>
                <a:gd name="T20" fmla="*/ 674687 w 145"/>
                <a:gd name="T21" fmla="*/ 0 h 141"/>
                <a:gd name="T22" fmla="*/ 738187 w 145"/>
                <a:gd name="T23" fmla="*/ 31750 h 141"/>
                <a:gd name="T24" fmla="*/ 785812 w 145"/>
                <a:gd name="T25" fmla="*/ 47625 h 141"/>
                <a:gd name="T26" fmla="*/ 817562 w 145"/>
                <a:gd name="T27" fmla="*/ 71437 h 141"/>
                <a:gd name="T28" fmla="*/ 793750 w 145"/>
                <a:gd name="T29" fmla="*/ 119062 h 141"/>
                <a:gd name="T30" fmla="*/ 817562 w 145"/>
                <a:gd name="T31" fmla="*/ 134937 h 141"/>
                <a:gd name="T32" fmla="*/ 865187 w 145"/>
                <a:gd name="T33" fmla="*/ 166687 h 141"/>
                <a:gd name="T34" fmla="*/ 920750 w 145"/>
                <a:gd name="T35" fmla="*/ 198437 h 141"/>
                <a:gd name="T36" fmla="*/ 992187 w 145"/>
                <a:gd name="T37" fmla="*/ 198437 h 141"/>
                <a:gd name="T38" fmla="*/ 1016000 w 145"/>
                <a:gd name="T39" fmla="*/ 230187 h 141"/>
                <a:gd name="T40" fmla="*/ 1071562 w 145"/>
                <a:gd name="T41" fmla="*/ 246062 h 141"/>
                <a:gd name="T42" fmla="*/ 1055687 w 145"/>
                <a:gd name="T43" fmla="*/ 285750 h 141"/>
                <a:gd name="T44" fmla="*/ 1063625 w 145"/>
                <a:gd name="T45" fmla="*/ 365125 h 141"/>
                <a:gd name="T46" fmla="*/ 1063625 w 145"/>
                <a:gd name="T47" fmla="*/ 365125 h 141"/>
                <a:gd name="T48" fmla="*/ 1119187 w 145"/>
                <a:gd name="T49" fmla="*/ 420687 h 141"/>
                <a:gd name="T50" fmla="*/ 1119187 w 145"/>
                <a:gd name="T51" fmla="*/ 420687 h 141"/>
                <a:gd name="T52" fmla="*/ 1119187 w 145"/>
                <a:gd name="T53" fmla="*/ 484187 h 141"/>
                <a:gd name="T54" fmla="*/ 1071562 w 145"/>
                <a:gd name="T55" fmla="*/ 515937 h 141"/>
                <a:gd name="T56" fmla="*/ 992187 w 145"/>
                <a:gd name="T57" fmla="*/ 555625 h 141"/>
                <a:gd name="T58" fmla="*/ 968375 w 145"/>
                <a:gd name="T59" fmla="*/ 579437 h 141"/>
                <a:gd name="T60" fmla="*/ 920750 w 145"/>
                <a:gd name="T61" fmla="*/ 642937 h 141"/>
                <a:gd name="T62" fmla="*/ 849312 w 145"/>
                <a:gd name="T63" fmla="*/ 674687 h 141"/>
                <a:gd name="T64" fmla="*/ 841375 w 145"/>
                <a:gd name="T65" fmla="*/ 706437 h 141"/>
                <a:gd name="T66" fmla="*/ 801687 w 145"/>
                <a:gd name="T67" fmla="*/ 690562 h 141"/>
                <a:gd name="T68" fmla="*/ 746125 w 145"/>
                <a:gd name="T69" fmla="*/ 690562 h 141"/>
                <a:gd name="T70" fmla="*/ 706437 w 145"/>
                <a:gd name="T71" fmla="*/ 738187 h 141"/>
                <a:gd name="T72" fmla="*/ 674687 w 145"/>
                <a:gd name="T73" fmla="*/ 801687 h 141"/>
                <a:gd name="T74" fmla="*/ 674687 w 145"/>
                <a:gd name="T75" fmla="*/ 857250 h 141"/>
                <a:gd name="T76" fmla="*/ 722312 w 145"/>
                <a:gd name="T77" fmla="*/ 865187 h 141"/>
                <a:gd name="T78" fmla="*/ 642937 w 145"/>
                <a:gd name="T79" fmla="*/ 889000 h 141"/>
                <a:gd name="T80" fmla="*/ 539750 w 145"/>
                <a:gd name="T81" fmla="*/ 896937 h 141"/>
                <a:gd name="T82" fmla="*/ 460375 w 145"/>
                <a:gd name="T83" fmla="*/ 904875 h 141"/>
                <a:gd name="T84" fmla="*/ 404812 w 145"/>
                <a:gd name="T85" fmla="*/ 936625 h 141"/>
                <a:gd name="T86" fmla="*/ 365125 w 145"/>
                <a:gd name="T87" fmla="*/ 968375 h 141"/>
                <a:gd name="T88" fmla="*/ 341312 w 145"/>
                <a:gd name="T89" fmla="*/ 1031875 h 141"/>
                <a:gd name="T90" fmla="*/ 333375 w 145"/>
                <a:gd name="T91" fmla="*/ 1119187 h 141"/>
                <a:gd name="T92" fmla="*/ 333375 w 145"/>
                <a:gd name="T93" fmla="*/ 1119187 h 141"/>
                <a:gd name="T94" fmla="*/ 277812 w 145"/>
                <a:gd name="T95" fmla="*/ 1119187 h 141"/>
                <a:gd name="T96" fmla="*/ 277812 w 145"/>
                <a:gd name="T97" fmla="*/ 1119187 h 141"/>
                <a:gd name="T98" fmla="*/ 230187 w 145"/>
                <a:gd name="T99" fmla="*/ 1087437 h 141"/>
                <a:gd name="T100" fmla="*/ 182562 w 145"/>
                <a:gd name="T101" fmla="*/ 1055687 h 141"/>
                <a:gd name="T102" fmla="*/ 142875 w 145"/>
                <a:gd name="T103" fmla="*/ 1023937 h 141"/>
                <a:gd name="T104" fmla="*/ 103187 w 145"/>
                <a:gd name="T105" fmla="*/ 992187 h 141"/>
                <a:gd name="T106" fmla="*/ 87312 w 145"/>
                <a:gd name="T107" fmla="*/ 896937 h 141"/>
                <a:gd name="T108" fmla="*/ 87312 w 145"/>
                <a:gd name="T109" fmla="*/ 896937 h 141"/>
                <a:gd name="T110" fmla="*/ 87312 w 145"/>
                <a:gd name="T111" fmla="*/ 896937 h 14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5"/>
                <a:gd name="T169" fmla="*/ 0 h 141"/>
                <a:gd name="T170" fmla="*/ 145 w 145"/>
                <a:gd name="T171" fmla="*/ 141 h 14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5" h="141">
                  <a:moveTo>
                    <a:pt x="11" y="113"/>
                  </a:moveTo>
                  <a:cubicBezTo>
                    <a:pt x="11" y="113"/>
                    <a:pt x="13" y="108"/>
                    <a:pt x="8" y="105"/>
                  </a:cubicBezTo>
                  <a:cubicBezTo>
                    <a:pt x="8" y="105"/>
                    <a:pt x="2" y="103"/>
                    <a:pt x="6" y="96"/>
                  </a:cubicBezTo>
                  <a:cubicBezTo>
                    <a:pt x="6" y="96"/>
                    <a:pt x="9" y="93"/>
                    <a:pt x="7" y="84"/>
                  </a:cubicBezTo>
                  <a:cubicBezTo>
                    <a:pt x="7" y="84"/>
                    <a:pt x="5" y="84"/>
                    <a:pt x="6" y="76"/>
                  </a:cubicBezTo>
                  <a:cubicBezTo>
                    <a:pt x="6" y="76"/>
                    <a:pt x="0" y="75"/>
                    <a:pt x="20" y="57"/>
                  </a:cubicBezTo>
                  <a:cubicBezTo>
                    <a:pt x="20" y="57"/>
                    <a:pt x="41" y="31"/>
                    <a:pt x="62" y="19"/>
                  </a:cubicBezTo>
                  <a:cubicBezTo>
                    <a:pt x="62" y="19"/>
                    <a:pt x="61" y="13"/>
                    <a:pt x="72" y="14"/>
                  </a:cubicBezTo>
                  <a:cubicBezTo>
                    <a:pt x="72" y="14"/>
                    <a:pt x="81" y="15"/>
                    <a:pt x="80" y="10"/>
                  </a:cubicBezTo>
                  <a:cubicBezTo>
                    <a:pt x="80" y="10"/>
                    <a:pt x="78" y="5"/>
                    <a:pt x="85" y="6"/>
                  </a:cubicBezTo>
                  <a:cubicBezTo>
                    <a:pt x="85" y="6"/>
                    <a:pt x="85" y="3"/>
                    <a:pt x="85" y="0"/>
                  </a:cubicBezTo>
                  <a:cubicBezTo>
                    <a:pt x="89" y="5"/>
                    <a:pt x="93" y="4"/>
                    <a:pt x="93" y="4"/>
                  </a:cubicBezTo>
                  <a:cubicBezTo>
                    <a:pt x="97" y="3"/>
                    <a:pt x="99" y="6"/>
                    <a:pt x="99" y="6"/>
                  </a:cubicBezTo>
                  <a:cubicBezTo>
                    <a:pt x="103" y="6"/>
                    <a:pt x="103" y="9"/>
                    <a:pt x="103" y="9"/>
                  </a:cubicBezTo>
                  <a:cubicBezTo>
                    <a:pt x="104" y="12"/>
                    <a:pt x="97" y="13"/>
                    <a:pt x="100" y="15"/>
                  </a:cubicBezTo>
                  <a:cubicBezTo>
                    <a:pt x="101" y="19"/>
                    <a:pt x="103" y="17"/>
                    <a:pt x="103" y="17"/>
                  </a:cubicBezTo>
                  <a:cubicBezTo>
                    <a:pt x="108" y="18"/>
                    <a:pt x="109" y="21"/>
                    <a:pt x="109" y="21"/>
                  </a:cubicBezTo>
                  <a:cubicBezTo>
                    <a:pt x="111" y="27"/>
                    <a:pt x="116" y="25"/>
                    <a:pt x="116" y="25"/>
                  </a:cubicBezTo>
                  <a:cubicBezTo>
                    <a:pt x="120" y="23"/>
                    <a:pt x="125" y="25"/>
                    <a:pt x="125" y="25"/>
                  </a:cubicBezTo>
                  <a:cubicBezTo>
                    <a:pt x="129" y="26"/>
                    <a:pt x="128" y="29"/>
                    <a:pt x="128" y="29"/>
                  </a:cubicBezTo>
                  <a:cubicBezTo>
                    <a:pt x="127" y="32"/>
                    <a:pt x="135" y="31"/>
                    <a:pt x="135" y="31"/>
                  </a:cubicBezTo>
                  <a:cubicBezTo>
                    <a:pt x="136" y="33"/>
                    <a:pt x="133" y="36"/>
                    <a:pt x="133" y="36"/>
                  </a:cubicBezTo>
                  <a:cubicBezTo>
                    <a:pt x="132" y="43"/>
                    <a:pt x="134" y="46"/>
                    <a:pt x="134" y="46"/>
                  </a:cubicBezTo>
                  <a:lnTo>
                    <a:pt x="141" y="53"/>
                  </a:lnTo>
                  <a:cubicBezTo>
                    <a:pt x="145" y="58"/>
                    <a:pt x="141" y="61"/>
                    <a:pt x="141" y="61"/>
                  </a:cubicBezTo>
                  <a:cubicBezTo>
                    <a:pt x="141" y="64"/>
                    <a:pt x="135" y="65"/>
                    <a:pt x="135" y="65"/>
                  </a:cubicBezTo>
                  <a:cubicBezTo>
                    <a:pt x="122" y="64"/>
                    <a:pt x="125" y="70"/>
                    <a:pt x="125" y="70"/>
                  </a:cubicBezTo>
                  <a:cubicBezTo>
                    <a:pt x="128" y="73"/>
                    <a:pt x="122" y="73"/>
                    <a:pt x="122" y="73"/>
                  </a:cubicBezTo>
                  <a:cubicBezTo>
                    <a:pt x="118" y="82"/>
                    <a:pt x="116" y="81"/>
                    <a:pt x="116" y="81"/>
                  </a:cubicBezTo>
                  <a:cubicBezTo>
                    <a:pt x="114" y="84"/>
                    <a:pt x="109" y="81"/>
                    <a:pt x="107" y="85"/>
                  </a:cubicBezTo>
                  <a:cubicBezTo>
                    <a:pt x="106" y="85"/>
                    <a:pt x="106" y="89"/>
                    <a:pt x="106" y="89"/>
                  </a:cubicBezTo>
                  <a:cubicBezTo>
                    <a:pt x="106" y="89"/>
                    <a:pt x="102" y="90"/>
                    <a:pt x="101" y="87"/>
                  </a:cubicBezTo>
                  <a:cubicBezTo>
                    <a:pt x="101" y="87"/>
                    <a:pt x="96" y="84"/>
                    <a:pt x="94" y="87"/>
                  </a:cubicBezTo>
                  <a:cubicBezTo>
                    <a:pt x="94" y="87"/>
                    <a:pt x="88" y="86"/>
                    <a:pt x="89" y="93"/>
                  </a:cubicBezTo>
                  <a:cubicBezTo>
                    <a:pt x="89" y="93"/>
                    <a:pt x="91" y="100"/>
                    <a:pt x="85" y="101"/>
                  </a:cubicBezTo>
                  <a:cubicBezTo>
                    <a:pt x="85" y="101"/>
                    <a:pt x="84" y="105"/>
                    <a:pt x="85" y="108"/>
                  </a:cubicBezTo>
                  <a:cubicBezTo>
                    <a:pt x="85" y="108"/>
                    <a:pt x="90" y="107"/>
                    <a:pt x="91" y="109"/>
                  </a:cubicBezTo>
                  <a:cubicBezTo>
                    <a:pt x="91" y="109"/>
                    <a:pt x="91" y="112"/>
                    <a:pt x="81" y="112"/>
                  </a:cubicBezTo>
                  <a:cubicBezTo>
                    <a:pt x="81" y="112"/>
                    <a:pt x="72" y="111"/>
                    <a:pt x="68" y="113"/>
                  </a:cubicBezTo>
                  <a:cubicBezTo>
                    <a:pt x="68" y="113"/>
                    <a:pt x="67" y="116"/>
                    <a:pt x="58" y="114"/>
                  </a:cubicBezTo>
                  <a:cubicBezTo>
                    <a:pt x="58" y="114"/>
                    <a:pt x="50" y="111"/>
                    <a:pt x="51" y="118"/>
                  </a:cubicBezTo>
                  <a:cubicBezTo>
                    <a:pt x="51" y="118"/>
                    <a:pt x="50" y="121"/>
                    <a:pt x="46" y="122"/>
                  </a:cubicBezTo>
                  <a:cubicBezTo>
                    <a:pt x="46" y="122"/>
                    <a:pt x="42" y="123"/>
                    <a:pt x="43" y="130"/>
                  </a:cubicBezTo>
                  <a:cubicBezTo>
                    <a:pt x="43" y="130"/>
                    <a:pt x="45" y="134"/>
                    <a:pt x="42" y="141"/>
                  </a:cubicBezTo>
                  <a:lnTo>
                    <a:pt x="35" y="141"/>
                  </a:lnTo>
                  <a:cubicBezTo>
                    <a:pt x="35" y="141"/>
                    <a:pt x="34" y="137"/>
                    <a:pt x="29" y="137"/>
                  </a:cubicBezTo>
                  <a:cubicBezTo>
                    <a:pt x="29" y="137"/>
                    <a:pt x="24" y="138"/>
                    <a:pt x="23" y="133"/>
                  </a:cubicBezTo>
                  <a:cubicBezTo>
                    <a:pt x="23" y="133"/>
                    <a:pt x="23" y="126"/>
                    <a:pt x="18" y="129"/>
                  </a:cubicBezTo>
                  <a:cubicBezTo>
                    <a:pt x="18" y="129"/>
                    <a:pt x="13" y="128"/>
                    <a:pt x="13" y="125"/>
                  </a:cubicBezTo>
                  <a:cubicBezTo>
                    <a:pt x="13" y="125"/>
                    <a:pt x="10" y="124"/>
                    <a:pt x="11" y="113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40" name="Freeform 1193">
              <a:extLst>
                <a:ext uri="{FF2B5EF4-FFF2-40B4-BE49-F238E27FC236}">
                  <a16:creationId xmlns:a16="http://schemas.microsoft.com/office/drawing/2014/main" id="{D65921E5-ED1F-4784-8829-B702E338A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7964" y="2024299"/>
              <a:ext cx="840456" cy="911043"/>
            </a:xfrm>
            <a:custGeom>
              <a:avLst/>
              <a:gdLst>
                <a:gd name="T0" fmla="*/ 150812 w 119"/>
                <a:gd name="T1" fmla="*/ 793750 h 129"/>
                <a:gd name="T2" fmla="*/ 119062 w 119"/>
                <a:gd name="T3" fmla="*/ 690562 h 129"/>
                <a:gd name="T4" fmla="*/ 119062 w 119"/>
                <a:gd name="T5" fmla="*/ 650875 h 129"/>
                <a:gd name="T6" fmla="*/ 174625 w 119"/>
                <a:gd name="T7" fmla="*/ 650875 h 129"/>
                <a:gd name="T8" fmla="*/ 95250 w 119"/>
                <a:gd name="T9" fmla="*/ 500062 h 129"/>
                <a:gd name="T10" fmla="*/ 63500 w 119"/>
                <a:gd name="T11" fmla="*/ 428625 h 129"/>
                <a:gd name="T12" fmla="*/ 23812 w 119"/>
                <a:gd name="T13" fmla="*/ 357187 h 129"/>
                <a:gd name="T14" fmla="*/ 39687 w 119"/>
                <a:gd name="T15" fmla="*/ 293687 h 129"/>
                <a:gd name="T16" fmla="*/ 39687 w 119"/>
                <a:gd name="T17" fmla="*/ 293687 h 129"/>
                <a:gd name="T18" fmla="*/ 15875 w 119"/>
                <a:gd name="T19" fmla="*/ 214312 h 129"/>
                <a:gd name="T20" fmla="*/ 15875 w 119"/>
                <a:gd name="T21" fmla="*/ 214312 h 129"/>
                <a:gd name="T22" fmla="*/ 55562 w 119"/>
                <a:gd name="T23" fmla="*/ 158750 h 129"/>
                <a:gd name="T24" fmla="*/ 142875 w 119"/>
                <a:gd name="T25" fmla="*/ 174625 h 129"/>
                <a:gd name="T26" fmla="*/ 198437 w 119"/>
                <a:gd name="T27" fmla="*/ 166687 h 129"/>
                <a:gd name="T28" fmla="*/ 277812 w 119"/>
                <a:gd name="T29" fmla="*/ 111125 h 129"/>
                <a:gd name="T30" fmla="*/ 309562 w 119"/>
                <a:gd name="T31" fmla="*/ 47625 h 129"/>
                <a:gd name="T32" fmla="*/ 428625 w 119"/>
                <a:gd name="T33" fmla="*/ 31750 h 129"/>
                <a:gd name="T34" fmla="*/ 595312 w 119"/>
                <a:gd name="T35" fmla="*/ 23812 h 129"/>
                <a:gd name="T36" fmla="*/ 690562 w 119"/>
                <a:gd name="T37" fmla="*/ 39687 h 129"/>
                <a:gd name="T38" fmla="*/ 754062 w 119"/>
                <a:gd name="T39" fmla="*/ 47625 h 129"/>
                <a:gd name="T40" fmla="*/ 762000 w 119"/>
                <a:gd name="T41" fmla="*/ 87312 h 129"/>
                <a:gd name="T42" fmla="*/ 754062 w 119"/>
                <a:gd name="T43" fmla="*/ 134937 h 129"/>
                <a:gd name="T44" fmla="*/ 730250 w 119"/>
                <a:gd name="T45" fmla="*/ 182562 h 129"/>
                <a:gd name="T46" fmla="*/ 746125 w 119"/>
                <a:gd name="T47" fmla="*/ 246062 h 129"/>
                <a:gd name="T48" fmla="*/ 746125 w 119"/>
                <a:gd name="T49" fmla="*/ 285750 h 129"/>
                <a:gd name="T50" fmla="*/ 730250 w 119"/>
                <a:gd name="T51" fmla="*/ 381000 h 129"/>
                <a:gd name="T52" fmla="*/ 769937 w 119"/>
                <a:gd name="T53" fmla="*/ 388937 h 129"/>
                <a:gd name="T54" fmla="*/ 833437 w 119"/>
                <a:gd name="T55" fmla="*/ 420687 h 129"/>
                <a:gd name="T56" fmla="*/ 873125 w 119"/>
                <a:gd name="T57" fmla="*/ 484187 h 129"/>
                <a:gd name="T58" fmla="*/ 896937 w 119"/>
                <a:gd name="T59" fmla="*/ 547687 h 129"/>
                <a:gd name="T60" fmla="*/ 865187 w 119"/>
                <a:gd name="T61" fmla="*/ 587375 h 129"/>
                <a:gd name="T62" fmla="*/ 912812 w 119"/>
                <a:gd name="T63" fmla="*/ 627062 h 129"/>
                <a:gd name="T64" fmla="*/ 865187 w 119"/>
                <a:gd name="T65" fmla="*/ 658812 h 129"/>
                <a:gd name="T66" fmla="*/ 873125 w 119"/>
                <a:gd name="T67" fmla="*/ 706437 h 129"/>
                <a:gd name="T68" fmla="*/ 833437 w 119"/>
                <a:gd name="T69" fmla="*/ 746125 h 129"/>
                <a:gd name="T70" fmla="*/ 825500 w 119"/>
                <a:gd name="T71" fmla="*/ 793750 h 129"/>
                <a:gd name="T72" fmla="*/ 777875 w 119"/>
                <a:gd name="T73" fmla="*/ 833437 h 129"/>
                <a:gd name="T74" fmla="*/ 730250 w 119"/>
                <a:gd name="T75" fmla="*/ 801687 h 129"/>
                <a:gd name="T76" fmla="*/ 666750 w 119"/>
                <a:gd name="T77" fmla="*/ 817562 h 129"/>
                <a:gd name="T78" fmla="*/ 611187 w 119"/>
                <a:gd name="T79" fmla="*/ 833437 h 129"/>
                <a:gd name="T80" fmla="*/ 571500 w 119"/>
                <a:gd name="T81" fmla="*/ 873125 h 129"/>
                <a:gd name="T82" fmla="*/ 523875 w 119"/>
                <a:gd name="T83" fmla="*/ 944562 h 129"/>
                <a:gd name="T84" fmla="*/ 523875 w 119"/>
                <a:gd name="T85" fmla="*/ 992187 h 129"/>
                <a:gd name="T86" fmla="*/ 500062 w 119"/>
                <a:gd name="T87" fmla="*/ 1023937 h 129"/>
                <a:gd name="T88" fmla="*/ 468312 w 119"/>
                <a:gd name="T89" fmla="*/ 992187 h 129"/>
                <a:gd name="T90" fmla="*/ 396875 w 119"/>
                <a:gd name="T91" fmla="*/ 992187 h 129"/>
                <a:gd name="T92" fmla="*/ 341312 w 119"/>
                <a:gd name="T93" fmla="*/ 960437 h 129"/>
                <a:gd name="T94" fmla="*/ 293687 w 119"/>
                <a:gd name="T95" fmla="*/ 928687 h 129"/>
                <a:gd name="T96" fmla="*/ 269875 w 119"/>
                <a:gd name="T97" fmla="*/ 912812 h 129"/>
                <a:gd name="T98" fmla="*/ 293687 w 119"/>
                <a:gd name="T99" fmla="*/ 865187 h 129"/>
                <a:gd name="T100" fmla="*/ 261937 w 119"/>
                <a:gd name="T101" fmla="*/ 841375 h 129"/>
                <a:gd name="T102" fmla="*/ 214312 w 119"/>
                <a:gd name="T103" fmla="*/ 825500 h 129"/>
                <a:gd name="T104" fmla="*/ 150812 w 119"/>
                <a:gd name="T105" fmla="*/ 793750 h 129"/>
                <a:gd name="T106" fmla="*/ 150812 w 119"/>
                <a:gd name="T107" fmla="*/ 793750 h 129"/>
                <a:gd name="T108" fmla="*/ 150812 w 119"/>
                <a:gd name="T109" fmla="*/ 793750 h 12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19"/>
                <a:gd name="T166" fmla="*/ 0 h 129"/>
                <a:gd name="T167" fmla="*/ 119 w 119"/>
                <a:gd name="T168" fmla="*/ 129 h 12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19" h="129">
                  <a:moveTo>
                    <a:pt x="19" y="100"/>
                  </a:moveTo>
                  <a:cubicBezTo>
                    <a:pt x="19" y="96"/>
                    <a:pt x="18" y="92"/>
                    <a:pt x="15" y="87"/>
                  </a:cubicBezTo>
                  <a:cubicBezTo>
                    <a:pt x="15" y="87"/>
                    <a:pt x="10" y="84"/>
                    <a:pt x="15" y="82"/>
                  </a:cubicBezTo>
                  <a:cubicBezTo>
                    <a:pt x="15" y="82"/>
                    <a:pt x="18" y="81"/>
                    <a:pt x="22" y="82"/>
                  </a:cubicBezTo>
                  <a:cubicBezTo>
                    <a:pt x="22" y="78"/>
                    <a:pt x="13" y="78"/>
                    <a:pt x="12" y="63"/>
                  </a:cubicBezTo>
                  <a:cubicBezTo>
                    <a:pt x="10" y="61"/>
                    <a:pt x="13" y="54"/>
                    <a:pt x="8" y="54"/>
                  </a:cubicBezTo>
                  <a:cubicBezTo>
                    <a:pt x="3" y="53"/>
                    <a:pt x="6" y="46"/>
                    <a:pt x="3" y="45"/>
                  </a:cubicBezTo>
                  <a:cubicBezTo>
                    <a:pt x="3" y="45"/>
                    <a:pt x="0" y="44"/>
                    <a:pt x="5" y="37"/>
                  </a:cubicBezTo>
                  <a:lnTo>
                    <a:pt x="2" y="27"/>
                  </a:lnTo>
                  <a:cubicBezTo>
                    <a:pt x="2" y="27"/>
                    <a:pt x="2" y="19"/>
                    <a:pt x="7" y="20"/>
                  </a:cubicBezTo>
                  <a:cubicBezTo>
                    <a:pt x="7" y="20"/>
                    <a:pt x="16" y="19"/>
                    <a:pt x="18" y="22"/>
                  </a:cubicBezTo>
                  <a:cubicBezTo>
                    <a:pt x="18" y="22"/>
                    <a:pt x="15" y="29"/>
                    <a:pt x="25" y="21"/>
                  </a:cubicBezTo>
                  <a:cubicBezTo>
                    <a:pt x="25" y="21"/>
                    <a:pt x="32" y="18"/>
                    <a:pt x="35" y="14"/>
                  </a:cubicBezTo>
                  <a:cubicBezTo>
                    <a:pt x="35" y="14"/>
                    <a:pt x="36" y="9"/>
                    <a:pt x="39" y="6"/>
                  </a:cubicBezTo>
                  <a:cubicBezTo>
                    <a:pt x="39" y="6"/>
                    <a:pt x="40" y="1"/>
                    <a:pt x="54" y="4"/>
                  </a:cubicBezTo>
                  <a:cubicBezTo>
                    <a:pt x="54" y="4"/>
                    <a:pt x="69" y="6"/>
                    <a:pt x="75" y="3"/>
                  </a:cubicBezTo>
                  <a:cubicBezTo>
                    <a:pt x="86" y="0"/>
                    <a:pt x="83" y="4"/>
                    <a:pt x="87" y="5"/>
                  </a:cubicBezTo>
                  <a:cubicBezTo>
                    <a:pt x="87" y="5"/>
                    <a:pt x="90" y="6"/>
                    <a:pt x="95" y="6"/>
                  </a:cubicBezTo>
                  <a:cubicBezTo>
                    <a:pt x="95" y="10"/>
                    <a:pt x="96" y="11"/>
                    <a:pt x="96" y="11"/>
                  </a:cubicBezTo>
                  <a:cubicBezTo>
                    <a:pt x="100" y="11"/>
                    <a:pt x="99" y="18"/>
                    <a:pt x="95" y="17"/>
                  </a:cubicBezTo>
                  <a:cubicBezTo>
                    <a:pt x="93" y="19"/>
                    <a:pt x="92" y="23"/>
                    <a:pt x="92" y="23"/>
                  </a:cubicBezTo>
                  <a:cubicBezTo>
                    <a:pt x="91" y="29"/>
                    <a:pt x="94" y="31"/>
                    <a:pt x="94" y="31"/>
                  </a:cubicBezTo>
                  <a:cubicBezTo>
                    <a:pt x="97" y="34"/>
                    <a:pt x="94" y="36"/>
                    <a:pt x="94" y="36"/>
                  </a:cubicBezTo>
                  <a:cubicBezTo>
                    <a:pt x="94" y="46"/>
                    <a:pt x="92" y="48"/>
                    <a:pt x="92" y="48"/>
                  </a:cubicBezTo>
                  <a:cubicBezTo>
                    <a:pt x="93" y="55"/>
                    <a:pt x="97" y="49"/>
                    <a:pt x="97" y="49"/>
                  </a:cubicBezTo>
                  <a:cubicBezTo>
                    <a:pt x="104" y="47"/>
                    <a:pt x="105" y="53"/>
                    <a:pt x="105" y="53"/>
                  </a:cubicBezTo>
                  <a:cubicBezTo>
                    <a:pt x="107" y="60"/>
                    <a:pt x="110" y="61"/>
                    <a:pt x="110" y="61"/>
                  </a:cubicBezTo>
                  <a:cubicBezTo>
                    <a:pt x="119" y="69"/>
                    <a:pt x="113" y="69"/>
                    <a:pt x="113" y="69"/>
                  </a:cubicBezTo>
                  <a:cubicBezTo>
                    <a:pt x="109" y="70"/>
                    <a:pt x="109" y="74"/>
                    <a:pt x="109" y="74"/>
                  </a:cubicBezTo>
                  <a:cubicBezTo>
                    <a:pt x="117" y="74"/>
                    <a:pt x="115" y="79"/>
                    <a:pt x="115" y="79"/>
                  </a:cubicBezTo>
                  <a:cubicBezTo>
                    <a:pt x="116" y="83"/>
                    <a:pt x="109" y="81"/>
                    <a:pt x="109" y="83"/>
                  </a:cubicBezTo>
                  <a:cubicBezTo>
                    <a:pt x="115" y="87"/>
                    <a:pt x="110" y="89"/>
                    <a:pt x="110" y="89"/>
                  </a:cubicBezTo>
                  <a:cubicBezTo>
                    <a:pt x="110" y="92"/>
                    <a:pt x="105" y="94"/>
                    <a:pt x="105" y="94"/>
                  </a:cubicBezTo>
                  <a:cubicBezTo>
                    <a:pt x="102" y="96"/>
                    <a:pt x="104" y="100"/>
                    <a:pt x="104" y="100"/>
                  </a:cubicBezTo>
                  <a:cubicBezTo>
                    <a:pt x="104" y="110"/>
                    <a:pt x="98" y="105"/>
                    <a:pt x="98" y="105"/>
                  </a:cubicBezTo>
                  <a:cubicBezTo>
                    <a:pt x="95" y="105"/>
                    <a:pt x="95" y="101"/>
                    <a:pt x="92" y="101"/>
                  </a:cubicBezTo>
                  <a:cubicBezTo>
                    <a:pt x="89" y="100"/>
                    <a:pt x="89" y="103"/>
                    <a:pt x="84" y="103"/>
                  </a:cubicBezTo>
                  <a:cubicBezTo>
                    <a:pt x="78" y="102"/>
                    <a:pt x="77" y="105"/>
                    <a:pt x="77" y="105"/>
                  </a:cubicBezTo>
                  <a:cubicBezTo>
                    <a:pt x="75" y="107"/>
                    <a:pt x="76" y="112"/>
                    <a:pt x="72" y="110"/>
                  </a:cubicBezTo>
                  <a:cubicBezTo>
                    <a:pt x="65" y="109"/>
                    <a:pt x="66" y="119"/>
                    <a:pt x="66" y="119"/>
                  </a:cubicBezTo>
                  <a:cubicBezTo>
                    <a:pt x="71" y="123"/>
                    <a:pt x="66" y="125"/>
                    <a:pt x="66" y="125"/>
                  </a:cubicBezTo>
                  <a:cubicBezTo>
                    <a:pt x="65" y="128"/>
                    <a:pt x="63" y="129"/>
                    <a:pt x="63" y="129"/>
                  </a:cubicBezTo>
                  <a:cubicBezTo>
                    <a:pt x="63" y="129"/>
                    <a:pt x="63" y="126"/>
                    <a:pt x="59" y="125"/>
                  </a:cubicBezTo>
                  <a:cubicBezTo>
                    <a:pt x="59" y="125"/>
                    <a:pt x="54" y="123"/>
                    <a:pt x="50" y="125"/>
                  </a:cubicBezTo>
                  <a:cubicBezTo>
                    <a:pt x="50" y="125"/>
                    <a:pt x="45" y="127"/>
                    <a:pt x="43" y="121"/>
                  </a:cubicBezTo>
                  <a:cubicBezTo>
                    <a:pt x="43" y="121"/>
                    <a:pt x="42" y="118"/>
                    <a:pt x="37" y="117"/>
                  </a:cubicBezTo>
                  <a:cubicBezTo>
                    <a:pt x="37" y="117"/>
                    <a:pt x="35" y="119"/>
                    <a:pt x="34" y="115"/>
                  </a:cubicBezTo>
                  <a:cubicBezTo>
                    <a:pt x="31" y="113"/>
                    <a:pt x="38" y="112"/>
                    <a:pt x="37" y="109"/>
                  </a:cubicBezTo>
                  <a:cubicBezTo>
                    <a:pt x="37" y="109"/>
                    <a:pt x="37" y="106"/>
                    <a:pt x="33" y="106"/>
                  </a:cubicBezTo>
                  <a:cubicBezTo>
                    <a:pt x="33" y="106"/>
                    <a:pt x="31" y="103"/>
                    <a:pt x="27" y="104"/>
                  </a:cubicBezTo>
                  <a:cubicBezTo>
                    <a:pt x="27" y="104"/>
                    <a:pt x="23" y="105"/>
                    <a:pt x="19" y="100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41" name="Freeform 1194">
              <a:extLst>
                <a:ext uri="{FF2B5EF4-FFF2-40B4-BE49-F238E27FC236}">
                  <a16:creationId xmlns:a16="http://schemas.microsoft.com/office/drawing/2014/main" id="{E46E8149-ACFE-4882-93DB-1B2EFE541A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787" y="2052547"/>
              <a:ext cx="967582" cy="1052291"/>
            </a:xfrm>
            <a:custGeom>
              <a:avLst/>
              <a:gdLst>
                <a:gd name="T0" fmla="*/ 277812 w 137"/>
                <a:gd name="T1" fmla="*/ 55562 h 149"/>
                <a:gd name="T2" fmla="*/ 246062 w 137"/>
                <a:gd name="T3" fmla="*/ 150812 h 149"/>
                <a:gd name="T4" fmla="*/ 261937 w 137"/>
                <a:gd name="T5" fmla="*/ 254000 h 149"/>
                <a:gd name="T6" fmla="*/ 285750 w 137"/>
                <a:gd name="T7" fmla="*/ 357187 h 149"/>
                <a:gd name="T8" fmla="*/ 388937 w 137"/>
                <a:gd name="T9" fmla="*/ 452437 h 149"/>
                <a:gd name="T10" fmla="*/ 381000 w 137"/>
                <a:gd name="T11" fmla="*/ 555625 h 149"/>
                <a:gd name="T12" fmla="*/ 381000 w 137"/>
                <a:gd name="T13" fmla="*/ 627062 h 149"/>
                <a:gd name="T14" fmla="*/ 349250 w 137"/>
                <a:gd name="T15" fmla="*/ 714375 h 149"/>
                <a:gd name="T16" fmla="*/ 293687 w 137"/>
                <a:gd name="T17" fmla="*/ 801687 h 149"/>
                <a:gd name="T18" fmla="*/ 182562 w 137"/>
                <a:gd name="T19" fmla="*/ 785812 h 149"/>
                <a:gd name="T20" fmla="*/ 87312 w 137"/>
                <a:gd name="T21" fmla="*/ 841375 h 149"/>
                <a:gd name="T22" fmla="*/ 39687 w 137"/>
                <a:gd name="T23" fmla="*/ 960437 h 149"/>
                <a:gd name="T24" fmla="*/ 63500 w 137"/>
                <a:gd name="T25" fmla="*/ 1008062 h 149"/>
                <a:gd name="T26" fmla="*/ 55562 w 137"/>
                <a:gd name="T27" fmla="*/ 1127125 h 149"/>
                <a:gd name="T28" fmla="*/ 111125 w 137"/>
                <a:gd name="T29" fmla="*/ 1182687 h 149"/>
                <a:gd name="T30" fmla="*/ 150812 w 137"/>
                <a:gd name="T31" fmla="*/ 1111250 h 149"/>
                <a:gd name="T32" fmla="*/ 317500 w 137"/>
                <a:gd name="T33" fmla="*/ 1071562 h 149"/>
                <a:gd name="T34" fmla="*/ 428625 w 137"/>
                <a:gd name="T35" fmla="*/ 1063625 h 149"/>
                <a:gd name="T36" fmla="*/ 492125 w 137"/>
                <a:gd name="T37" fmla="*/ 1095375 h 149"/>
                <a:gd name="T38" fmla="*/ 595312 w 137"/>
                <a:gd name="T39" fmla="*/ 1031875 h 149"/>
                <a:gd name="T40" fmla="*/ 730250 w 137"/>
                <a:gd name="T41" fmla="*/ 912812 h 149"/>
                <a:gd name="T42" fmla="*/ 841375 w 137"/>
                <a:gd name="T43" fmla="*/ 904875 h 149"/>
                <a:gd name="T44" fmla="*/ 857250 w 137"/>
                <a:gd name="T45" fmla="*/ 825500 h 149"/>
                <a:gd name="T46" fmla="*/ 865187 w 137"/>
                <a:gd name="T47" fmla="*/ 698500 h 149"/>
                <a:gd name="T48" fmla="*/ 912812 w 137"/>
                <a:gd name="T49" fmla="*/ 563562 h 149"/>
                <a:gd name="T50" fmla="*/ 944562 w 137"/>
                <a:gd name="T51" fmla="*/ 508000 h 149"/>
                <a:gd name="T52" fmla="*/ 960437 w 137"/>
                <a:gd name="T53" fmla="*/ 444500 h 149"/>
                <a:gd name="T54" fmla="*/ 984250 w 137"/>
                <a:gd name="T55" fmla="*/ 357187 h 149"/>
                <a:gd name="T56" fmla="*/ 1031875 w 137"/>
                <a:gd name="T57" fmla="*/ 341312 h 149"/>
                <a:gd name="T58" fmla="*/ 1079500 w 137"/>
                <a:gd name="T59" fmla="*/ 285750 h 149"/>
                <a:gd name="T60" fmla="*/ 904875 w 137"/>
                <a:gd name="T61" fmla="*/ 238125 h 149"/>
                <a:gd name="T62" fmla="*/ 881062 w 137"/>
                <a:gd name="T63" fmla="*/ 174625 h 149"/>
                <a:gd name="T64" fmla="*/ 849312 w 137"/>
                <a:gd name="T65" fmla="*/ 150812 h 149"/>
                <a:gd name="T66" fmla="*/ 785812 w 137"/>
                <a:gd name="T67" fmla="*/ 150812 h 149"/>
                <a:gd name="T68" fmla="*/ 611187 w 137"/>
                <a:gd name="T69" fmla="*/ 95250 h 149"/>
                <a:gd name="T70" fmla="*/ 500062 w 137"/>
                <a:gd name="T71" fmla="*/ 55562 h 149"/>
                <a:gd name="T72" fmla="*/ 357187 w 137"/>
                <a:gd name="T73" fmla="*/ 15875 h 149"/>
                <a:gd name="T74" fmla="*/ 269875 w 137"/>
                <a:gd name="T75" fmla="*/ 15875 h 14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7"/>
                <a:gd name="T115" fmla="*/ 0 h 149"/>
                <a:gd name="T116" fmla="*/ 137 w 137"/>
                <a:gd name="T117" fmla="*/ 149 h 14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7" h="149">
                  <a:moveTo>
                    <a:pt x="34" y="2"/>
                  </a:moveTo>
                  <a:cubicBezTo>
                    <a:pt x="34" y="5"/>
                    <a:pt x="35" y="7"/>
                    <a:pt x="35" y="7"/>
                  </a:cubicBezTo>
                  <a:cubicBezTo>
                    <a:pt x="39" y="7"/>
                    <a:pt x="38" y="14"/>
                    <a:pt x="34" y="13"/>
                  </a:cubicBezTo>
                  <a:cubicBezTo>
                    <a:pt x="32" y="15"/>
                    <a:pt x="31" y="19"/>
                    <a:pt x="31" y="19"/>
                  </a:cubicBezTo>
                  <a:cubicBezTo>
                    <a:pt x="30" y="25"/>
                    <a:pt x="33" y="27"/>
                    <a:pt x="33" y="27"/>
                  </a:cubicBezTo>
                  <a:cubicBezTo>
                    <a:pt x="36" y="30"/>
                    <a:pt x="33" y="32"/>
                    <a:pt x="33" y="32"/>
                  </a:cubicBezTo>
                  <a:cubicBezTo>
                    <a:pt x="33" y="42"/>
                    <a:pt x="31" y="44"/>
                    <a:pt x="31" y="44"/>
                  </a:cubicBezTo>
                  <a:cubicBezTo>
                    <a:pt x="32" y="51"/>
                    <a:pt x="36" y="45"/>
                    <a:pt x="36" y="45"/>
                  </a:cubicBezTo>
                  <a:cubicBezTo>
                    <a:pt x="43" y="43"/>
                    <a:pt x="44" y="49"/>
                    <a:pt x="44" y="49"/>
                  </a:cubicBezTo>
                  <a:cubicBezTo>
                    <a:pt x="46" y="56"/>
                    <a:pt x="49" y="57"/>
                    <a:pt x="49" y="57"/>
                  </a:cubicBezTo>
                  <a:cubicBezTo>
                    <a:pt x="58" y="65"/>
                    <a:pt x="52" y="65"/>
                    <a:pt x="52" y="65"/>
                  </a:cubicBezTo>
                  <a:cubicBezTo>
                    <a:pt x="48" y="66"/>
                    <a:pt x="48" y="70"/>
                    <a:pt x="48" y="70"/>
                  </a:cubicBezTo>
                  <a:cubicBezTo>
                    <a:pt x="56" y="70"/>
                    <a:pt x="54" y="75"/>
                    <a:pt x="54" y="75"/>
                  </a:cubicBezTo>
                  <a:cubicBezTo>
                    <a:pt x="55" y="79"/>
                    <a:pt x="48" y="77"/>
                    <a:pt x="48" y="79"/>
                  </a:cubicBezTo>
                  <a:cubicBezTo>
                    <a:pt x="54" y="83"/>
                    <a:pt x="49" y="85"/>
                    <a:pt x="49" y="85"/>
                  </a:cubicBezTo>
                  <a:cubicBezTo>
                    <a:pt x="49" y="88"/>
                    <a:pt x="44" y="90"/>
                    <a:pt x="44" y="90"/>
                  </a:cubicBezTo>
                  <a:cubicBezTo>
                    <a:pt x="41" y="92"/>
                    <a:pt x="43" y="96"/>
                    <a:pt x="43" y="96"/>
                  </a:cubicBezTo>
                  <a:cubicBezTo>
                    <a:pt x="43" y="106"/>
                    <a:pt x="37" y="101"/>
                    <a:pt x="37" y="101"/>
                  </a:cubicBezTo>
                  <a:cubicBezTo>
                    <a:pt x="34" y="101"/>
                    <a:pt x="34" y="97"/>
                    <a:pt x="31" y="97"/>
                  </a:cubicBezTo>
                  <a:cubicBezTo>
                    <a:pt x="28" y="96"/>
                    <a:pt x="28" y="99"/>
                    <a:pt x="23" y="99"/>
                  </a:cubicBezTo>
                  <a:cubicBezTo>
                    <a:pt x="17" y="98"/>
                    <a:pt x="16" y="101"/>
                    <a:pt x="16" y="101"/>
                  </a:cubicBezTo>
                  <a:cubicBezTo>
                    <a:pt x="14" y="103"/>
                    <a:pt x="15" y="108"/>
                    <a:pt x="11" y="106"/>
                  </a:cubicBezTo>
                  <a:cubicBezTo>
                    <a:pt x="4" y="105"/>
                    <a:pt x="5" y="115"/>
                    <a:pt x="5" y="115"/>
                  </a:cubicBezTo>
                  <a:cubicBezTo>
                    <a:pt x="10" y="119"/>
                    <a:pt x="5" y="121"/>
                    <a:pt x="5" y="121"/>
                  </a:cubicBezTo>
                  <a:cubicBezTo>
                    <a:pt x="4" y="124"/>
                    <a:pt x="2" y="125"/>
                    <a:pt x="2" y="125"/>
                  </a:cubicBezTo>
                  <a:cubicBezTo>
                    <a:pt x="0" y="128"/>
                    <a:pt x="8" y="127"/>
                    <a:pt x="8" y="127"/>
                  </a:cubicBezTo>
                  <a:cubicBezTo>
                    <a:pt x="9" y="129"/>
                    <a:pt x="6" y="132"/>
                    <a:pt x="6" y="132"/>
                  </a:cubicBezTo>
                  <a:cubicBezTo>
                    <a:pt x="5" y="139"/>
                    <a:pt x="7" y="142"/>
                    <a:pt x="7" y="142"/>
                  </a:cubicBezTo>
                  <a:lnTo>
                    <a:pt x="14" y="149"/>
                  </a:lnTo>
                  <a:cubicBezTo>
                    <a:pt x="14" y="149"/>
                    <a:pt x="20" y="143"/>
                    <a:pt x="19" y="140"/>
                  </a:cubicBezTo>
                  <a:cubicBezTo>
                    <a:pt x="20" y="133"/>
                    <a:pt x="25" y="141"/>
                    <a:pt x="30" y="138"/>
                  </a:cubicBezTo>
                  <a:cubicBezTo>
                    <a:pt x="30" y="138"/>
                    <a:pt x="37" y="138"/>
                    <a:pt x="40" y="135"/>
                  </a:cubicBezTo>
                  <a:cubicBezTo>
                    <a:pt x="40" y="135"/>
                    <a:pt x="42" y="131"/>
                    <a:pt x="46" y="132"/>
                  </a:cubicBezTo>
                  <a:cubicBezTo>
                    <a:pt x="46" y="132"/>
                    <a:pt x="51" y="131"/>
                    <a:pt x="54" y="134"/>
                  </a:cubicBezTo>
                  <a:cubicBezTo>
                    <a:pt x="58" y="130"/>
                    <a:pt x="56" y="139"/>
                    <a:pt x="58" y="140"/>
                  </a:cubicBezTo>
                  <a:cubicBezTo>
                    <a:pt x="61" y="140"/>
                    <a:pt x="62" y="138"/>
                    <a:pt x="62" y="138"/>
                  </a:cubicBezTo>
                  <a:cubicBezTo>
                    <a:pt x="65" y="131"/>
                    <a:pt x="67" y="135"/>
                    <a:pt x="67" y="135"/>
                  </a:cubicBezTo>
                  <a:cubicBezTo>
                    <a:pt x="71" y="136"/>
                    <a:pt x="75" y="130"/>
                    <a:pt x="75" y="130"/>
                  </a:cubicBezTo>
                  <a:cubicBezTo>
                    <a:pt x="82" y="125"/>
                    <a:pt x="83" y="121"/>
                    <a:pt x="83" y="121"/>
                  </a:cubicBezTo>
                  <a:cubicBezTo>
                    <a:pt x="87" y="114"/>
                    <a:pt x="92" y="115"/>
                    <a:pt x="92" y="115"/>
                  </a:cubicBezTo>
                  <a:cubicBezTo>
                    <a:pt x="96" y="116"/>
                    <a:pt x="98" y="113"/>
                    <a:pt x="98" y="113"/>
                  </a:cubicBezTo>
                  <a:cubicBezTo>
                    <a:pt x="101" y="109"/>
                    <a:pt x="102" y="115"/>
                    <a:pt x="106" y="114"/>
                  </a:cubicBezTo>
                  <a:cubicBezTo>
                    <a:pt x="109" y="113"/>
                    <a:pt x="107" y="110"/>
                    <a:pt x="107" y="110"/>
                  </a:cubicBezTo>
                  <a:cubicBezTo>
                    <a:pt x="104" y="105"/>
                    <a:pt x="108" y="104"/>
                    <a:pt x="108" y="104"/>
                  </a:cubicBezTo>
                  <a:cubicBezTo>
                    <a:pt x="111" y="99"/>
                    <a:pt x="109" y="96"/>
                    <a:pt x="109" y="96"/>
                  </a:cubicBezTo>
                  <a:cubicBezTo>
                    <a:pt x="107" y="93"/>
                    <a:pt x="110" y="92"/>
                    <a:pt x="109" y="88"/>
                  </a:cubicBezTo>
                  <a:cubicBezTo>
                    <a:pt x="109" y="82"/>
                    <a:pt x="106" y="77"/>
                    <a:pt x="110" y="77"/>
                  </a:cubicBezTo>
                  <a:cubicBezTo>
                    <a:pt x="114" y="76"/>
                    <a:pt x="115" y="71"/>
                    <a:pt x="115" y="71"/>
                  </a:cubicBezTo>
                  <a:lnTo>
                    <a:pt x="119" y="64"/>
                  </a:lnTo>
                  <a:cubicBezTo>
                    <a:pt x="123" y="64"/>
                    <a:pt x="121" y="56"/>
                    <a:pt x="121" y="56"/>
                  </a:cubicBezTo>
                  <a:cubicBezTo>
                    <a:pt x="126" y="53"/>
                    <a:pt x="123" y="52"/>
                    <a:pt x="123" y="52"/>
                  </a:cubicBezTo>
                  <a:cubicBezTo>
                    <a:pt x="121" y="47"/>
                    <a:pt x="124" y="45"/>
                    <a:pt x="124" y="45"/>
                  </a:cubicBezTo>
                  <a:cubicBezTo>
                    <a:pt x="124" y="48"/>
                    <a:pt x="124" y="49"/>
                    <a:pt x="128" y="50"/>
                  </a:cubicBezTo>
                  <a:cubicBezTo>
                    <a:pt x="127" y="46"/>
                    <a:pt x="130" y="43"/>
                    <a:pt x="130" y="43"/>
                  </a:cubicBezTo>
                  <a:cubicBezTo>
                    <a:pt x="132" y="39"/>
                    <a:pt x="134" y="42"/>
                    <a:pt x="134" y="42"/>
                  </a:cubicBezTo>
                  <a:cubicBezTo>
                    <a:pt x="133" y="39"/>
                    <a:pt x="136" y="36"/>
                    <a:pt x="136" y="36"/>
                  </a:cubicBezTo>
                  <a:cubicBezTo>
                    <a:pt x="137" y="29"/>
                    <a:pt x="124" y="29"/>
                    <a:pt x="124" y="32"/>
                  </a:cubicBezTo>
                  <a:cubicBezTo>
                    <a:pt x="113" y="33"/>
                    <a:pt x="114" y="30"/>
                    <a:pt x="114" y="30"/>
                  </a:cubicBezTo>
                  <a:cubicBezTo>
                    <a:pt x="118" y="27"/>
                    <a:pt x="113" y="27"/>
                    <a:pt x="113" y="27"/>
                  </a:cubicBezTo>
                  <a:cubicBezTo>
                    <a:pt x="110" y="25"/>
                    <a:pt x="111" y="22"/>
                    <a:pt x="111" y="22"/>
                  </a:cubicBezTo>
                  <a:cubicBezTo>
                    <a:pt x="112" y="19"/>
                    <a:pt x="107" y="19"/>
                    <a:pt x="107" y="19"/>
                  </a:cubicBezTo>
                  <a:lnTo>
                    <a:pt x="99" y="19"/>
                  </a:lnTo>
                  <a:cubicBezTo>
                    <a:pt x="93" y="19"/>
                    <a:pt x="92" y="13"/>
                    <a:pt x="81" y="13"/>
                  </a:cubicBezTo>
                  <a:cubicBezTo>
                    <a:pt x="76" y="14"/>
                    <a:pt x="77" y="12"/>
                    <a:pt x="77" y="12"/>
                  </a:cubicBezTo>
                  <a:cubicBezTo>
                    <a:pt x="76" y="8"/>
                    <a:pt x="69" y="9"/>
                    <a:pt x="69" y="9"/>
                  </a:cubicBezTo>
                  <a:cubicBezTo>
                    <a:pt x="63" y="10"/>
                    <a:pt x="63" y="7"/>
                    <a:pt x="63" y="7"/>
                  </a:cubicBezTo>
                  <a:cubicBezTo>
                    <a:pt x="62" y="3"/>
                    <a:pt x="55" y="4"/>
                    <a:pt x="55" y="4"/>
                  </a:cubicBezTo>
                  <a:cubicBezTo>
                    <a:pt x="47" y="4"/>
                    <a:pt x="48" y="0"/>
                    <a:pt x="45" y="2"/>
                  </a:cubicBezTo>
                  <a:cubicBezTo>
                    <a:pt x="41" y="2"/>
                    <a:pt x="37" y="2"/>
                    <a:pt x="34" y="2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42" name="Freeform 1195">
              <a:extLst>
                <a:ext uri="{FF2B5EF4-FFF2-40B4-BE49-F238E27FC236}">
                  <a16:creationId xmlns:a16="http://schemas.microsoft.com/office/drawing/2014/main" id="{D49F4387-0086-4627-8BEA-B7DA3BA2A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3304" y="2250294"/>
              <a:ext cx="889894" cy="1158224"/>
            </a:xfrm>
            <a:custGeom>
              <a:avLst/>
              <a:gdLst>
                <a:gd name="T0" fmla="*/ 285750 w 126"/>
                <a:gd name="T1" fmla="*/ 63500 h 164"/>
                <a:gd name="T2" fmla="*/ 420688 w 126"/>
                <a:gd name="T3" fmla="*/ 39688 h 164"/>
                <a:gd name="T4" fmla="*/ 484188 w 126"/>
                <a:gd name="T5" fmla="*/ 63500 h 164"/>
                <a:gd name="T6" fmla="*/ 571500 w 126"/>
                <a:gd name="T7" fmla="*/ 71438 h 164"/>
                <a:gd name="T8" fmla="*/ 642938 w 126"/>
                <a:gd name="T9" fmla="*/ 166688 h 164"/>
                <a:gd name="T10" fmla="*/ 793750 w 126"/>
                <a:gd name="T11" fmla="*/ 47625 h 164"/>
                <a:gd name="T12" fmla="*/ 865188 w 126"/>
                <a:gd name="T13" fmla="*/ 198438 h 164"/>
                <a:gd name="T14" fmla="*/ 825500 w 126"/>
                <a:gd name="T15" fmla="*/ 285750 h 164"/>
                <a:gd name="T16" fmla="*/ 833438 w 126"/>
                <a:gd name="T17" fmla="*/ 357188 h 164"/>
                <a:gd name="T18" fmla="*/ 873125 w 126"/>
                <a:gd name="T19" fmla="*/ 468313 h 164"/>
                <a:gd name="T20" fmla="*/ 912813 w 126"/>
                <a:gd name="T21" fmla="*/ 650875 h 164"/>
                <a:gd name="T22" fmla="*/ 912813 w 126"/>
                <a:gd name="T23" fmla="*/ 793750 h 164"/>
                <a:gd name="T24" fmla="*/ 976313 w 126"/>
                <a:gd name="T25" fmla="*/ 936625 h 164"/>
                <a:gd name="T26" fmla="*/ 984250 w 126"/>
                <a:gd name="T27" fmla="*/ 1071563 h 164"/>
                <a:gd name="T28" fmla="*/ 873125 w 126"/>
                <a:gd name="T29" fmla="*/ 1166813 h 164"/>
                <a:gd name="T30" fmla="*/ 881063 w 126"/>
                <a:gd name="T31" fmla="*/ 1254125 h 164"/>
                <a:gd name="T32" fmla="*/ 706438 w 126"/>
                <a:gd name="T33" fmla="*/ 1293813 h 164"/>
                <a:gd name="T34" fmla="*/ 690563 w 126"/>
                <a:gd name="T35" fmla="*/ 1174750 h 164"/>
                <a:gd name="T36" fmla="*/ 595313 w 126"/>
                <a:gd name="T37" fmla="*/ 1150938 h 164"/>
                <a:gd name="T38" fmla="*/ 460375 w 126"/>
                <a:gd name="T39" fmla="*/ 1166813 h 164"/>
                <a:gd name="T40" fmla="*/ 246063 w 126"/>
                <a:gd name="T41" fmla="*/ 1166813 h 164"/>
                <a:gd name="T42" fmla="*/ 134938 w 126"/>
                <a:gd name="T43" fmla="*/ 1071563 h 164"/>
                <a:gd name="T44" fmla="*/ 174625 w 126"/>
                <a:gd name="T45" fmla="*/ 944563 h 164"/>
                <a:gd name="T46" fmla="*/ 103188 w 126"/>
                <a:gd name="T47" fmla="*/ 857250 h 164"/>
                <a:gd name="T48" fmla="*/ 39688 w 126"/>
                <a:gd name="T49" fmla="*/ 746125 h 164"/>
                <a:gd name="T50" fmla="*/ 23813 w 126"/>
                <a:gd name="T51" fmla="*/ 650875 h 164"/>
                <a:gd name="T52" fmla="*/ 39688 w 126"/>
                <a:gd name="T53" fmla="*/ 539750 h 164"/>
                <a:gd name="T54" fmla="*/ 47625 w 126"/>
                <a:gd name="T55" fmla="*/ 388938 h 164"/>
                <a:gd name="T56" fmla="*/ 87313 w 126"/>
                <a:gd name="T57" fmla="*/ 341313 h 164"/>
                <a:gd name="T58" fmla="*/ 119063 w 126"/>
                <a:gd name="T59" fmla="*/ 285750 h 164"/>
                <a:gd name="T60" fmla="*/ 150813 w 126"/>
                <a:gd name="T61" fmla="*/ 190500 h 164"/>
                <a:gd name="T62" fmla="*/ 190500 w 126"/>
                <a:gd name="T63" fmla="*/ 174625 h 164"/>
                <a:gd name="T64" fmla="*/ 238125 w 126"/>
                <a:gd name="T65" fmla="*/ 111125 h 164"/>
                <a:gd name="T66" fmla="*/ 238125 w 126"/>
                <a:gd name="T67" fmla="*/ 111125 h 16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26"/>
                <a:gd name="T103" fmla="*/ 0 h 164"/>
                <a:gd name="T104" fmla="*/ 126 w 126"/>
                <a:gd name="T105" fmla="*/ 164 h 16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26" h="164">
                  <a:moveTo>
                    <a:pt x="30" y="14"/>
                  </a:moveTo>
                  <a:cubicBezTo>
                    <a:pt x="30" y="14"/>
                    <a:pt x="36" y="17"/>
                    <a:pt x="36" y="8"/>
                  </a:cubicBezTo>
                  <a:cubicBezTo>
                    <a:pt x="36" y="8"/>
                    <a:pt x="37" y="0"/>
                    <a:pt x="42" y="6"/>
                  </a:cubicBezTo>
                  <a:cubicBezTo>
                    <a:pt x="42" y="6"/>
                    <a:pt x="47" y="11"/>
                    <a:pt x="53" y="5"/>
                  </a:cubicBezTo>
                  <a:cubicBezTo>
                    <a:pt x="53" y="5"/>
                    <a:pt x="52" y="3"/>
                    <a:pt x="58" y="0"/>
                  </a:cubicBezTo>
                  <a:cubicBezTo>
                    <a:pt x="60" y="2"/>
                    <a:pt x="57" y="7"/>
                    <a:pt x="61" y="8"/>
                  </a:cubicBezTo>
                  <a:cubicBezTo>
                    <a:pt x="61" y="8"/>
                    <a:pt x="61" y="12"/>
                    <a:pt x="65" y="10"/>
                  </a:cubicBezTo>
                  <a:cubicBezTo>
                    <a:pt x="65" y="10"/>
                    <a:pt x="66" y="6"/>
                    <a:pt x="72" y="9"/>
                  </a:cubicBezTo>
                  <a:cubicBezTo>
                    <a:pt x="72" y="9"/>
                    <a:pt x="75" y="8"/>
                    <a:pt x="75" y="13"/>
                  </a:cubicBezTo>
                  <a:cubicBezTo>
                    <a:pt x="75" y="13"/>
                    <a:pt x="73" y="18"/>
                    <a:pt x="81" y="21"/>
                  </a:cubicBezTo>
                  <a:cubicBezTo>
                    <a:pt x="81" y="21"/>
                    <a:pt x="81" y="9"/>
                    <a:pt x="92" y="9"/>
                  </a:cubicBezTo>
                  <a:cubicBezTo>
                    <a:pt x="92" y="9"/>
                    <a:pt x="97" y="2"/>
                    <a:pt x="100" y="6"/>
                  </a:cubicBezTo>
                  <a:cubicBezTo>
                    <a:pt x="100" y="6"/>
                    <a:pt x="104" y="10"/>
                    <a:pt x="104" y="15"/>
                  </a:cubicBezTo>
                  <a:cubicBezTo>
                    <a:pt x="104" y="15"/>
                    <a:pt x="105" y="24"/>
                    <a:pt x="109" y="25"/>
                  </a:cubicBezTo>
                  <a:cubicBezTo>
                    <a:pt x="109" y="25"/>
                    <a:pt x="114" y="34"/>
                    <a:pt x="104" y="36"/>
                  </a:cubicBezTo>
                  <a:lnTo>
                    <a:pt x="105" y="45"/>
                  </a:lnTo>
                  <a:cubicBezTo>
                    <a:pt x="105" y="45"/>
                    <a:pt x="110" y="42"/>
                    <a:pt x="114" y="50"/>
                  </a:cubicBezTo>
                  <a:cubicBezTo>
                    <a:pt x="113" y="57"/>
                    <a:pt x="109" y="57"/>
                    <a:pt x="110" y="59"/>
                  </a:cubicBezTo>
                  <a:cubicBezTo>
                    <a:pt x="110" y="59"/>
                    <a:pt x="116" y="62"/>
                    <a:pt x="115" y="72"/>
                  </a:cubicBezTo>
                  <a:cubicBezTo>
                    <a:pt x="115" y="72"/>
                    <a:pt x="120" y="74"/>
                    <a:pt x="115" y="82"/>
                  </a:cubicBezTo>
                  <a:cubicBezTo>
                    <a:pt x="115" y="82"/>
                    <a:pt x="112" y="84"/>
                    <a:pt x="114" y="92"/>
                  </a:cubicBezTo>
                  <a:cubicBezTo>
                    <a:pt x="113" y="97"/>
                    <a:pt x="109" y="98"/>
                    <a:pt x="115" y="100"/>
                  </a:cubicBezTo>
                  <a:cubicBezTo>
                    <a:pt x="115" y="100"/>
                    <a:pt x="119" y="100"/>
                    <a:pt x="119" y="108"/>
                  </a:cubicBezTo>
                  <a:cubicBezTo>
                    <a:pt x="119" y="108"/>
                    <a:pt x="124" y="109"/>
                    <a:pt x="123" y="118"/>
                  </a:cubicBezTo>
                  <a:cubicBezTo>
                    <a:pt x="123" y="118"/>
                    <a:pt x="126" y="122"/>
                    <a:pt x="122" y="125"/>
                  </a:cubicBezTo>
                  <a:cubicBezTo>
                    <a:pt x="122" y="125"/>
                    <a:pt x="120" y="132"/>
                    <a:pt x="124" y="135"/>
                  </a:cubicBezTo>
                  <a:cubicBezTo>
                    <a:pt x="124" y="135"/>
                    <a:pt x="126" y="137"/>
                    <a:pt x="118" y="143"/>
                  </a:cubicBezTo>
                  <a:cubicBezTo>
                    <a:pt x="118" y="143"/>
                    <a:pt x="115" y="146"/>
                    <a:pt x="110" y="147"/>
                  </a:cubicBezTo>
                  <a:cubicBezTo>
                    <a:pt x="110" y="147"/>
                    <a:pt x="109" y="149"/>
                    <a:pt x="110" y="153"/>
                  </a:cubicBezTo>
                  <a:cubicBezTo>
                    <a:pt x="110" y="153"/>
                    <a:pt x="113" y="155"/>
                    <a:pt x="111" y="158"/>
                  </a:cubicBezTo>
                  <a:cubicBezTo>
                    <a:pt x="108" y="161"/>
                    <a:pt x="103" y="158"/>
                    <a:pt x="101" y="162"/>
                  </a:cubicBezTo>
                  <a:cubicBezTo>
                    <a:pt x="99" y="164"/>
                    <a:pt x="89" y="163"/>
                    <a:pt x="89" y="163"/>
                  </a:cubicBezTo>
                  <a:cubicBezTo>
                    <a:pt x="84" y="160"/>
                    <a:pt x="87" y="155"/>
                    <a:pt x="87" y="155"/>
                  </a:cubicBezTo>
                  <a:cubicBezTo>
                    <a:pt x="89" y="153"/>
                    <a:pt x="87" y="148"/>
                    <a:pt x="87" y="148"/>
                  </a:cubicBezTo>
                  <a:cubicBezTo>
                    <a:pt x="83" y="147"/>
                    <a:pt x="88" y="138"/>
                    <a:pt x="80" y="141"/>
                  </a:cubicBezTo>
                  <a:cubicBezTo>
                    <a:pt x="77" y="141"/>
                    <a:pt x="75" y="141"/>
                    <a:pt x="75" y="145"/>
                  </a:cubicBezTo>
                  <a:cubicBezTo>
                    <a:pt x="70" y="148"/>
                    <a:pt x="66" y="146"/>
                    <a:pt x="66" y="146"/>
                  </a:cubicBezTo>
                  <a:cubicBezTo>
                    <a:pt x="66" y="146"/>
                    <a:pt x="61" y="143"/>
                    <a:pt x="58" y="147"/>
                  </a:cubicBezTo>
                  <a:cubicBezTo>
                    <a:pt x="57" y="150"/>
                    <a:pt x="55" y="144"/>
                    <a:pt x="46" y="147"/>
                  </a:cubicBezTo>
                  <a:cubicBezTo>
                    <a:pt x="42" y="150"/>
                    <a:pt x="38" y="145"/>
                    <a:pt x="31" y="147"/>
                  </a:cubicBezTo>
                  <a:cubicBezTo>
                    <a:pt x="29" y="144"/>
                    <a:pt x="22" y="144"/>
                    <a:pt x="22" y="144"/>
                  </a:cubicBezTo>
                  <a:cubicBezTo>
                    <a:pt x="17" y="139"/>
                    <a:pt x="17" y="135"/>
                    <a:pt x="17" y="135"/>
                  </a:cubicBezTo>
                  <a:cubicBezTo>
                    <a:pt x="16" y="128"/>
                    <a:pt x="20" y="128"/>
                    <a:pt x="20" y="128"/>
                  </a:cubicBezTo>
                  <a:cubicBezTo>
                    <a:pt x="25" y="126"/>
                    <a:pt x="19" y="124"/>
                    <a:pt x="22" y="119"/>
                  </a:cubicBezTo>
                  <a:cubicBezTo>
                    <a:pt x="22" y="111"/>
                    <a:pt x="20" y="110"/>
                    <a:pt x="20" y="110"/>
                  </a:cubicBezTo>
                  <a:cubicBezTo>
                    <a:pt x="17" y="114"/>
                    <a:pt x="13" y="108"/>
                    <a:pt x="13" y="108"/>
                  </a:cubicBezTo>
                  <a:cubicBezTo>
                    <a:pt x="10" y="108"/>
                    <a:pt x="11" y="104"/>
                    <a:pt x="6" y="100"/>
                  </a:cubicBezTo>
                  <a:cubicBezTo>
                    <a:pt x="1" y="97"/>
                    <a:pt x="5" y="94"/>
                    <a:pt x="5" y="94"/>
                  </a:cubicBezTo>
                  <a:cubicBezTo>
                    <a:pt x="8" y="89"/>
                    <a:pt x="3" y="90"/>
                    <a:pt x="3" y="86"/>
                  </a:cubicBezTo>
                  <a:cubicBezTo>
                    <a:pt x="6" y="86"/>
                    <a:pt x="3" y="82"/>
                    <a:pt x="3" y="82"/>
                  </a:cubicBezTo>
                  <a:cubicBezTo>
                    <a:pt x="0" y="77"/>
                    <a:pt x="4" y="76"/>
                    <a:pt x="4" y="76"/>
                  </a:cubicBezTo>
                  <a:cubicBezTo>
                    <a:pt x="7" y="71"/>
                    <a:pt x="5" y="68"/>
                    <a:pt x="5" y="68"/>
                  </a:cubicBezTo>
                  <a:cubicBezTo>
                    <a:pt x="3" y="65"/>
                    <a:pt x="6" y="64"/>
                    <a:pt x="5" y="60"/>
                  </a:cubicBezTo>
                  <a:cubicBezTo>
                    <a:pt x="5" y="54"/>
                    <a:pt x="2" y="49"/>
                    <a:pt x="6" y="49"/>
                  </a:cubicBezTo>
                  <a:cubicBezTo>
                    <a:pt x="10" y="48"/>
                    <a:pt x="11" y="43"/>
                    <a:pt x="11" y="43"/>
                  </a:cubicBezTo>
                  <a:lnTo>
                    <a:pt x="15" y="36"/>
                  </a:lnTo>
                  <a:cubicBezTo>
                    <a:pt x="19" y="36"/>
                    <a:pt x="17" y="28"/>
                    <a:pt x="17" y="28"/>
                  </a:cubicBezTo>
                  <a:cubicBezTo>
                    <a:pt x="22" y="25"/>
                    <a:pt x="19" y="24"/>
                    <a:pt x="19" y="24"/>
                  </a:cubicBezTo>
                  <a:cubicBezTo>
                    <a:pt x="17" y="19"/>
                    <a:pt x="20" y="17"/>
                    <a:pt x="20" y="17"/>
                  </a:cubicBezTo>
                  <a:cubicBezTo>
                    <a:pt x="20" y="20"/>
                    <a:pt x="20" y="21"/>
                    <a:pt x="24" y="22"/>
                  </a:cubicBezTo>
                  <a:cubicBezTo>
                    <a:pt x="23" y="18"/>
                    <a:pt x="26" y="15"/>
                    <a:pt x="26" y="15"/>
                  </a:cubicBezTo>
                  <a:cubicBezTo>
                    <a:pt x="28" y="11"/>
                    <a:pt x="30" y="14"/>
                    <a:pt x="30" y="14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</p:grpSp>
      <p:grpSp>
        <p:nvGrpSpPr>
          <p:cNvPr id="346" name="Групувати 345">
            <a:extLst>
              <a:ext uri="{FF2B5EF4-FFF2-40B4-BE49-F238E27FC236}">
                <a16:creationId xmlns:a16="http://schemas.microsoft.com/office/drawing/2014/main" id="{CB4A8256-AA31-4E4F-89A9-3E0D1D4DE527}"/>
              </a:ext>
            </a:extLst>
          </p:cNvPr>
          <p:cNvGrpSpPr/>
          <p:nvPr/>
        </p:nvGrpSpPr>
        <p:grpSpPr>
          <a:xfrm>
            <a:off x="815705" y="2046916"/>
            <a:ext cx="3598275" cy="1812516"/>
            <a:chOff x="843350" y="2383666"/>
            <a:chExt cx="3930100" cy="1979659"/>
          </a:xfrm>
        </p:grpSpPr>
        <p:sp>
          <p:nvSpPr>
            <p:cNvPr id="326" name="Овал 325">
              <a:extLst>
                <a:ext uri="{FF2B5EF4-FFF2-40B4-BE49-F238E27FC236}">
                  <a16:creationId xmlns:a16="http://schemas.microsoft.com/office/drawing/2014/main" id="{55B6231F-36F8-4382-B7C5-ED5B9BAAE579}"/>
                </a:ext>
              </a:extLst>
            </p:cNvPr>
            <p:cNvSpPr/>
            <p:nvPr/>
          </p:nvSpPr>
          <p:spPr>
            <a:xfrm>
              <a:off x="843350" y="3295672"/>
              <a:ext cx="288000" cy="288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uk-UA" sz="1200" b="1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327" name="Овал 326">
              <a:extLst>
                <a:ext uri="{FF2B5EF4-FFF2-40B4-BE49-F238E27FC236}">
                  <a16:creationId xmlns:a16="http://schemas.microsoft.com/office/drawing/2014/main" id="{6A9ABF0D-1A62-4CC5-A3E4-1394D2310180}"/>
                </a:ext>
              </a:extLst>
            </p:cNvPr>
            <p:cNvSpPr/>
            <p:nvPr/>
          </p:nvSpPr>
          <p:spPr>
            <a:xfrm>
              <a:off x="1471771" y="2383666"/>
              <a:ext cx="288000" cy="288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uk-UA" sz="1200" b="1" dirty="0">
                  <a:solidFill>
                    <a:schemeClr val="tx1"/>
                  </a:solidFill>
                </a:rPr>
                <a:t>8</a:t>
              </a:r>
            </a:p>
          </p:txBody>
        </p:sp>
        <p:sp>
          <p:nvSpPr>
            <p:cNvPr id="328" name="Овал 327">
              <a:extLst>
                <a:ext uri="{FF2B5EF4-FFF2-40B4-BE49-F238E27FC236}">
                  <a16:creationId xmlns:a16="http://schemas.microsoft.com/office/drawing/2014/main" id="{23AE8882-5CE0-4E43-B062-F8BCDBA8D4DE}"/>
                </a:ext>
              </a:extLst>
            </p:cNvPr>
            <p:cNvSpPr/>
            <p:nvPr/>
          </p:nvSpPr>
          <p:spPr>
            <a:xfrm>
              <a:off x="1744142" y="3154919"/>
              <a:ext cx="288000" cy="288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uk-UA" sz="1200" b="1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329" name="Овал 328">
              <a:extLst>
                <a:ext uri="{FF2B5EF4-FFF2-40B4-BE49-F238E27FC236}">
                  <a16:creationId xmlns:a16="http://schemas.microsoft.com/office/drawing/2014/main" id="{0A43DC5D-B103-4A2C-B0E8-72135E7E9593}"/>
                </a:ext>
              </a:extLst>
            </p:cNvPr>
            <p:cNvSpPr/>
            <p:nvPr/>
          </p:nvSpPr>
          <p:spPr>
            <a:xfrm>
              <a:off x="2807216" y="2784957"/>
              <a:ext cx="288000" cy="288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uk-UA" sz="1200" b="1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330" name="Овал 329">
              <a:extLst>
                <a:ext uri="{FF2B5EF4-FFF2-40B4-BE49-F238E27FC236}">
                  <a16:creationId xmlns:a16="http://schemas.microsoft.com/office/drawing/2014/main" id="{298D1E8D-32A9-4D15-A899-BF60C6110901}"/>
                </a:ext>
              </a:extLst>
            </p:cNvPr>
            <p:cNvSpPr/>
            <p:nvPr/>
          </p:nvSpPr>
          <p:spPr>
            <a:xfrm>
              <a:off x="3459807" y="3260680"/>
              <a:ext cx="288000" cy="288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uk-UA" sz="1200" b="1" dirty="0">
                  <a:solidFill>
                    <a:schemeClr val="tx1"/>
                  </a:solidFill>
                </a:rPr>
                <a:t>7</a:t>
              </a:r>
            </a:p>
          </p:txBody>
        </p:sp>
        <p:sp>
          <p:nvSpPr>
            <p:cNvPr id="331" name="Овал 330">
              <a:extLst>
                <a:ext uri="{FF2B5EF4-FFF2-40B4-BE49-F238E27FC236}">
                  <a16:creationId xmlns:a16="http://schemas.microsoft.com/office/drawing/2014/main" id="{68AAD837-BE8A-4643-8B51-9039A63CC5FE}"/>
                </a:ext>
              </a:extLst>
            </p:cNvPr>
            <p:cNvSpPr/>
            <p:nvPr/>
          </p:nvSpPr>
          <p:spPr>
            <a:xfrm>
              <a:off x="3178313" y="4075325"/>
              <a:ext cx="288000" cy="288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uk-UA" sz="1200" b="1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332" name="Овал 331">
              <a:extLst>
                <a:ext uri="{FF2B5EF4-FFF2-40B4-BE49-F238E27FC236}">
                  <a16:creationId xmlns:a16="http://schemas.microsoft.com/office/drawing/2014/main" id="{368CA27E-633A-4893-9974-E7AF2639E3CD}"/>
                </a:ext>
              </a:extLst>
            </p:cNvPr>
            <p:cNvSpPr/>
            <p:nvPr/>
          </p:nvSpPr>
          <p:spPr>
            <a:xfrm>
              <a:off x="4485450" y="3746685"/>
              <a:ext cx="288000" cy="288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uk-UA" sz="1200" b="1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333" name="Овал 332">
              <a:extLst>
                <a:ext uri="{FF2B5EF4-FFF2-40B4-BE49-F238E27FC236}">
                  <a16:creationId xmlns:a16="http://schemas.microsoft.com/office/drawing/2014/main" id="{5470FF86-77F7-4A6A-A3C4-70F637E312DC}"/>
                </a:ext>
              </a:extLst>
            </p:cNvPr>
            <p:cNvSpPr/>
            <p:nvPr/>
          </p:nvSpPr>
          <p:spPr>
            <a:xfrm>
              <a:off x="4439381" y="2994789"/>
              <a:ext cx="288000" cy="288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uk-UA" sz="1200" b="1" dirty="0">
                  <a:solidFill>
                    <a:schemeClr val="tx1"/>
                  </a:solidFill>
                </a:rPr>
                <a:t>5</a:t>
              </a:r>
            </a:p>
          </p:txBody>
        </p:sp>
      </p:grpSp>
      <p:sp>
        <p:nvSpPr>
          <p:cNvPr id="344" name="TextBox 343">
            <a:extLst>
              <a:ext uri="{FF2B5EF4-FFF2-40B4-BE49-F238E27FC236}">
                <a16:creationId xmlns:a16="http://schemas.microsoft.com/office/drawing/2014/main" id="{B993E5AE-364B-4118-867B-47FA16948B8E}"/>
              </a:ext>
            </a:extLst>
          </p:cNvPr>
          <p:cNvSpPr txBox="1"/>
          <p:nvPr/>
        </p:nvSpPr>
        <p:spPr>
          <a:xfrm>
            <a:off x="515938" y="1269000"/>
            <a:ext cx="5400000" cy="300517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r>
              <a:rPr lang="uk-UA" sz="1200" b="1" i="0" u="none" strike="noStrike" dirty="0">
                <a:solidFill>
                  <a:srgbClr val="000000"/>
                </a:solidFill>
                <a:effectLst/>
              </a:rPr>
              <a:t>ПОДІЛ УКРАЇНИ НА МАКРОРЕГІОНИ</a:t>
            </a:r>
            <a:endParaRPr lang="uk-UA" sz="1200" b="1" dirty="0"/>
          </a:p>
        </p:txBody>
      </p:sp>
      <p:sp>
        <p:nvSpPr>
          <p:cNvPr id="345" name="TextBox 344">
            <a:extLst>
              <a:ext uri="{FF2B5EF4-FFF2-40B4-BE49-F238E27FC236}">
                <a16:creationId xmlns:a16="http://schemas.microsoft.com/office/drawing/2014/main" id="{890F61AA-D989-4767-892E-E424F378D657}"/>
              </a:ext>
            </a:extLst>
          </p:cNvPr>
          <p:cNvSpPr txBox="1"/>
          <p:nvPr/>
        </p:nvSpPr>
        <p:spPr>
          <a:xfrm>
            <a:off x="6183313" y="1269000"/>
            <a:ext cx="5400675" cy="300517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/>
          <a:p>
            <a:r>
              <a:rPr lang="uk-UA" sz="1200" b="1" i="0" u="none" strike="noStrike" dirty="0">
                <a:solidFill>
                  <a:srgbClr val="000000"/>
                </a:solidFill>
                <a:effectLst/>
              </a:rPr>
              <a:t>ПОРІВНЯННЯ ІНДЕКСУ ТУРИСТИЧНОЇ ПРИВАБЛИВОСТІ МАКРОРЕГІОНІВ</a:t>
            </a:r>
            <a:endParaRPr lang="uk-UA" sz="1200" b="1" dirty="0"/>
          </a:p>
        </p:txBody>
      </p:sp>
      <p:sp>
        <p:nvSpPr>
          <p:cNvPr id="354" name="TextBox 353">
            <a:extLst>
              <a:ext uri="{FF2B5EF4-FFF2-40B4-BE49-F238E27FC236}">
                <a16:creationId xmlns:a16="http://schemas.microsoft.com/office/drawing/2014/main" id="{F520962F-89B0-4715-8E09-21CFF19D3544}"/>
              </a:ext>
            </a:extLst>
          </p:cNvPr>
          <p:cNvSpPr txBox="1"/>
          <p:nvPr/>
        </p:nvSpPr>
        <p:spPr>
          <a:xfrm>
            <a:off x="10585451" y="2948697"/>
            <a:ext cx="1090612" cy="329981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uk-UA" sz="800" b="1" i="0" u="none" strike="noStrike" dirty="0">
                <a:solidFill>
                  <a:srgbClr val="000000"/>
                </a:solidFill>
                <a:effectLst/>
              </a:rPr>
              <a:t>Середнє</a:t>
            </a:r>
            <a:r>
              <a:rPr lang="uk-UA" sz="800" b="0" i="0" u="none" strike="noStrike" dirty="0">
                <a:solidFill>
                  <a:srgbClr val="000000"/>
                </a:solidFill>
                <a:effectLst/>
              </a:rPr>
              <a:t> </a:t>
            </a:r>
            <a:endParaRPr lang="uk-UA" sz="800" b="1" u="sng" dirty="0"/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F8021899-75CC-4EA7-95CA-B19109BC9FB7}"/>
              </a:ext>
            </a:extLst>
          </p:cNvPr>
          <p:cNvSpPr txBox="1"/>
          <p:nvPr/>
        </p:nvSpPr>
        <p:spPr>
          <a:xfrm>
            <a:off x="11037887" y="2376599"/>
            <a:ext cx="638176" cy="329981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uk-UA" sz="800" b="1" i="0" u="none" strike="noStrike" dirty="0">
                <a:solidFill>
                  <a:srgbClr val="619047"/>
                </a:solidFill>
                <a:effectLst/>
              </a:rPr>
              <a:t>Середнє + стандартне відхилення</a:t>
            </a:r>
            <a:endParaRPr lang="uk-UA" sz="800" b="1" u="sng" dirty="0">
              <a:solidFill>
                <a:srgbClr val="619047"/>
              </a:solidFill>
            </a:endParaRPr>
          </a:p>
        </p:txBody>
      </p:sp>
      <p:sp>
        <p:nvSpPr>
          <p:cNvPr id="358" name="TextBox 357">
            <a:extLst>
              <a:ext uri="{FF2B5EF4-FFF2-40B4-BE49-F238E27FC236}">
                <a16:creationId xmlns:a16="http://schemas.microsoft.com/office/drawing/2014/main" id="{2EB50A18-789E-468A-9426-5499A49BFCC8}"/>
              </a:ext>
            </a:extLst>
          </p:cNvPr>
          <p:cNvSpPr txBox="1"/>
          <p:nvPr/>
        </p:nvSpPr>
        <p:spPr>
          <a:xfrm>
            <a:off x="11037887" y="3520012"/>
            <a:ext cx="638176" cy="329981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algn="r">
              <a:spcAft>
                <a:spcPts val="600"/>
              </a:spcAft>
            </a:pPr>
            <a:r>
              <a:rPr lang="uk-UA" sz="800" b="1" i="0" u="none" strike="noStrike" dirty="0">
                <a:solidFill>
                  <a:schemeClr val="accent1"/>
                </a:solidFill>
                <a:effectLst/>
              </a:rPr>
              <a:t>Середнє – стандартне відхилення</a:t>
            </a:r>
            <a:endParaRPr lang="uk-UA" sz="800" b="1" u="sng" dirty="0">
              <a:solidFill>
                <a:schemeClr val="accent1"/>
              </a:solidFill>
            </a:endParaRPr>
          </a:p>
        </p:txBody>
      </p:sp>
      <p:sp>
        <p:nvSpPr>
          <p:cNvPr id="2" name="Права фігурна дужка 1">
            <a:extLst>
              <a:ext uri="{FF2B5EF4-FFF2-40B4-BE49-F238E27FC236}">
                <a16:creationId xmlns:a16="http://schemas.microsoft.com/office/drawing/2014/main" id="{0469D5E5-D8D2-40A7-8B42-08E579E802AE}"/>
              </a:ext>
            </a:extLst>
          </p:cNvPr>
          <p:cNvSpPr/>
          <p:nvPr/>
        </p:nvSpPr>
        <p:spPr>
          <a:xfrm rot="5400000">
            <a:off x="9021434" y="3749312"/>
            <a:ext cx="286028" cy="2641345"/>
          </a:xfrm>
          <a:prstGeom prst="rightBrace">
            <a:avLst/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0" name="Виноска: лінія 9">
            <a:extLst>
              <a:ext uri="{FF2B5EF4-FFF2-40B4-BE49-F238E27FC236}">
                <a16:creationId xmlns:a16="http://schemas.microsoft.com/office/drawing/2014/main" id="{24A81F54-E913-4C82-98C7-EF97DDB315B3}"/>
              </a:ext>
            </a:extLst>
          </p:cNvPr>
          <p:cNvSpPr/>
          <p:nvPr/>
        </p:nvSpPr>
        <p:spPr>
          <a:xfrm>
            <a:off x="4613163" y="5522976"/>
            <a:ext cx="1689100" cy="612648"/>
          </a:xfrm>
          <a:prstGeom prst="borderCallout1">
            <a:avLst>
              <a:gd name="adj1" fmla="val -15814"/>
              <a:gd name="adj2" fmla="val 88541"/>
              <a:gd name="adj3" fmla="val -98026"/>
              <a:gd name="adj4" fmla="val 13661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000" dirty="0">
                <a:solidFill>
                  <a:schemeClr val="bg1"/>
                </a:solidFill>
              </a:rPr>
              <a:t>Найперспективніший для стимулювання розвитку туризму регіон</a:t>
            </a:r>
          </a:p>
        </p:txBody>
      </p:sp>
      <p:sp>
        <p:nvSpPr>
          <p:cNvPr id="74" name="Виноска: лінія 73">
            <a:extLst>
              <a:ext uri="{FF2B5EF4-FFF2-40B4-BE49-F238E27FC236}">
                <a16:creationId xmlns:a16="http://schemas.microsoft.com/office/drawing/2014/main" id="{989286E4-CF7F-4AEE-BB1F-AAD71370A965}"/>
              </a:ext>
            </a:extLst>
          </p:cNvPr>
          <p:cNvSpPr/>
          <p:nvPr/>
        </p:nvSpPr>
        <p:spPr>
          <a:xfrm>
            <a:off x="6590053" y="5522976"/>
            <a:ext cx="1689100" cy="612648"/>
          </a:xfrm>
          <a:prstGeom prst="borderCallout1">
            <a:avLst>
              <a:gd name="adj1" fmla="val -14243"/>
              <a:gd name="adj2" fmla="val 50150"/>
              <a:gd name="adj3" fmla="val -100288"/>
              <a:gd name="adj4" fmla="val 50716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000" dirty="0">
                <a:solidFill>
                  <a:schemeClr val="bg1"/>
                </a:solidFill>
              </a:rPr>
              <a:t>Регіон з розвинутим туристичним потенціалом </a:t>
            </a:r>
          </a:p>
        </p:txBody>
      </p:sp>
      <p:sp>
        <p:nvSpPr>
          <p:cNvPr id="75" name="Виноска: лінія 74">
            <a:extLst>
              <a:ext uri="{FF2B5EF4-FFF2-40B4-BE49-F238E27FC236}">
                <a16:creationId xmlns:a16="http://schemas.microsoft.com/office/drawing/2014/main" id="{997F9F35-9467-4773-A185-E4DA39497DD7}"/>
              </a:ext>
            </a:extLst>
          </p:cNvPr>
          <p:cNvSpPr/>
          <p:nvPr/>
        </p:nvSpPr>
        <p:spPr>
          <a:xfrm>
            <a:off x="8566944" y="5522976"/>
            <a:ext cx="2316956" cy="612648"/>
          </a:xfrm>
          <a:prstGeom prst="borderCallout1">
            <a:avLst>
              <a:gd name="adj1" fmla="val -14243"/>
              <a:gd name="adj2" fmla="val 50244"/>
              <a:gd name="adj3" fmla="val -41467"/>
              <a:gd name="adj4" fmla="val 25826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000" dirty="0">
                <a:solidFill>
                  <a:schemeClr val="bg1"/>
                </a:solidFill>
              </a:rPr>
              <a:t>Регіони без сильного туристичного магніту чи з суттєво нижчим рівнем розвитку туризму</a:t>
            </a:r>
          </a:p>
        </p:txBody>
      </p:sp>
      <p:graphicFrame>
        <p:nvGraphicFramePr>
          <p:cNvPr id="13" name="Chart 3">
            <a:extLst>
              <a:ext uri="{FF2B5EF4-FFF2-40B4-BE49-F238E27FC236}">
                <a16:creationId xmlns:a16="http://schemas.microsoft.com/office/drawing/2014/main" id="{5FF8758B-9D79-2431-8F45-F5851F16B78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0933722"/>
              </p:ext>
            </p:extLst>
          </p:nvPr>
        </p:nvGraphicFramePr>
        <p:xfrm>
          <a:off x="6091238" y="1871663"/>
          <a:ext cx="4875212" cy="2922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288" name="Місце для тексту 2">
            <a:extLst>
              <a:ext uri="{FF2B5EF4-FFF2-40B4-BE49-F238E27FC236}">
                <a16:creationId xmlns:a16="http://schemas.microsoft.com/office/drawing/2014/main" id="{DD10EC83-2502-4BAA-A90A-A6E96AD1460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9380538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FD1C85-A988-4E45-BB55-F92CD5F3043A}" type="datetime'''''''''6'">
              <a:rPr lang="uk-UA" altLang="en-US" sz="1000" smtClean="0"/>
              <a:pPr/>
              <a:t>6</a:t>
            </a:fld>
            <a:endParaRPr lang="uk-UA" sz="1000" dirty="0"/>
          </a:p>
        </p:txBody>
      </p:sp>
      <p:sp>
        <p:nvSpPr>
          <p:cNvPr id="280" name="Місце для тексту 2">
            <a:extLst>
              <a:ext uri="{FF2B5EF4-FFF2-40B4-BE49-F238E27FC236}">
                <a16:creationId xmlns:a16="http://schemas.microsoft.com/office/drawing/2014/main" id="{DD10EC83-2502-4BAA-A90A-A6E96AD1460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423150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025326-E974-4E7E-9724-CA3EE9471C89}" type="datetime'''2'''''''''''''''''''''''''''''">
              <a:rPr lang="uk-UA" altLang="en-US" sz="1000" smtClean="0"/>
              <a:pPr/>
              <a:t>2</a:t>
            </a:fld>
            <a:endParaRPr lang="uk-UA" sz="1000" dirty="0"/>
          </a:p>
        </p:txBody>
      </p:sp>
      <p:sp>
        <p:nvSpPr>
          <p:cNvPr id="278" name="Місце для тексту 2">
            <a:extLst>
              <a:ext uri="{FF2B5EF4-FFF2-40B4-BE49-F238E27FC236}">
                <a16:creationId xmlns:a16="http://schemas.microsoft.com/office/drawing/2014/main" id="{DD10EC83-2502-4BAA-A90A-A6E96AD1460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934200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A9E4EB-B583-4B0E-B5C3-B44EC7AB24BA}" type="datetime'''''''''''''''''''''''''''''''''''1'''''''''''''''''">
              <a:rPr lang="uk-UA" altLang="en-US" sz="1000" smtClean="0"/>
              <a:pPr/>
              <a:t>1</a:t>
            </a:fld>
            <a:endParaRPr lang="uk-UA" sz="1000" dirty="0"/>
          </a:p>
        </p:txBody>
      </p:sp>
      <p:sp>
        <p:nvSpPr>
          <p:cNvPr id="292" name="Місце для тексту 2">
            <a:extLst>
              <a:ext uri="{FF2B5EF4-FFF2-40B4-BE49-F238E27FC236}">
                <a16:creationId xmlns:a16="http://schemas.microsoft.com/office/drawing/2014/main" id="{DD10EC83-2502-4BAA-A90A-A6E96AD1460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0360025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15111C-EC89-484A-91A5-DB19CB284871}" type="datetime'''8'''''''''''''''''''''''''''''''''''''''''''''''''''''''">
              <a:rPr lang="uk-UA" altLang="en-US" sz="1000" smtClean="0"/>
              <a:pPr/>
              <a:t>8</a:t>
            </a:fld>
            <a:endParaRPr lang="uk-UA" sz="1000" dirty="0"/>
          </a:p>
        </p:txBody>
      </p:sp>
      <p:sp>
        <p:nvSpPr>
          <p:cNvPr id="284" name="Місце для тексту 2">
            <a:extLst>
              <a:ext uri="{FF2B5EF4-FFF2-40B4-BE49-F238E27FC236}">
                <a16:creationId xmlns:a16="http://schemas.microsoft.com/office/drawing/2014/main" id="{DD10EC83-2502-4BAA-A90A-A6E96AD1460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402638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B54E85-F6F7-4B54-9474-08BDE1F7C4E2}" type="datetime'''''''''''''''''''''''''''''''''''''''''''''4'''''">
              <a:rPr lang="uk-UA" altLang="en-US" sz="1000" smtClean="0"/>
              <a:pPr/>
              <a:t>4</a:t>
            </a:fld>
            <a:endParaRPr lang="uk-UA" sz="1000" dirty="0"/>
          </a:p>
        </p:txBody>
      </p:sp>
      <p:sp>
        <p:nvSpPr>
          <p:cNvPr id="282" name="Місце для тексту 2">
            <a:extLst>
              <a:ext uri="{FF2B5EF4-FFF2-40B4-BE49-F238E27FC236}">
                <a16:creationId xmlns:a16="http://schemas.microsoft.com/office/drawing/2014/main" id="{DD10EC83-2502-4BAA-A90A-A6E96AD1460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913688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A26218-5DB8-40F3-800F-27109DFC0A74}" type="datetime'''''''''3'''''''''''''''''''''''''''''''''''''''''''">
              <a:rPr lang="uk-UA" altLang="en-US" sz="1000" smtClean="0"/>
              <a:pPr/>
              <a:t>3</a:t>
            </a:fld>
            <a:endParaRPr lang="uk-UA" sz="1000" dirty="0"/>
          </a:p>
        </p:txBody>
      </p:sp>
      <p:sp>
        <p:nvSpPr>
          <p:cNvPr id="286" name="Місце для тексту 2">
            <a:extLst>
              <a:ext uri="{FF2B5EF4-FFF2-40B4-BE49-F238E27FC236}">
                <a16:creationId xmlns:a16="http://schemas.microsoft.com/office/drawing/2014/main" id="{DD10EC83-2502-4BAA-A90A-A6E96AD1460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891588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557888-DF37-4710-9F53-78E3EF60D2E9}" type="datetime'''''''5'''''''''''''''''''''''''''''''''''">
              <a:rPr lang="uk-UA" altLang="en-US" sz="1000" smtClean="0"/>
              <a:pPr/>
              <a:t>5</a:t>
            </a:fld>
            <a:endParaRPr lang="uk-UA" sz="1000" dirty="0"/>
          </a:p>
        </p:txBody>
      </p:sp>
      <p:sp>
        <p:nvSpPr>
          <p:cNvPr id="290" name="Місце для тексту 2">
            <a:extLst>
              <a:ext uri="{FF2B5EF4-FFF2-40B4-BE49-F238E27FC236}">
                <a16:creationId xmlns:a16="http://schemas.microsoft.com/office/drawing/2014/main" id="{DD10EC83-2502-4BAA-A90A-A6E96AD1460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9871075" y="4708525"/>
            <a:ext cx="71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7D2476-FD0C-4ACF-9550-08FEE79105E8}" type="datetime'7'''''''">
              <a:rPr lang="uk-UA" altLang="en-US" sz="1000" smtClean="0"/>
              <a:pPr/>
              <a:t>7</a:t>
            </a:fld>
            <a:endParaRPr lang="uk-UA" sz="1000" dirty="0"/>
          </a:p>
        </p:txBody>
      </p:sp>
      <p:cxnSp>
        <p:nvCxnSpPr>
          <p:cNvPr id="312" name="Пряма сполучна лінія 311">
            <a:extLst>
              <a:ext uri="{FF2B5EF4-FFF2-40B4-BE49-F238E27FC236}">
                <a16:creationId xmlns:a16="http://schemas.microsoft.com/office/drawing/2014/main" id="{064EEF99-BD88-47D5-B263-C1A29F9A3F48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6480175" y="3025775"/>
            <a:ext cx="44037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2" name="Пряма сполучна лінія 321">
            <a:extLst>
              <a:ext uri="{FF2B5EF4-FFF2-40B4-BE49-F238E27FC236}">
                <a16:creationId xmlns:a16="http://schemas.microsoft.com/office/drawing/2014/main" id="{A799A8CD-B462-4E18-BDF9-9554AD18DEA6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6480175" y="3554413"/>
            <a:ext cx="44037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7" name="Пряма сполучна лінія 316">
            <a:extLst>
              <a:ext uri="{FF2B5EF4-FFF2-40B4-BE49-F238E27FC236}">
                <a16:creationId xmlns:a16="http://schemas.microsoft.com/office/drawing/2014/main" id="{5F15E72C-2A5C-4817-9435-74E070BB1198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480175" y="2498725"/>
            <a:ext cx="44037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0" name="Місце для тексту 2">
            <a:extLst>
              <a:ext uri="{FF2B5EF4-FFF2-40B4-BE49-F238E27FC236}">
                <a16:creationId xmlns:a16="http://schemas.microsoft.com/office/drawing/2014/main" id="{DD10EC83-2502-4BAA-A90A-A6E96AD1460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183313" y="1668464"/>
            <a:ext cx="2039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576BCD9-CBD7-41B6-B8C4-7783955520E7}" type="datetime'Інде''''кс ''тур''ист''''ично''''ї'' ''пр''ивабли''вос''ті'''">
              <a:rPr lang="ru-RU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Індекс туристичної привабливості</a:t>
            </a:fld>
            <a:endParaRPr lang="uk-UA" sz="1000" dirty="0"/>
          </a:p>
        </p:txBody>
      </p:sp>
      <p:sp>
        <p:nvSpPr>
          <p:cNvPr id="76" name="Стрілка: вправо 75">
            <a:extLst>
              <a:ext uri="{FF2B5EF4-FFF2-40B4-BE49-F238E27FC236}">
                <a16:creationId xmlns:a16="http://schemas.microsoft.com/office/drawing/2014/main" id="{1844A5BD-B022-4F9E-8CDF-4BE51DDC8980}"/>
              </a:ext>
            </a:extLst>
          </p:cNvPr>
          <p:cNvSpPr/>
          <p:nvPr/>
        </p:nvSpPr>
        <p:spPr>
          <a:xfrm>
            <a:off x="5493876" y="3099830"/>
            <a:ext cx="252000" cy="252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77" name="Picture 180" descr="Check Mark Button on Apple iOS 14.6">
            <a:extLst>
              <a:ext uri="{FF2B5EF4-FFF2-40B4-BE49-F238E27FC236}">
                <a16:creationId xmlns:a16="http://schemas.microsoft.com/office/drawing/2014/main" id="{A8D3E765-5E25-431D-94C7-F3CF595C6A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5108" y="5391919"/>
            <a:ext cx="232833" cy="232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44584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'єкт 6" hidden="1">
            <a:extLst>
              <a:ext uri="{FF2B5EF4-FFF2-40B4-BE49-F238E27FC236}">
                <a16:creationId xmlns:a16="http://schemas.microsoft.com/office/drawing/2014/main" id="{5E5FF50D-F96D-4904-A92C-F99C8A8081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Об'єкт 6" hidden="1">
                        <a:extLst>
                          <a:ext uri="{FF2B5EF4-FFF2-40B4-BE49-F238E27FC236}">
                            <a16:creationId xmlns:a16="http://schemas.microsoft.com/office/drawing/2014/main" id="{5E5FF50D-F96D-4904-A92C-F99C8A8081E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кутник 7" hidden="1">
            <a:extLst>
              <a:ext uri="{FF2B5EF4-FFF2-40B4-BE49-F238E27FC236}">
                <a16:creationId xmlns:a16="http://schemas.microsoft.com/office/drawing/2014/main" id="{BA8A7333-567E-4D9F-BE90-59920FB8FC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-Ukraine Head LOGO" panose="00000605000000000000" pitchFamily="50" charset="-52"/>
              <a:ea typeface="+mn-ea"/>
              <a:cs typeface="Arial" panose="020B0604020202020204" pitchFamily="34" charset="0"/>
              <a:sym typeface="e-Ukraine Head LOGO" panose="00000605000000000000" pitchFamily="50" charset="-52"/>
            </a:endParaRPr>
          </a:p>
        </p:txBody>
      </p:sp>
      <p:grpSp>
        <p:nvGrpSpPr>
          <p:cNvPr id="67" name="Групувати 41">
            <a:extLst>
              <a:ext uri="{FF2B5EF4-FFF2-40B4-BE49-F238E27FC236}">
                <a16:creationId xmlns:a16="http://schemas.microsoft.com/office/drawing/2014/main" id="{A3D51987-EC44-523A-D4B3-807DADE2F41B}"/>
              </a:ext>
            </a:extLst>
          </p:cNvPr>
          <p:cNvGrpSpPr/>
          <p:nvPr/>
        </p:nvGrpSpPr>
        <p:grpSpPr>
          <a:xfrm>
            <a:off x="-1401996" y="-4896346"/>
            <a:ext cx="17239622" cy="11687703"/>
            <a:chOff x="982889" y="1847740"/>
            <a:chExt cx="6448198" cy="4371595"/>
          </a:xfrm>
          <a:solidFill>
            <a:schemeClr val="bg1">
              <a:lumMod val="95000"/>
            </a:schemeClr>
          </a:solidFill>
        </p:grpSpPr>
        <p:sp>
          <p:nvSpPr>
            <p:cNvPr id="68" name="Freeform 1159">
              <a:extLst>
                <a:ext uri="{FF2B5EF4-FFF2-40B4-BE49-F238E27FC236}">
                  <a16:creationId xmlns:a16="http://schemas.microsoft.com/office/drawing/2014/main" id="{947F589B-5FFB-EA22-2D2E-1CA7190EDF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0544" y="4121818"/>
              <a:ext cx="1108836" cy="1031103"/>
            </a:xfrm>
            <a:custGeom>
              <a:avLst/>
              <a:gdLst>
                <a:gd name="T0" fmla="*/ 47625 w 157"/>
                <a:gd name="T1" fmla="*/ 436563 h 146"/>
                <a:gd name="T2" fmla="*/ 198437 w 157"/>
                <a:gd name="T3" fmla="*/ 396875 h 146"/>
                <a:gd name="T4" fmla="*/ 277812 w 157"/>
                <a:gd name="T5" fmla="*/ 357188 h 146"/>
                <a:gd name="T6" fmla="*/ 261937 w 157"/>
                <a:gd name="T7" fmla="*/ 222250 h 146"/>
                <a:gd name="T8" fmla="*/ 261937 w 157"/>
                <a:gd name="T9" fmla="*/ 142875 h 146"/>
                <a:gd name="T10" fmla="*/ 230187 w 157"/>
                <a:gd name="T11" fmla="*/ 87313 h 146"/>
                <a:gd name="T12" fmla="*/ 341312 w 157"/>
                <a:gd name="T13" fmla="*/ 39688 h 146"/>
                <a:gd name="T14" fmla="*/ 373062 w 157"/>
                <a:gd name="T15" fmla="*/ 39688 h 146"/>
                <a:gd name="T16" fmla="*/ 523875 w 157"/>
                <a:gd name="T17" fmla="*/ 39688 h 146"/>
                <a:gd name="T18" fmla="*/ 650875 w 157"/>
                <a:gd name="T19" fmla="*/ 47625 h 146"/>
                <a:gd name="T20" fmla="*/ 722312 w 157"/>
                <a:gd name="T21" fmla="*/ 55563 h 146"/>
                <a:gd name="T22" fmla="*/ 746125 w 157"/>
                <a:gd name="T23" fmla="*/ 158750 h 146"/>
                <a:gd name="T24" fmla="*/ 825500 w 157"/>
                <a:gd name="T25" fmla="*/ 182563 h 146"/>
                <a:gd name="T26" fmla="*/ 904875 w 157"/>
                <a:gd name="T27" fmla="*/ 182563 h 146"/>
                <a:gd name="T28" fmla="*/ 976312 w 157"/>
                <a:gd name="T29" fmla="*/ 198438 h 146"/>
                <a:gd name="T30" fmla="*/ 1031875 w 157"/>
                <a:gd name="T31" fmla="*/ 301625 h 146"/>
                <a:gd name="T32" fmla="*/ 1135062 w 157"/>
                <a:gd name="T33" fmla="*/ 341313 h 146"/>
                <a:gd name="T34" fmla="*/ 1230312 w 157"/>
                <a:gd name="T35" fmla="*/ 404813 h 146"/>
                <a:gd name="T36" fmla="*/ 1190625 w 157"/>
                <a:gd name="T37" fmla="*/ 452438 h 146"/>
                <a:gd name="T38" fmla="*/ 1119187 w 157"/>
                <a:gd name="T39" fmla="*/ 515938 h 146"/>
                <a:gd name="T40" fmla="*/ 1166812 w 157"/>
                <a:gd name="T41" fmla="*/ 627063 h 146"/>
                <a:gd name="T42" fmla="*/ 1206500 w 157"/>
                <a:gd name="T43" fmla="*/ 690563 h 146"/>
                <a:gd name="T44" fmla="*/ 1103312 w 157"/>
                <a:gd name="T45" fmla="*/ 825500 h 146"/>
                <a:gd name="T46" fmla="*/ 785812 w 157"/>
                <a:gd name="T47" fmla="*/ 896938 h 146"/>
                <a:gd name="T48" fmla="*/ 595312 w 157"/>
                <a:gd name="T49" fmla="*/ 1039813 h 146"/>
                <a:gd name="T50" fmla="*/ 508000 w 157"/>
                <a:gd name="T51" fmla="*/ 1119188 h 146"/>
                <a:gd name="T52" fmla="*/ 484187 w 157"/>
                <a:gd name="T53" fmla="*/ 1079500 h 146"/>
                <a:gd name="T54" fmla="*/ 420687 w 157"/>
                <a:gd name="T55" fmla="*/ 1150938 h 146"/>
                <a:gd name="T56" fmla="*/ 333375 w 157"/>
                <a:gd name="T57" fmla="*/ 1047750 h 146"/>
                <a:gd name="T58" fmla="*/ 238125 w 157"/>
                <a:gd name="T59" fmla="*/ 968375 h 146"/>
                <a:gd name="T60" fmla="*/ 214312 w 157"/>
                <a:gd name="T61" fmla="*/ 889000 h 146"/>
                <a:gd name="T62" fmla="*/ 230187 w 157"/>
                <a:gd name="T63" fmla="*/ 801688 h 146"/>
                <a:gd name="T64" fmla="*/ 166687 w 157"/>
                <a:gd name="T65" fmla="*/ 738188 h 146"/>
                <a:gd name="T66" fmla="*/ 119062 w 157"/>
                <a:gd name="T67" fmla="*/ 595313 h 146"/>
                <a:gd name="T68" fmla="*/ 23812 w 157"/>
                <a:gd name="T69" fmla="*/ 531813 h 146"/>
                <a:gd name="T70" fmla="*/ 0 w 157"/>
                <a:gd name="T71" fmla="*/ 452438 h 14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57"/>
                <a:gd name="T109" fmla="*/ 0 h 146"/>
                <a:gd name="T110" fmla="*/ 157 w 157"/>
                <a:gd name="T111" fmla="*/ 146 h 14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57" h="146">
                  <a:moveTo>
                    <a:pt x="0" y="57"/>
                  </a:moveTo>
                  <a:cubicBezTo>
                    <a:pt x="0" y="57"/>
                    <a:pt x="2" y="54"/>
                    <a:pt x="6" y="55"/>
                  </a:cubicBezTo>
                  <a:cubicBezTo>
                    <a:pt x="6" y="55"/>
                    <a:pt x="11" y="53"/>
                    <a:pt x="13" y="51"/>
                  </a:cubicBezTo>
                  <a:cubicBezTo>
                    <a:pt x="13" y="51"/>
                    <a:pt x="18" y="47"/>
                    <a:pt x="25" y="50"/>
                  </a:cubicBezTo>
                  <a:cubicBezTo>
                    <a:pt x="25" y="50"/>
                    <a:pt x="26" y="52"/>
                    <a:pt x="32" y="51"/>
                  </a:cubicBezTo>
                  <a:cubicBezTo>
                    <a:pt x="32" y="51"/>
                    <a:pt x="36" y="53"/>
                    <a:pt x="35" y="45"/>
                  </a:cubicBezTo>
                  <a:cubicBezTo>
                    <a:pt x="35" y="45"/>
                    <a:pt x="34" y="41"/>
                    <a:pt x="35" y="39"/>
                  </a:cubicBezTo>
                  <a:cubicBezTo>
                    <a:pt x="39" y="34"/>
                    <a:pt x="31" y="37"/>
                    <a:pt x="33" y="28"/>
                  </a:cubicBezTo>
                  <a:cubicBezTo>
                    <a:pt x="33" y="28"/>
                    <a:pt x="28" y="25"/>
                    <a:pt x="28" y="23"/>
                  </a:cubicBezTo>
                  <a:cubicBezTo>
                    <a:pt x="28" y="19"/>
                    <a:pt x="36" y="20"/>
                    <a:pt x="33" y="18"/>
                  </a:cubicBezTo>
                  <a:cubicBezTo>
                    <a:pt x="33" y="18"/>
                    <a:pt x="30" y="15"/>
                    <a:pt x="27" y="15"/>
                  </a:cubicBezTo>
                  <a:cubicBezTo>
                    <a:pt x="27" y="15"/>
                    <a:pt x="30" y="13"/>
                    <a:pt x="29" y="11"/>
                  </a:cubicBezTo>
                  <a:cubicBezTo>
                    <a:pt x="29" y="11"/>
                    <a:pt x="28" y="7"/>
                    <a:pt x="36" y="8"/>
                  </a:cubicBezTo>
                  <a:cubicBezTo>
                    <a:pt x="36" y="8"/>
                    <a:pt x="37" y="3"/>
                    <a:pt x="43" y="5"/>
                  </a:cubicBezTo>
                  <a:cubicBezTo>
                    <a:pt x="44" y="4"/>
                    <a:pt x="44" y="4"/>
                    <a:pt x="45" y="4"/>
                  </a:cubicBezTo>
                  <a:cubicBezTo>
                    <a:pt x="46" y="5"/>
                    <a:pt x="46" y="5"/>
                    <a:pt x="47" y="5"/>
                  </a:cubicBezTo>
                  <a:cubicBezTo>
                    <a:pt x="47" y="5"/>
                    <a:pt x="50" y="3"/>
                    <a:pt x="58" y="5"/>
                  </a:cubicBezTo>
                  <a:cubicBezTo>
                    <a:pt x="58" y="5"/>
                    <a:pt x="62" y="8"/>
                    <a:pt x="66" y="5"/>
                  </a:cubicBezTo>
                  <a:cubicBezTo>
                    <a:pt x="66" y="5"/>
                    <a:pt x="70" y="0"/>
                    <a:pt x="75" y="4"/>
                  </a:cubicBezTo>
                  <a:cubicBezTo>
                    <a:pt x="75" y="4"/>
                    <a:pt x="77" y="7"/>
                    <a:pt x="82" y="6"/>
                  </a:cubicBezTo>
                  <a:cubicBezTo>
                    <a:pt x="82" y="6"/>
                    <a:pt x="87" y="2"/>
                    <a:pt x="87" y="8"/>
                  </a:cubicBezTo>
                  <a:cubicBezTo>
                    <a:pt x="87" y="8"/>
                    <a:pt x="88" y="10"/>
                    <a:pt x="91" y="7"/>
                  </a:cubicBezTo>
                  <a:cubicBezTo>
                    <a:pt x="91" y="7"/>
                    <a:pt x="89" y="10"/>
                    <a:pt x="93" y="15"/>
                  </a:cubicBezTo>
                  <a:cubicBezTo>
                    <a:pt x="93" y="15"/>
                    <a:pt x="100" y="16"/>
                    <a:pt x="94" y="20"/>
                  </a:cubicBezTo>
                  <a:cubicBezTo>
                    <a:pt x="94" y="20"/>
                    <a:pt x="94" y="24"/>
                    <a:pt x="98" y="22"/>
                  </a:cubicBezTo>
                  <a:cubicBezTo>
                    <a:pt x="98" y="22"/>
                    <a:pt x="99" y="19"/>
                    <a:pt x="104" y="23"/>
                  </a:cubicBezTo>
                  <a:cubicBezTo>
                    <a:pt x="104" y="23"/>
                    <a:pt x="104" y="27"/>
                    <a:pt x="109" y="22"/>
                  </a:cubicBezTo>
                  <a:cubicBezTo>
                    <a:pt x="109" y="22"/>
                    <a:pt x="112" y="25"/>
                    <a:pt x="114" y="23"/>
                  </a:cubicBezTo>
                  <a:cubicBezTo>
                    <a:pt x="114" y="23"/>
                    <a:pt x="115" y="20"/>
                    <a:pt x="120" y="22"/>
                  </a:cubicBezTo>
                  <a:cubicBezTo>
                    <a:pt x="120" y="26"/>
                    <a:pt x="123" y="25"/>
                    <a:pt x="123" y="25"/>
                  </a:cubicBezTo>
                  <a:cubicBezTo>
                    <a:pt x="126" y="25"/>
                    <a:pt x="126" y="30"/>
                    <a:pt x="126" y="30"/>
                  </a:cubicBezTo>
                  <a:cubicBezTo>
                    <a:pt x="128" y="33"/>
                    <a:pt x="130" y="38"/>
                    <a:pt x="130" y="38"/>
                  </a:cubicBezTo>
                  <a:cubicBezTo>
                    <a:pt x="135" y="37"/>
                    <a:pt x="137" y="41"/>
                    <a:pt x="137" y="41"/>
                  </a:cubicBezTo>
                  <a:cubicBezTo>
                    <a:pt x="138" y="43"/>
                    <a:pt x="140" y="38"/>
                    <a:pt x="143" y="43"/>
                  </a:cubicBezTo>
                  <a:cubicBezTo>
                    <a:pt x="146" y="43"/>
                    <a:pt x="150" y="47"/>
                    <a:pt x="150" y="47"/>
                  </a:cubicBezTo>
                  <a:cubicBezTo>
                    <a:pt x="157" y="47"/>
                    <a:pt x="155" y="51"/>
                    <a:pt x="155" y="51"/>
                  </a:cubicBezTo>
                  <a:cubicBezTo>
                    <a:pt x="147" y="53"/>
                    <a:pt x="152" y="55"/>
                    <a:pt x="152" y="55"/>
                  </a:cubicBezTo>
                  <a:cubicBezTo>
                    <a:pt x="152" y="55"/>
                    <a:pt x="156" y="56"/>
                    <a:pt x="150" y="57"/>
                  </a:cubicBezTo>
                  <a:cubicBezTo>
                    <a:pt x="147" y="57"/>
                    <a:pt x="151" y="62"/>
                    <a:pt x="146" y="60"/>
                  </a:cubicBezTo>
                  <a:cubicBezTo>
                    <a:pt x="137" y="61"/>
                    <a:pt x="141" y="65"/>
                    <a:pt x="141" y="65"/>
                  </a:cubicBezTo>
                  <a:cubicBezTo>
                    <a:pt x="143" y="69"/>
                    <a:pt x="139" y="71"/>
                    <a:pt x="139" y="71"/>
                  </a:cubicBezTo>
                  <a:cubicBezTo>
                    <a:pt x="147" y="72"/>
                    <a:pt x="147" y="79"/>
                    <a:pt x="147" y="79"/>
                  </a:cubicBezTo>
                  <a:cubicBezTo>
                    <a:pt x="156" y="79"/>
                    <a:pt x="154" y="83"/>
                    <a:pt x="154" y="83"/>
                  </a:cubicBezTo>
                  <a:cubicBezTo>
                    <a:pt x="155" y="86"/>
                    <a:pt x="152" y="87"/>
                    <a:pt x="152" y="87"/>
                  </a:cubicBezTo>
                  <a:cubicBezTo>
                    <a:pt x="144" y="88"/>
                    <a:pt x="151" y="93"/>
                    <a:pt x="151" y="93"/>
                  </a:cubicBezTo>
                  <a:cubicBezTo>
                    <a:pt x="144" y="98"/>
                    <a:pt x="139" y="104"/>
                    <a:pt x="139" y="104"/>
                  </a:cubicBezTo>
                  <a:cubicBezTo>
                    <a:pt x="125" y="98"/>
                    <a:pt x="113" y="115"/>
                    <a:pt x="113" y="115"/>
                  </a:cubicBezTo>
                  <a:cubicBezTo>
                    <a:pt x="106" y="109"/>
                    <a:pt x="99" y="113"/>
                    <a:pt x="99" y="113"/>
                  </a:cubicBezTo>
                  <a:cubicBezTo>
                    <a:pt x="86" y="115"/>
                    <a:pt x="82" y="124"/>
                    <a:pt x="82" y="124"/>
                  </a:cubicBezTo>
                  <a:cubicBezTo>
                    <a:pt x="81" y="128"/>
                    <a:pt x="75" y="131"/>
                    <a:pt x="75" y="131"/>
                  </a:cubicBezTo>
                  <a:lnTo>
                    <a:pt x="64" y="141"/>
                  </a:lnTo>
                  <a:cubicBezTo>
                    <a:pt x="59" y="143"/>
                    <a:pt x="61" y="136"/>
                    <a:pt x="61" y="136"/>
                  </a:cubicBezTo>
                  <a:cubicBezTo>
                    <a:pt x="60" y="131"/>
                    <a:pt x="57" y="137"/>
                    <a:pt x="57" y="137"/>
                  </a:cubicBezTo>
                  <a:cubicBezTo>
                    <a:pt x="56" y="141"/>
                    <a:pt x="55" y="143"/>
                    <a:pt x="53" y="145"/>
                  </a:cubicBezTo>
                  <a:cubicBezTo>
                    <a:pt x="46" y="146"/>
                    <a:pt x="48" y="142"/>
                    <a:pt x="48" y="142"/>
                  </a:cubicBezTo>
                  <a:cubicBezTo>
                    <a:pt x="48" y="130"/>
                    <a:pt x="42" y="132"/>
                    <a:pt x="42" y="132"/>
                  </a:cubicBezTo>
                  <a:cubicBezTo>
                    <a:pt x="37" y="131"/>
                    <a:pt x="37" y="127"/>
                    <a:pt x="37" y="127"/>
                  </a:cubicBezTo>
                  <a:cubicBezTo>
                    <a:pt x="29" y="126"/>
                    <a:pt x="30" y="122"/>
                    <a:pt x="30" y="122"/>
                  </a:cubicBezTo>
                  <a:cubicBezTo>
                    <a:pt x="31" y="119"/>
                    <a:pt x="27" y="117"/>
                    <a:pt x="27" y="117"/>
                  </a:cubicBezTo>
                  <a:cubicBezTo>
                    <a:pt x="20" y="117"/>
                    <a:pt x="27" y="112"/>
                    <a:pt x="27" y="112"/>
                  </a:cubicBezTo>
                  <a:cubicBezTo>
                    <a:pt x="31" y="111"/>
                    <a:pt x="29" y="107"/>
                    <a:pt x="29" y="107"/>
                  </a:cubicBezTo>
                  <a:cubicBezTo>
                    <a:pt x="36" y="103"/>
                    <a:pt x="29" y="101"/>
                    <a:pt x="29" y="101"/>
                  </a:cubicBezTo>
                  <a:cubicBezTo>
                    <a:pt x="29" y="96"/>
                    <a:pt x="24" y="97"/>
                    <a:pt x="24" y="97"/>
                  </a:cubicBezTo>
                  <a:cubicBezTo>
                    <a:pt x="22" y="97"/>
                    <a:pt x="21" y="93"/>
                    <a:pt x="21" y="93"/>
                  </a:cubicBezTo>
                  <a:cubicBezTo>
                    <a:pt x="16" y="92"/>
                    <a:pt x="18" y="86"/>
                    <a:pt x="18" y="86"/>
                  </a:cubicBezTo>
                  <a:cubicBezTo>
                    <a:pt x="13" y="83"/>
                    <a:pt x="15" y="75"/>
                    <a:pt x="15" y="75"/>
                  </a:cubicBezTo>
                  <a:cubicBezTo>
                    <a:pt x="12" y="64"/>
                    <a:pt x="9" y="72"/>
                    <a:pt x="9" y="72"/>
                  </a:cubicBezTo>
                  <a:cubicBezTo>
                    <a:pt x="3" y="75"/>
                    <a:pt x="3" y="67"/>
                    <a:pt x="3" y="67"/>
                  </a:cubicBezTo>
                  <a:cubicBezTo>
                    <a:pt x="0" y="63"/>
                    <a:pt x="0" y="57"/>
                    <a:pt x="0" y="57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69" name="Freeform 1155">
              <a:extLst>
                <a:ext uri="{FF2B5EF4-FFF2-40B4-BE49-F238E27FC236}">
                  <a16:creationId xmlns:a16="http://schemas.microsoft.com/office/drawing/2014/main" id="{9B1C6B6C-A84A-0C69-D52B-2EF85A61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7843" y="5209419"/>
              <a:ext cx="1624410" cy="1009916"/>
            </a:xfrm>
            <a:custGeom>
              <a:avLst/>
              <a:gdLst>
                <a:gd name="T0" fmla="*/ 571500 w 230"/>
                <a:gd name="T1" fmla="*/ 63500 h 143"/>
                <a:gd name="T2" fmla="*/ 642938 w 230"/>
                <a:gd name="T3" fmla="*/ 103187 h 143"/>
                <a:gd name="T4" fmla="*/ 730250 w 230"/>
                <a:gd name="T5" fmla="*/ 111125 h 143"/>
                <a:gd name="T6" fmla="*/ 738188 w 230"/>
                <a:gd name="T7" fmla="*/ 158750 h 143"/>
                <a:gd name="T8" fmla="*/ 762000 w 230"/>
                <a:gd name="T9" fmla="*/ 134937 h 143"/>
                <a:gd name="T10" fmla="*/ 833438 w 230"/>
                <a:gd name="T11" fmla="*/ 158750 h 143"/>
                <a:gd name="T12" fmla="*/ 912813 w 230"/>
                <a:gd name="T13" fmla="*/ 174625 h 143"/>
                <a:gd name="T14" fmla="*/ 873125 w 230"/>
                <a:gd name="T15" fmla="*/ 142875 h 143"/>
                <a:gd name="T16" fmla="*/ 920750 w 230"/>
                <a:gd name="T17" fmla="*/ 190500 h 143"/>
                <a:gd name="T18" fmla="*/ 936625 w 230"/>
                <a:gd name="T19" fmla="*/ 222250 h 143"/>
                <a:gd name="T20" fmla="*/ 968375 w 230"/>
                <a:gd name="T21" fmla="*/ 246062 h 143"/>
                <a:gd name="T22" fmla="*/ 1000125 w 230"/>
                <a:gd name="T23" fmla="*/ 222250 h 143"/>
                <a:gd name="T24" fmla="*/ 1008063 w 230"/>
                <a:gd name="T25" fmla="*/ 285750 h 143"/>
                <a:gd name="T26" fmla="*/ 1119188 w 230"/>
                <a:gd name="T27" fmla="*/ 357187 h 143"/>
                <a:gd name="T28" fmla="*/ 1150938 w 230"/>
                <a:gd name="T29" fmla="*/ 396875 h 143"/>
                <a:gd name="T30" fmla="*/ 1150938 w 230"/>
                <a:gd name="T31" fmla="*/ 444500 h 143"/>
                <a:gd name="T32" fmla="*/ 1214438 w 230"/>
                <a:gd name="T33" fmla="*/ 523875 h 143"/>
                <a:gd name="T34" fmla="*/ 1341438 w 230"/>
                <a:gd name="T35" fmla="*/ 539750 h 143"/>
                <a:gd name="T36" fmla="*/ 1150938 w 230"/>
                <a:gd name="T37" fmla="*/ 349250 h 143"/>
                <a:gd name="T38" fmla="*/ 1039813 w 230"/>
                <a:gd name="T39" fmla="*/ 166687 h 143"/>
                <a:gd name="T40" fmla="*/ 968375 w 230"/>
                <a:gd name="T41" fmla="*/ 63500 h 143"/>
                <a:gd name="T42" fmla="*/ 1008063 w 230"/>
                <a:gd name="T43" fmla="*/ 55562 h 143"/>
                <a:gd name="T44" fmla="*/ 1023938 w 230"/>
                <a:gd name="T45" fmla="*/ 39687 h 143"/>
                <a:gd name="T46" fmla="*/ 1111250 w 230"/>
                <a:gd name="T47" fmla="*/ 277812 h 143"/>
                <a:gd name="T48" fmla="*/ 1293813 w 230"/>
                <a:gd name="T49" fmla="*/ 500062 h 143"/>
                <a:gd name="T50" fmla="*/ 1484313 w 230"/>
                <a:gd name="T51" fmla="*/ 412750 h 143"/>
                <a:gd name="T52" fmla="*/ 1658938 w 230"/>
                <a:gd name="T53" fmla="*/ 404812 h 143"/>
                <a:gd name="T54" fmla="*/ 1825625 w 230"/>
                <a:gd name="T55" fmla="*/ 444500 h 143"/>
                <a:gd name="T56" fmla="*/ 1746250 w 230"/>
                <a:gd name="T57" fmla="*/ 595312 h 143"/>
                <a:gd name="T58" fmla="*/ 1674813 w 230"/>
                <a:gd name="T59" fmla="*/ 682625 h 143"/>
                <a:gd name="T60" fmla="*/ 1547813 w 230"/>
                <a:gd name="T61" fmla="*/ 690562 h 143"/>
                <a:gd name="T62" fmla="*/ 1444625 w 230"/>
                <a:gd name="T63" fmla="*/ 650875 h 143"/>
                <a:gd name="T64" fmla="*/ 1309688 w 230"/>
                <a:gd name="T65" fmla="*/ 690562 h 143"/>
                <a:gd name="T66" fmla="*/ 1198563 w 230"/>
                <a:gd name="T67" fmla="*/ 833437 h 143"/>
                <a:gd name="T68" fmla="*/ 1055688 w 230"/>
                <a:gd name="T69" fmla="*/ 833437 h 143"/>
                <a:gd name="T70" fmla="*/ 896938 w 230"/>
                <a:gd name="T71" fmla="*/ 944562 h 143"/>
                <a:gd name="T72" fmla="*/ 730250 w 230"/>
                <a:gd name="T73" fmla="*/ 1119187 h 143"/>
                <a:gd name="T74" fmla="*/ 547688 w 230"/>
                <a:gd name="T75" fmla="*/ 1079500 h 143"/>
                <a:gd name="T76" fmla="*/ 444500 w 230"/>
                <a:gd name="T77" fmla="*/ 1000125 h 143"/>
                <a:gd name="T78" fmla="*/ 539750 w 230"/>
                <a:gd name="T79" fmla="*/ 833437 h 143"/>
                <a:gd name="T80" fmla="*/ 428625 w 230"/>
                <a:gd name="T81" fmla="*/ 627062 h 143"/>
                <a:gd name="T82" fmla="*/ 277813 w 230"/>
                <a:gd name="T83" fmla="*/ 579437 h 143"/>
                <a:gd name="T84" fmla="*/ 79375 w 230"/>
                <a:gd name="T85" fmla="*/ 563562 h 143"/>
                <a:gd name="T86" fmla="*/ 158750 w 230"/>
                <a:gd name="T87" fmla="*/ 412750 h 143"/>
                <a:gd name="T88" fmla="*/ 325438 w 230"/>
                <a:gd name="T89" fmla="*/ 277812 h 143"/>
                <a:gd name="T90" fmla="*/ 428625 w 230"/>
                <a:gd name="T91" fmla="*/ 238125 h 143"/>
                <a:gd name="T92" fmla="*/ 492125 w 230"/>
                <a:gd name="T93" fmla="*/ 214312 h 143"/>
                <a:gd name="T94" fmla="*/ 555625 w 230"/>
                <a:gd name="T95" fmla="*/ 198437 h 143"/>
                <a:gd name="T96" fmla="*/ 571500 w 230"/>
                <a:gd name="T97" fmla="*/ 158750 h 143"/>
                <a:gd name="T98" fmla="*/ 531813 w 230"/>
                <a:gd name="T99" fmla="*/ 103187 h 143"/>
                <a:gd name="T100" fmla="*/ 515938 w 230"/>
                <a:gd name="T101" fmla="*/ 71437 h 143"/>
                <a:gd name="T102" fmla="*/ 508000 w 230"/>
                <a:gd name="T103" fmla="*/ 7937 h 143"/>
                <a:gd name="T104" fmla="*/ 563563 w 230"/>
                <a:gd name="T105" fmla="*/ 23812 h 143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30"/>
                <a:gd name="T160" fmla="*/ 0 h 143"/>
                <a:gd name="T161" fmla="*/ 230 w 230"/>
                <a:gd name="T162" fmla="*/ 143 h 143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30" h="143">
                  <a:moveTo>
                    <a:pt x="71" y="3"/>
                  </a:moveTo>
                  <a:cubicBezTo>
                    <a:pt x="71" y="6"/>
                    <a:pt x="72" y="8"/>
                    <a:pt x="72" y="8"/>
                  </a:cubicBezTo>
                  <a:cubicBezTo>
                    <a:pt x="75" y="5"/>
                    <a:pt x="78" y="10"/>
                    <a:pt x="78" y="10"/>
                  </a:cubicBezTo>
                  <a:cubicBezTo>
                    <a:pt x="78" y="15"/>
                    <a:pt x="81" y="13"/>
                    <a:pt x="81" y="13"/>
                  </a:cubicBezTo>
                  <a:cubicBezTo>
                    <a:pt x="81" y="8"/>
                    <a:pt x="84" y="9"/>
                    <a:pt x="84" y="9"/>
                  </a:cubicBezTo>
                  <a:cubicBezTo>
                    <a:pt x="90" y="7"/>
                    <a:pt x="92" y="14"/>
                    <a:pt x="92" y="14"/>
                  </a:cubicBezTo>
                  <a:lnTo>
                    <a:pt x="93" y="20"/>
                  </a:lnTo>
                  <a:cubicBezTo>
                    <a:pt x="94" y="16"/>
                    <a:pt x="96" y="17"/>
                    <a:pt x="96" y="17"/>
                  </a:cubicBezTo>
                  <a:cubicBezTo>
                    <a:pt x="96" y="14"/>
                    <a:pt x="100" y="15"/>
                    <a:pt x="100" y="15"/>
                  </a:cubicBezTo>
                  <a:cubicBezTo>
                    <a:pt x="104" y="14"/>
                    <a:pt x="105" y="20"/>
                    <a:pt x="105" y="20"/>
                  </a:cubicBezTo>
                  <a:cubicBezTo>
                    <a:pt x="105" y="26"/>
                    <a:pt x="110" y="26"/>
                    <a:pt x="110" y="26"/>
                  </a:cubicBezTo>
                  <a:cubicBezTo>
                    <a:pt x="113" y="26"/>
                    <a:pt x="115" y="22"/>
                    <a:pt x="115" y="22"/>
                  </a:cubicBezTo>
                  <a:cubicBezTo>
                    <a:pt x="115" y="19"/>
                    <a:pt x="112" y="19"/>
                    <a:pt x="112" y="19"/>
                  </a:cubicBezTo>
                  <a:cubicBezTo>
                    <a:pt x="111" y="19"/>
                    <a:pt x="110" y="18"/>
                    <a:pt x="110" y="18"/>
                  </a:cubicBezTo>
                  <a:cubicBezTo>
                    <a:pt x="112" y="13"/>
                    <a:pt x="118" y="18"/>
                    <a:pt x="118" y="18"/>
                  </a:cubicBezTo>
                  <a:cubicBezTo>
                    <a:pt x="118" y="23"/>
                    <a:pt x="116" y="24"/>
                    <a:pt x="116" y="24"/>
                  </a:cubicBezTo>
                  <a:cubicBezTo>
                    <a:pt x="112" y="29"/>
                    <a:pt x="113" y="32"/>
                    <a:pt x="113" y="32"/>
                  </a:cubicBezTo>
                  <a:cubicBezTo>
                    <a:pt x="116" y="33"/>
                    <a:pt x="118" y="28"/>
                    <a:pt x="118" y="28"/>
                  </a:cubicBezTo>
                  <a:cubicBezTo>
                    <a:pt x="121" y="23"/>
                    <a:pt x="124" y="22"/>
                    <a:pt x="124" y="22"/>
                  </a:cubicBezTo>
                  <a:cubicBezTo>
                    <a:pt x="122" y="27"/>
                    <a:pt x="122" y="31"/>
                    <a:pt x="122" y="31"/>
                  </a:cubicBezTo>
                  <a:lnTo>
                    <a:pt x="126" y="28"/>
                  </a:lnTo>
                  <a:cubicBezTo>
                    <a:pt x="128" y="30"/>
                    <a:pt x="127" y="36"/>
                    <a:pt x="127" y="36"/>
                  </a:cubicBezTo>
                  <a:cubicBezTo>
                    <a:pt x="133" y="36"/>
                    <a:pt x="135" y="39"/>
                    <a:pt x="135" y="39"/>
                  </a:cubicBezTo>
                  <a:cubicBezTo>
                    <a:pt x="139" y="40"/>
                    <a:pt x="141" y="45"/>
                    <a:pt x="141" y="45"/>
                  </a:cubicBezTo>
                  <a:cubicBezTo>
                    <a:pt x="145" y="47"/>
                    <a:pt x="145" y="50"/>
                    <a:pt x="145" y="50"/>
                  </a:cubicBezTo>
                  <a:lnTo>
                    <a:pt x="145" y="56"/>
                  </a:lnTo>
                  <a:cubicBezTo>
                    <a:pt x="143" y="60"/>
                    <a:pt x="146" y="63"/>
                    <a:pt x="146" y="63"/>
                  </a:cubicBezTo>
                  <a:cubicBezTo>
                    <a:pt x="150" y="63"/>
                    <a:pt x="153" y="66"/>
                    <a:pt x="153" y="66"/>
                  </a:cubicBezTo>
                  <a:cubicBezTo>
                    <a:pt x="160" y="67"/>
                    <a:pt x="165" y="71"/>
                    <a:pt x="165" y="71"/>
                  </a:cubicBezTo>
                  <a:cubicBezTo>
                    <a:pt x="166" y="69"/>
                    <a:pt x="169" y="68"/>
                    <a:pt x="169" y="68"/>
                  </a:cubicBezTo>
                  <a:cubicBezTo>
                    <a:pt x="163" y="68"/>
                    <a:pt x="158" y="61"/>
                    <a:pt x="158" y="61"/>
                  </a:cubicBezTo>
                  <a:cubicBezTo>
                    <a:pt x="152" y="54"/>
                    <a:pt x="145" y="44"/>
                    <a:pt x="145" y="44"/>
                  </a:cubicBezTo>
                  <a:cubicBezTo>
                    <a:pt x="138" y="36"/>
                    <a:pt x="135" y="28"/>
                    <a:pt x="135" y="28"/>
                  </a:cubicBezTo>
                  <a:cubicBezTo>
                    <a:pt x="129" y="32"/>
                    <a:pt x="131" y="21"/>
                    <a:pt x="131" y="21"/>
                  </a:cubicBezTo>
                  <a:cubicBezTo>
                    <a:pt x="128" y="20"/>
                    <a:pt x="130" y="14"/>
                    <a:pt x="130" y="14"/>
                  </a:cubicBezTo>
                  <a:cubicBezTo>
                    <a:pt x="125" y="14"/>
                    <a:pt x="122" y="8"/>
                    <a:pt x="122" y="8"/>
                  </a:cubicBezTo>
                  <a:cubicBezTo>
                    <a:pt x="121" y="6"/>
                    <a:pt x="127" y="7"/>
                    <a:pt x="127" y="7"/>
                  </a:cubicBezTo>
                  <a:lnTo>
                    <a:pt x="129" y="5"/>
                  </a:lnTo>
                  <a:cubicBezTo>
                    <a:pt x="129" y="11"/>
                    <a:pt x="132" y="15"/>
                    <a:pt x="132" y="15"/>
                  </a:cubicBezTo>
                  <a:cubicBezTo>
                    <a:pt x="132" y="22"/>
                    <a:pt x="140" y="35"/>
                    <a:pt x="140" y="35"/>
                  </a:cubicBezTo>
                  <a:cubicBezTo>
                    <a:pt x="142" y="37"/>
                    <a:pt x="150" y="49"/>
                    <a:pt x="150" y="49"/>
                  </a:cubicBezTo>
                  <a:cubicBezTo>
                    <a:pt x="156" y="57"/>
                    <a:pt x="163" y="63"/>
                    <a:pt x="163" y="63"/>
                  </a:cubicBezTo>
                  <a:cubicBezTo>
                    <a:pt x="166" y="69"/>
                    <a:pt x="179" y="63"/>
                    <a:pt x="179" y="63"/>
                  </a:cubicBezTo>
                  <a:cubicBezTo>
                    <a:pt x="182" y="61"/>
                    <a:pt x="187" y="52"/>
                    <a:pt x="187" y="52"/>
                  </a:cubicBezTo>
                  <a:cubicBezTo>
                    <a:pt x="192" y="62"/>
                    <a:pt x="199" y="56"/>
                    <a:pt x="199" y="56"/>
                  </a:cubicBezTo>
                  <a:cubicBezTo>
                    <a:pt x="201" y="50"/>
                    <a:pt x="209" y="51"/>
                    <a:pt x="209" y="51"/>
                  </a:cubicBezTo>
                  <a:cubicBezTo>
                    <a:pt x="217" y="49"/>
                    <a:pt x="223" y="51"/>
                    <a:pt x="223" y="51"/>
                  </a:cubicBezTo>
                  <a:cubicBezTo>
                    <a:pt x="229" y="52"/>
                    <a:pt x="230" y="56"/>
                    <a:pt x="230" y="56"/>
                  </a:cubicBezTo>
                  <a:cubicBezTo>
                    <a:pt x="229" y="61"/>
                    <a:pt x="221" y="65"/>
                    <a:pt x="221" y="65"/>
                  </a:cubicBezTo>
                  <a:cubicBezTo>
                    <a:pt x="219" y="68"/>
                    <a:pt x="220" y="75"/>
                    <a:pt x="220" y="75"/>
                  </a:cubicBezTo>
                  <a:cubicBezTo>
                    <a:pt x="227" y="81"/>
                    <a:pt x="217" y="82"/>
                    <a:pt x="217" y="82"/>
                  </a:cubicBezTo>
                  <a:cubicBezTo>
                    <a:pt x="212" y="81"/>
                    <a:pt x="211" y="86"/>
                    <a:pt x="211" y="86"/>
                  </a:cubicBezTo>
                  <a:cubicBezTo>
                    <a:pt x="208" y="87"/>
                    <a:pt x="200" y="84"/>
                    <a:pt x="200" y="84"/>
                  </a:cubicBezTo>
                  <a:cubicBezTo>
                    <a:pt x="199" y="88"/>
                    <a:pt x="195" y="87"/>
                    <a:pt x="195" y="87"/>
                  </a:cubicBezTo>
                  <a:cubicBezTo>
                    <a:pt x="191" y="91"/>
                    <a:pt x="187" y="85"/>
                    <a:pt x="187" y="85"/>
                  </a:cubicBezTo>
                  <a:cubicBezTo>
                    <a:pt x="185" y="82"/>
                    <a:pt x="182" y="82"/>
                    <a:pt x="182" y="82"/>
                  </a:cubicBezTo>
                  <a:cubicBezTo>
                    <a:pt x="178" y="76"/>
                    <a:pt x="169" y="80"/>
                    <a:pt x="169" y="80"/>
                  </a:cubicBezTo>
                  <a:cubicBezTo>
                    <a:pt x="165" y="85"/>
                    <a:pt x="165" y="87"/>
                    <a:pt x="165" y="87"/>
                  </a:cubicBezTo>
                  <a:cubicBezTo>
                    <a:pt x="163" y="92"/>
                    <a:pt x="158" y="95"/>
                    <a:pt x="158" y="95"/>
                  </a:cubicBezTo>
                  <a:cubicBezTo>
                    <a:pt x="150" y="96"/>
                    <a:pt x="151" y="105"/>
                    <a:pt x="151" y="105"/>
                  </a:cubicBezTo>
                  <a:cubicBezTo>
                    <a:pt x="148" y="109"/>
                    <a:pt x="143" y="102"/>
                    <a:pt x="143" y="102"/>
                  </a:cubicBezTo>
                  <a:cubicBezTo>
                    <a:pt x="138" y="106"/>
                    <a:pt x="133" y="105"/>
                    <a:pt x="133" y="105"/>
                  </a:cubicBezTo>
                  <a:cubicBezTo>
                    <a:pt x="128" y="105"/>
                    <a:pt x="125" y="110"/>
                    <a:pt x="125" y="110"/>
                  </a:cubicBezTo>
                  <a:cubicBezTo>
                    <a:pt x="121" y="108"/>
                    <a:pt x="113" y="119"/>
                    <a:pt x="113" y="119"/>
                  </a:cubicBezTo>
                  <a:cubicBezTo>
                    <a:pt x="109" y="121"/>
                    <a:pt x="113" y="129"/>
                    <a:pt x="105" y="128"/>
                  </a:cubicBezTo>
                  <a:cubicBezTo>
                    <a:pt x="101" y="134"/>
                    <a:pt x="97" y="139"/>
                    <a:pt x="92" y="141"/>
                  </a:cubicBezTo>
                  <a:cubicBezTo>
                    <a:pt x="82" y="143"/>
                    <a:pt x="74" y="141"/>
                    <a:pt x="74" y="141"/>
                  </a:cubicBezTo>
                  <a:cubicBezTo>
                    <a:pt x="72" y="138"/>
                    <a:pt x="69" y="136"/>
                    <a:pt x="69" y="136"/>
                  </a:cubicBezTo>
                  <a:cubicBezTo>
                    <a:pt x="69" y="132"/>
                    <a:pt x="62" y="134"/>
                    <a:pt x="62" y="134"/>
                  </a:cubicBezTo>
                  <a:cubicBezTo>
                    <a:pt x="58" y="132"/>
                    <a:pt x="56" y="126"/>
                    <a:pt x="56" y="126"/>
                  </a:cubicBezTo>
                  <a:cubicBezTo>
                    <a:pt x="56" y="124"/>
                    <a:pt x="60" y="126"/>
                    <a:pt x="65" y="121"/>
                  </a:cubicBezTo>
                  <a:cubicBezTo>
                    <a:pt x="65" y="116"/>
                    <a:pt x="59" y="114"/>
                    <a:pt x="68" y="105"/>
                  </a:cubicBezTo>
                  <a:cubicBezTo>
                    <a:pt x="70" y="96"/>
                    <a:pt x="64" y="87"/>
                    <a:pt x="64" y="87"/>
                  </a:cubicBezTo>
                  <a:cubicBezTo>
                    <a:pt x="61" y="81"/>
                    <a:pt x="54" y="79"/>
                    <a:pt x="54" y="79"/>
                  </a:cubicBezTo>
                  <a:cubicBezTo>
                    <a:pt x="46" y="86"/>
                    <a:pt x="43" y="81"/>
                    <a:pt x="43" y="81"/>
                  </a:cubicBezTo>
                  <a:cubicBezTo>
                    <a:pt x="42" y="78"/>
                    <a:pt x="35" y="73"/>
                    <a:pt x="35" y="73"/>
                  </a:cubicBezTo>
                  <a:cubicBezTo>
                    <a:pt x="26" y="66"/>
                    <a:pt x="22" y="68"/>
                    <a:pt x="22" y="68"/>
                  </a:cubicBezTo>
                  <a:cubicBezTo>
                    <a:pt x="18" y="67"/>
                    <a:pt x="15" y="74"/>
                    <a:pt x="10" y="71"/>
                  </a:cubicBezTo>
                  <a:cubicBezTo>
                    <a:pt x="0" y="65"/>
                    <a:pt x="10" y="59"/>
                    <a:pt x="10" y="59"/>
                  </a:cubicBezTo>
                  <a:cubicBezTo>
                    <a:pt x="11" y="56"/>
                    <a:pt x="20" y="52"/>
                    <a:pt x="20" y="52"/>
                  </a:cubicBezTo>
                  <a:cubicBezTo>
                    <a:pt x="23" y="47"/>
                    <a:pt x="32" y="43"/>
                    <a:pt x="32" y="43"/>
                  </a:cubicBezTo>
                  <a:cubicBezTo>
                    <a:pt x="35" y="38"/>
                    <a:pt x="41" y="35"/>
                    <a:pt x="41" y="35"/>
                  </a:cubicBezTo>
                  <a:cubicBezTo>
                    <a:pt x="50" y="35"/>
                    <a:pt x="54" y="30"/>
                    <a:pt x="54" y="30"/>
                  </a:cubicBezTo>
                  <a:lnTo>
                    <a:pt x="62" y="27"/>
                  </a:lnTo>
                  <a:cubicBezTo>
                    <a:pt x="71" y="29"/>
                    <a:pt x="70" y="25"/>
                    <a:pt x="70" y="25"/>
                  </a:cubicBezTo>
                  <a:lnTo>
                    <a:pt x="72" y="20"/>
                  </a:lnTo>
                  <a:cubicBezTo>
                    <a:pt x="62" y="26"/>
                    <a:pt x="67" y="13"/>
                    <a:pt x="67" y="13"/>
                  </a:cubicBezTo>
                  <a:lnTo>
                    <a:pt x="65" y="9"/>
                  </a:lnTo>
                  <a:cubicBezTo>
                    <a:pt x="65" y="7"/>
                    <a:pt x="64" y="7"/>
                    <a:pt x="63" y="6"/>
                  </a:cubicBezTo>
                  <a:cubicBezTo>
                    <a:pt x="65" y="4"/>
                    <a:pt x="64" y="1"/>
                    <a:pt x="64" y="1"/>
                  </a:cubicBezTo>
                  <a:cubicBezTo>
                    <a:pt x="68" y="0"/>
                    <a:pt x="71" y="3"/>
                    <a:pt x="71" y="3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70" name="Freeform 1156">
              <a:extLst>
                <a:ext uri="{FF2B5EF4-FFF2-40B4-BE49-F238E27FC236}">
                  <a16:creationId xmlns:a16="http://schemas.microsoft.com/office/drawing/2014/main" id="{89937D82-E93A-77DC-489C-090730426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620" y="4143005"/>
              <a:ext cx="1200652" cy="1631403"/>
            </a:xfrm>
            <a:custGeom>
              <a:avLst/>
              <a:gdLst>
                <a:gd name="T0" fmla="*/ 396875 w 170"/>
                <a:gd name="T1" fmla="*/ 63500 h 231"/>
                <a:gd name="T2" fmla="*/ 523875 w 170"/>
                <a:gd name="T3" fmla="*/ 79375 h 231"/>
                <a:gd name="T4" fmla="*/ 658813 w 170"/>
                <a:gd name="T5" fmla="*/ 55562 h 231"/>
                <a:gd name="T6" fmla="*/ 754063 w 170"/>
                <a:gd name="T7" fmla="*/ 0 h 231"/>
                <a:gd name="T8" fmla="*/ 904875 w 170"/>
                <a:gd name="T9" fmla="*/ 47625 h 231"/>
                <a:gd name="T10" fmla="*/ 889000 w 170"/>
                <a:gd name="T11" fmla="*/ 158750 h 231"/>
                <a:gd name="T12" fmla="*/ 944563 w 170"/>
                <a:gd name="T13" fmla="*/ 309562 h 231"/>
                <a:gd name="T14" fmla="*/ 1119188 w 170"/>
                <a:gd name="T15" fmla="*/ 396875 h 231"/>
                <a:gd name="T16" fmla="*/ 1135063 w 170"/>
                <a:gd name="T17" fmla="*/ 555625 h 231"/>
                <a:gd name="T18" fmla="*/ 1238250 w 170"/>
                <a:gd name="T19" fmla="*/ 635000 h 231"/>
                <a:gd name="T20" fmla="*/ 1262063 w 170"/>
                <a:gd name="T21" fmla="*/ 762000 h 231"/>
                <a:gd name="T22" fmla="*/ 1238250 w 170"/>
                <a:gd name="T23" fmla="*/ 825500 h 231"/>
                <a:gd name="T24" fmla="*/ 1277938 w 170"/>
                <a:gd name="T25" fmla="*/ 960437 h 231"/>
                <a:gd name="T26" fmla="*/ 1135063 w 170"/>
                <a:gd name="T27" fmla="*/ 1000125 h 231"/>
                <a:gd name="T28" fmla="*/ 1071563 w 170"/>
                <a:gd name="T29" fmla="*/ 1150937 h 231"/>
                <a:gd name="T30" fmla="*/ 1000125 w 170"/>
                <a:gd name="T31" fmla="*/ 1270000 h 231"/>
                <a:gd name="T32" fmla="*/ 952500 w 170"/>
                <a:gd name="T33" fmla="*/ 1198562 h 231"/>
                <a:gd name="T34" fmla="*/ 920750 w 170"/>
                <a:gd name="T35" fmla="*/ 1158875 h 231"/>
                <a:gd name="T36" fmla="*/ 849313 w 170"/>
                <a:gd name="T37" fmla="*/ 1174750 h 231"/>
                <a:gd name="T38" fmla="*/ 896938 w 170"/>
                <a:gd name="T39" fmla="*/ 1206500 h 231"/>
                <a:gd name="T40" fmla="*/ 944563 w 170"/>
                <a:gd name="T41" fmla="*/ 1270000 h 231"/>
                <a:gd name="T42" fmla="*/ 936625 w 170"/>
                <a:gd name="T43" fmla="*/ 1357312 h 231"/>
                <a:gd name="T44" fmla="*/ 833438 w 170"/>
                <a:gd name="T45" fmla="*/ 1428750 h 231"/>
                <a:gd name="T46" fmla="*/ 785813 w 170"/>
                <a:gd name="T47" fmla="*/ 1452562 h 231"/>
                <a:gd name="T48" fmla="*/ 698500 w 170"/>
                <a:gd name="T49" fmla="*/ 1508125 h 231"/>
                <a:gd name="T50" fmla="*/ 642938 w 170"/>
                <a:gd name="T51" fmla="*/ 1555750 h 231"/>
                <a:gd name="T52" fmla="*/ 642938 w 170"/>
                <a:gd name="T53" fmla="*/ 1508125 h 231"/>
                <a:gd name="T54" fmla="*/ 635000 w 170"/>
                <a:gd name="T55" fmla="*/ 1468437 h 231"/>
                <a:gd name="T56" fmla="*/ 619125 w 170"/>
                <a:gd name="T57" fmla="*/ 1627187 h 231"/>
                <a:gd name="T58" fmla="*/ 674688 w 170"/>
                <a:gd name="T59" fmla="*/ 1746250 h 231"/>
                <a:gd name="T60" fmla="*/ 611188 w 170"/>
                <a:gd name="T61" fmla="*/ 1738312 h 231"/>
                <a:gd name="T62" fmla="*/ 404813 w 170"/>
                <a:gd name="T63" fmla="*/ 1722437 h 231"/>
                <a:gd name="T64" fmla="*/ 309563 w 170"/>
                <a:gd name="T65" fmla="*/ 1785937 h 231"/>
                <a:gd name="T66" fmla="*/ 269875 w 170"/>
                <a:gd name="T67" fmla="*/ 1754187 h 231"/>
                <a:gd name="T68" fmla="*/ 158750 w 170"/>
                <a:gd name="T69" fmla="*/ 1793875 h 231"/>
                <a:gd name="T70" fmla="*/ 23813 w 170"/>
                <a:gd name="T71" fmla="*/ 1666875 h 231"/>
                <a:gd name="T72" fmla="*/ 63500 w 170"/>
                <a:gd name="T73" fmla="*/ 1627187 h 231"/>
                <a:gd name="T74" fmla="*/ 142875 w 170"/>
                <a:gd name="T75" fmla="*/ 1547812 h 231"/>
                <a:gd name="T76" fmla="*/ 214313 w 170"/>
                <a:gd name="T77" fmla="*/ 1444625 h 231"/>
                <a:gd name="T78" fmla="*/ 301625 w 170"/>
                <a:gd name="T79" fmla="*/ 1349375 h 231"/>
                <a:gd name="T80" fmla="*/ 349250 w 170"/>
                <a:gd name="T81" fmla="*/ 1254125 h 231"/>
                <a:gd name="T82" fmla="*/ 325438 w 170"/>
                <a:gd name="T83" fmla="*/ 1166812 h 231"/>
                <a:gd name="T84" fmla="*/ 365125 w 170"/>
                <a:gd name="T85" fmla="*/ 1039812 h 231"/>
                <a:gd name="T86" fmla="*/ 452438 w 170"/>
                <a:gd name="T87" fmla="*/ 1071562 h 231"/>
                <a:gd name="T88" fmla="*/ 508000 w 170"/>
                <a:gd name="T89" fmla="*/ 1071562 h 231"/>
                <a:gd name="T90" fmla="*/ 603250 w 170"/>
                <a:gd name="T91" fmla="*/ 1087437 h 231"/>
                <a:gd name="T92" fmla="*/ 706438 w 170"/>
                <a:gd name="T93" fmla="*/ 1111250 h 231"/>
                <a:gd name="T94" fmla="*/ 833438 w 170"/>
                <a:gd name="T95" fmla="*/ 1103312 h 231"/>
                <a:gd name="T96" fmla="*/ 738188 w 170"/>
                <a:gd name="T97" fmla="*/ 1016000 h 231"/>
                <a:gd name="T98" fmla="*/ 762000 w 170"/>
                <a:gd name="T99" fmla="*/ 889000 h 231"/>
                <a:gd name="T100" fmla="*/ 619125 w 170"/>
                <a:gd name="T101" fmla="*/ 762000 h 231"/>
                <a:gd name="T102" fmla="*/ 627063 w 170"/>
                <a:gd name="T103" fmla="*/ 690562 h 231"/>
                <a:gd name="T104" fmla="*/ 587375 w 170"/>
                <a:gd name="T105" fmla="*/ 658812 h 231"/>
                <a:gd name="T106" fmla="*/ 579438 w 170"/>
                <a:gd name="T107" fmla="*/ 531812 h 231"/>
                <a:gd name="T108" fmla="*/ 444500 w 170"/>
                <a:gd name="T109" fmla="*/ 460375 h 231"/>
                <a:gd name="T110" fmla="*/ 460375 w 170"/>
                <a:gd name="T111" fmla="*/ 317500 h 231"/>
                <a:gd name="T112" fmla="*/ 468313 w 170"/>
                <a:gd name="T113" fmla="*/ 238125 h 231"/>
                <a:gd name="T114" fmla="*/ 404813 w 170"/>
                <a:gd name="T115" fmla="*/ 134937 h 231"/>
                <a:gd name="T116" fmla="*/ 341313 w 170"/>
                <a:gd name="T117" fmla="*/ 119062 h 2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70"/>
                <a:gd name="T178" fmla="*/ 0 h 231"/>
                <a:gd name="T179" fmla="*/ 170 w 170"/>
                <a:gd name="T180" fmla="*/ 231 h 23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70" h="231">
                  <a:moveTo>
                    <a:pt x="43" y="15"/>
                  </a:moveTo>
                  <a:cubicBezTo>
                    <a:pt x="48" y="13"/>
                    <a:pt x="50" y="8"/>
                    <a:pt x="50" y="8"/>
                  </a:cubicBezTo>
                  <a:cubicBezTo>
                    <a:pt x="51" y="0"/>
                    <a:pt x="54" y="7"/>
                    <a:pt x="54" y="7"/>
                  </a:cubicBezTo>
                  <a:cubicBezTo>
                    <a:pt x="59" y="11"/>
                    <a:pt x="66" y="10"/>
                    <a:pt x="66" y="10"/>
                  </a:cubicBezTo>
                  <a:cubicBezTo>
                    <a:pt x="71" y="5"/>
                    <a:pt x="74" y="10"/>
                    <a:pt x="74" y="10"/>
                  </a:cubicBezTo>
                  <a:cubicBezTo>
                    <a:pt x="83" y="11"/>
                    <a:pt x="83" y="7"/>
                    <a:pt x="83" y="7"/>
                  </a:cubicBezTo>
                  <a:cubicBezTo>
                    <a:pt x="82" y="2"/>
                    <a:pt x="89" y="2"/>
                    <a:pt x="89" y="2"/>
                  </a:cubicBezTo>
                  <a:cubicBezTo>
                    <a:pt x="94" y="3"/>
                    <a:pt x="95" y="0"/>
                    <a:pt x="95" y="0"/>
                  </a:cubicBezTo>
                  <a:cubicBezTo>
                    <a:pt x="100" y="0"/>
                    <a:pt x="102" y="8"/>
                    <a:pt x="107" y="6"/>
                  </a:cubicBezTo>
                  <a:cubicBezTo>
                    <a:pt x="111" y="7"/>
                    <a:pt x="114" y="6"/>
                    <a:pt x="114" y="6"/>
                  </a:cubicBezTo>
                  <a:cubicBezTo>
                    <a:pt x="116" y="10"/>
                    <a:pt x="113" y="10"/>
                    <a:pt x="113" y="10"/>
                  </a:cubicBezTo>
                  <a:cubicBezTo>
                    <a:pt x="107" y="13"/>
                    <a:pt x="112" y="20"/>
                    <a:pt x="112" y="20"/>
                  </a:cubicBezTo>
                  <a:cubicBezTo>
                    <a:pt x="117" y="22"/>
                    <a:pt x="116" y="32"/>
                    <a:pt x="116" y="32"/>
                  </a:cubicBezTo>
                  <a:cubicBezTo>
                    <a:pt x="120" y="32"/>
                    <a:pt x="119" y="39"/>
                    <a:pt x="119" y="39"/>
                  </a:cubicBezTo>
                  <a:cubicBezTo>
                    <a:pt x="118" y="50"/>
                    <a:pt x="129" y="46"/>
                    <a:pt x="129" y="46"/>
                  </a:cubicBezTo>
                  <a:cubicBezTo>
                    <a:pt x="136" y="47"/>
                    <a:pt x="141" y="44"/>
                    <a:pt x="141" y="50"/>
                  </a:cubicBezTo>
                  <a:cubicBezTo>
                    <a:pt x="146" y="56"/>
                    <a:pt x="142" y="60"/>
                    <a:pt x="142" y="60"/>
                  </a:cubicBezTo>
                  <a:cubicBezTo>
                    <a:pt x="141" y="64"/>
                    <a:pt x="143" y="70"/>
                    <a:pt x="143" y="70"/>
                  </a:cubicBezTo>
                  <a:cubicBezTo>
                    <a:pt x="144" y="75"/>
                    <a:pt x="152" y="74"/>
                    <a:pt x="152" y="74"/>
                  </a:cubicBezTo>
                  <a:cubicBezTo>
                    <a:pt x="163" y="73"/>
                    <a:pt x="156" y="79"/>
                    <a:pt x="156" y="80"/>
                  </a:cubicBezTo>
                  <a:cubicBezTo>
                    <a:pt x="157" y="83"/>
                    <a:pt x="164" y="83"/>
                    <a:pt x="165" y="86"/>
                  </a:cubicBezTo>
                  <a:cubicBezTo>
                    <a:pt x="170" y="95"/>
                    <a:pt x="159" y="96"/>
                    <a:pt x="159" y="96"/>
                  </a:cubicBezTo>
                  <a:cubicBezTo>
                    <a:pt x="150" y="97"/>
                    <a:pt x="152" y="100"/>
                    <a:pt x="152" y="100"/>
                  </a:cubicBezTo>
                  <a:cubicBezTo>
                    <a:pt x="151" y="103"/>
                    <a:pt x="156" y="104"/>
                    <a:pt x="156" y="104"/>
                  </a:cubicBezTo>
                  <a:cubicBezTo>
                    <a:pt x="160" y="108"/>
                    <a:pt x="159" y="113"/>
                    <a:pt x="159" y="113"/>
                  </a:cubicBezTo>
                  <a:cubicBezTo>
                    <a:pt x="157" y="121"/>
                    <a:pt x="161" y="121"/>
                    <a:pt x="161" y="121"/>
                  </a:cubicBezTo>
                  <a:cubicBezTo>
                    <a:pt x="158" y="124"/>
                    <a:pt x="153" y="124"/>
                    <a:pt x="153" y="124"/>
                  </a:cubicBezTo>
                  <a:cubicBezTo>
                    <a:pt x="151" y="126"/>
                    <a:pt x="143" y="126"/>
                    <a:pt x="143" y="126"/>
                  </a:cubicBezTo>
                  <a:cubicBezTo>
                    <a:pt x="138" y="125"/>
                    <a:pt x="141" y="135"/>
                    <a:pt x="141" y="135"/>
                  </a:cubicBezTo>
                  <a:cubicBezTo>
                    <a:pt x="141" y="142"/>
                    <a:pt x="135" y="145"/>
                    <a:pt x="135" y="145"/>
                  </a:cubicBezTo>
                  <a:cubicBezTo>
                    <a:pt x="136" y="149"/>
                    <a:pt x="131" y="153"/>
                    <a:pt x="131" y="153"/>
                  </a:cubicBezTo>
                  <a:cubicBezTo>
                    <a:pt x="129" y="160"/>
                    <a:pt x="126" y="160"/>
                    <a:pt x="126" y="160"/>
                  </a:cubicBezTo>
                  <a:cubicBezTo>
                    <a:pt x="121" y="157"/>
                    <a:pt x="120" y="151"/>
                    <a:pt x="120" y="151"/>
                  </a:cubicBezTo>
                  <a:lnTo>
                    <a:pt x="116" y="146"/>
                  </a:lnTo>
                  <a:cubicBezTo>
                    <a:pt x="115" y="142"/>
                    <a:pt x="111" y="139"/>
                    <a:pt x="106" y="142"/>
                  </a:cubicBezTo>
                  <a:cubicBezTo>
                    <a:pt x="101" y="146"/>
                    <a:pt x="107" y="148"/>
                    <a:pt x="107" y="148"/>
                  </a:cubicBezTo>
                  <a:lnTo>
                    <a:pt x="113" y="152"/>
                  </a:lnTo>
                  <a:cubicBezTo>
                    <a:pt x="118" y="155"/>
                    <a:pt x="119" y="160"/>
                    <a:pt x="119" y="160"/>
                  </a:cubicBezTo>
                  <a:cubicBezTo>
                    <a:pt x="124" y="168"/>
                    <a:pt x="118" y="171"/>
                    <a:pt x="118" y="171"/>
                  </a:cubicBezTo>
                  <a:lnTo>
                    <a:pt x="105" y="185"/>
                  </a:lnTo>
                  <a:lnTo>
                    <a:pt x="105" y="180"/>
                  </a:lnTo>
                  <a:lnTo>
                    <a:pt x="99" y="183"/>
                  </a:lnTo>
                  <a:cubicBezTo>
                    <a:pt x="93" y="184"/>
                    <a:pt x="94" y="189"/>
                    <a:pt x="94" y="189"/>
                  </a:cubicBezTo>
                  <a:cubicBezTo>
                    <a:pt x="92" y="192"/>
                    <a:pt x="88" y="190"/>
                    <a:pt x="88" y="190"/>
                  </a:cubicBezTo>
                  <a:cubicBezTo>
                    <a:pt x="86" y="193"/>
                    <a:pt x="91" y="193"/>
                    <a:pt x="89" y="197"/>
                  </a:cubicBezTo>
                  <a:cubicBezTo>
                    <a:pt x="85" y="201"/>
                    <a:pt x="81" y="196"/>
                    <a:pt x="81" y="196"/>
                  </a:cubicBezTo>
                  <a:lnTo>
                    <a:pt x="81" y="190"/>
                  </a:lnTo>
                  <a:lnTo>
                    <a:pt x="80" y="185"/>
                  </a:lnTo>
                  <a:cubicBezTo>
                    <a:pt x="76" y="187"/>
                    <a:pt x="78" y="194"/>
                    <a:pt x="78" y="194"/>
                  </a:cubicBezTo>
                  <a:cubicBezTo>
                    <a:pt x="74" y="201"/>
                    <a:pt x="78" y="205"/>
                    <a:pt x="78" y="205"/>
                  </a:cubicBezTo>
                  <a:cubicBezTo>
                    <a:pt x="76" y="214"/>
                    <a:pt x="80" y="211"/>
                    <a:pt x="80" y="211"/>
                  </a:cubicBezTo>
                  <a:cubicBezTo>
                    <a:pt x="86" y="211"/>
                    <a:pt x="85" y="220"/>
                    <a:pt x="85" y="220"/>
                  </a:cubicBezTo>
                  <a:cubicBezTo>
                    <a:pt x="84" y="230"/>
                    <a:pt x="79" y="230"/>
                    <a:pt x="79" y="230"/>
                  </a:cubicBezTo>
                  <a:cubicBezTo>
                    <a:pt x="79" y="230"/>
                    <a:pt x="81" y="222"/>
                    <a:pt x="77" y="219"/>
                  </a:cubicBezTo>
                  <a:cubicBezTo>
                    <a:pt x="77" y="219"/>
                    <a:pt x="76" y="214"/>
                    <a:pt x="67" y="213"/>
                  </a:cubicBezTo>
                  <a:cubicBezTo>
                    <a:pt x="67" y="213"/>
                    <a:pt x="56" y="211"/>
                    <a:pt x="51" y="217"/>
                  </a:cubicBezTo>
                  <a:cubicBezTo>
                    <a:pt x="51" y="217"/>
                    <a:pt x="42" y="217"/>
                    <a:pt x="39" y="225"/>
                  </a:cubicBezTo>
                  <a:lnTo>
                    <a:pt x="34" y="221"/>
                  </a:lnTo>
                  <a:cubicBezTo>
                    <a:pt x="34" y="221"/>
                    <a:pt x="30" y="222"/>
                    <a:pt x="31" y="225"/>
                  </a:cubicBezTo>
                  <a:cubicBezTo>
                    <a:pt x="31" y="225"/>
                    <a:pt x="31" y="231"/>
                    <a:pt x="20" y="226"/>
                  </a:cubicBezTo>
                  <a:cubicBezTo>
                    <a:pt x="15" y="221"/>
                    <a:pt x="11" y="224"/>
                    <a:pt x="8" y="220"/>
                  </a:cubicBezTo>
                  <a:cubicBezTo>
                    <a:pt x="8" y="220"/>
                    <a:pt x="3" y="218"/>
                    <a:pt x="3" y="210"/>
                  </a:cubicBezTo>
                  <a:cubicBezTo>
                    <a:pt x="3" y="210"/>
                    <a:pt x="1" y="211"/>
                    <a:pt x="0" y="208"/>
                  </a:cubicBezTo>
                  <a:cubicBezTo>
                    <a:pt x="0" y="208"/>
                    <a:pt x="4" y="202"/>
                    <a:pt x="8" y="205"/>
                  </a:cubicBezTo>
                  <a:cubicBezTo>
                    <a:pt x="8" y="205"/>
                    <a:pt x="11" y="204"/>
                    <a:pt x="14" y="205"/>
                  </a:cubicBezTo>
                  <a:cubicBezTo>
                    <a:pt x="14" y="205"/>
                    <a:pt x="20" y="207"/>
                    <a:pt x="18" y="195"/>
                  </a:cubicBezTo>
                  <a:cubicBezTo>
                    <a:pt x="18" y="195"/>
                    <a:pt x="12" y="194"/>
                    <a:pt x="22" y="188"/>
                  </a:cubicBezTo>
                  <a:cubicBezTo>
                    <a:pt x="22" y="188"/>
                    <a:pt x="27" y="186"/>
                    <a:pt x="27" y="182"/>
                  </a:cubicBezTo>
                  <a:cubicBezTo>
                    <a:pt x="27" y="182"/>
                    <a:pt x="32" y="183"/>
                    <a:pt x="31" y="176"/>
                  </a:cubicBezTo>
                  <a:cubicBezTo>
                    <a:pt x="31" y="176"/>
                    <a:pt x="28" y="171"/>
                    <a:pt x="38" y="170"/>
                  </a:cubicBezTo>
                  <a:cubicBezTo>
                    <a:pt x="38" y="170"/>
                    <a:pt x="44" y="170"/>
                    <a:pt x="43" y="165"/>
                  </a:cubicBezTo>
                  <a:cubicBezTo>
                    <a:pt x="43" y="165"/>
                    <a:pt x="40" y="161"/>
                    <a:pt x="44" y="158"/>
                  </a:cubicBezTo>
                  <a:cubicBezTo>
                    <a:pt x="44" y="158"/>
                    <a:pt x="50" y="155"/>
                    <a:pt x="44" y="151"/>
                  </a:cubicBezTo>
                  <a:cubicBezTo>
                    <a:pt x="44" y="151"/>
                    <a:pt x="41" y="151"/>
                    <a:pt x="41" y="147"/>
                  </a:cubicBezTo>
                  <a:cubicBezTo>
                    <a:pt x="41" y="147"/>
                    <a:pt x="45" y="145"/>
                    <a:pt x="41" y="139"/>
                  </a:cubicBezTo>
                  <a:cubicBezTo>
                    <a:pt x="41" y="139"/>
                    <a:pt x="40" y="135"/>
                    <a:pt x="46" y="131"/>
                  </a:cubicBezTo>
                  <a:cubicBezTo>
                    <a:pt x="46" y="131"/>
                    <a:pt x="50" y="131"/>
                    <a:pt x="53" y="128"/>
                  </a:cubicBezTo>
                  <a:cubicBezTo>
                    <a:pt x="53" y="128"/>
                    <a:pt x="58" y="124"/>
                    <a:pt x="57" y="135"/>
                  </a:cubicBezTo>
                  <a:cubicBezTo>
                    <a:pt x="55" y="142"/>
                    <a:pt x="62" y="140"/>
                    <a:pt x="61" y="137"/>
                  </a:cubicBezTo>
                  <a:cubicBezTo>
                    <a:pt x="61" y="137"/>
                    <a:pt x="62" y="131"/>
                    <a:pt x="64" y="135"/>
                  </a:cubicBezTo>
                  <a:cubicBezTo>
                    <a:pt x="64" y="135"/>
                    <a:pt x="65" y="137"/>
                    <a:pt x="68" y="134"/>
                  </a:cubicBezTo>
                  <a:cubicBezTo>
                    <a:pt x="72" y="129"/>
                    <a:pt x="71" y="137"/>
                    <a:pt x="76" y="137"/>
                  </a:cubicBezTo>
                  <a:cubicBezTo>
                    <a:pt x="76" y="142"/>
                    <a:pt x="81" y="142"/>
                    <a:pt x="81" y="138"/>
                  </a:cubicBezTo>
                  <a:cubicBezTo>
                    <a:pt x="81" y="138"/>
                    <a:pt x="86" y="131"/>
                    <a:pt x="89" y="140"/>
                  </a:cubicBezTo>
                  <a:cubicBezTo>
                    <a:pt x="89" y="140"/>
                    <a:pt x="89" y="147"/>
                    <a:pt x="94" y="140"/>
                  </a:cubicBezTo>
                  <a:cubicBezTo>
                    <a:pt x="94" y="140"/>
                    <a:pt x="104" y="142"/>
                    <a:pt x="105" y="139"/>
                  </a:cubicBezTo>
                  <a:cubicBezTo>
                    <a:pt x="105" y="139"/>
                    <a:pt x="102" y="134"/>
                    <a:pt x="99" y="135"/>
                  </a:cubicBezTo>
                  <a:cubicBezTo>
                    <a:pt x="99" y="132"/>
                    <a:pt x="92" y="130"/>
                    <a:pt x="93" y="128"/>
                  </a:cubicBezTo>
                  <a:cubicBezTo>
                    <a:pt x="93" y="128"/>
                    <a:pt x="97" y="128"/>
                    <a:pt x="96" y="121"/>
                  </a:cubicBezTo>
                  <a:cubicBezTo>
                    <a:pt x="96" y="121"/>
                    <a:pt x="98" y="114"/>
                    <a:pt x="96" y="112"/>
                  </a:cubicBezTo>
                  <a:cubicBezTo>
                    <a:pt x="96" y="112"/>
                    <a:pt x="98" y="105"/>
                    <a:pt x="86" y="103"/>
                  </a:cubicBezTo>
                  <a:cubicBezTo>
                    <a:pt x="82" y="98"/>
                    <a:pt x="79" y="100"/>
                    <a:pt x="78" y="96"/>
                  </a:cubicBezTo>
                  <a:lnTo>
                    <a:pt x="79" y="87"/>
                  </a:lnTo>
                  <a:cubicBezTo>
                    <a:pt x="79" y="87"/>
                    <a:pt x="70" y="85"/>
                    <a:pt x="74" y="83"/>
                  </a:cubicBezTo>
                  <a:cubicBezTo>
                    <a:pt x="78" y="84"/>
                    <a:pt x="75" y="76"/>
                    <a:pt x="77" y="74"/>
                  </a:cubicBezTo>
                  <a:cubicBezTo>
                    <a:pt x="77" y="74"/>
                    <a:pt x="80" y="65"/>
                    <a:pt x="73" y="67"/>
                  </a:cubicBezTo>
                  <a:cubicBezTo>
                    <a:pt x="73" y="70"/>
                    <a:pt x="66" y="74"/>
                    <a:pt x="66" y="66"/>
                  </a:cubicBezTo>
                  <a:cubicBezTo>
                    <a:pt x="66" y="66"/>
                    <a:pt x="64" y="58"/>
                    <a:pt x="56" y="58"/>
                  </a:cubicBezTo>
                  <a:cubicBezTo>
                    <a:pt x="56" y="58"/>
                    <a:pt x="53" y="56"/>
                    <a:pt x="55" y="48"/>
                  </a:cubicBezTo>
                  <a:cubicBezTo>
                    <a:pt x="55" y="48"/>
                    <a:pt x="59" y="46"/>
                    <a:pt x="58" y="40"/>
                  </a:cubicBezTo>
                  <a:cubicBezTo>
                    <a:pt x="58" y="40"/>
                    <a:pt x="57" y="36"/>
                    <a:pt x="59" y="35"/>
                  </a:cubicBezTo>
                  <a:cubicBezTo>
                    <a:pt x="59" y="35"/>
                    <a:pt x="63" y="34"/>
                    <a:pt x="59" y="30"/>
                  </a:cubicBezTo>
                  <a:cubicBezTo>
                    <a:pt x="57" y="27"/>
                    <a:pt x="64" y="29"/>
                    <a:pt x="58" y="21"/>
                  </a:cubicBezTo>
                  <a:cubicBezTo>
                    <a:pt x="58" y="21"/>
                    <a:pt x="57" y="14"/>
                    <a:pt x="51" y="17"/>
                  </a:cubicBezTo>
                  <a:cubicBezTo>
                    <a:pt x="51" y="17"/>
                    <a:pt x="50" y="25"/>
                    <a:pt x="43" y="15"/>
                  </a:cubicBezTo>
                </a:path>
              </a:pathLst>
            </a:custGeom>
            <a:solidFill>
              <a:schemeClr val="accent1"/>
            </a:solidFill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72" name="Freeform 1157">
              <a:extLst>
                <a:ext uri="{FF2B5EF4-FFF2-40B4-BE49-F238E27FC236}">
                  <a16:creationId xmlns:a16="http://schemas.microsoft.com/office/drawing/2014/main" id="{0951F818-8AF5-CBCA-189D-C87FEA1C7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9443" y="3005964"/>
              <a:ext cx="861644" cy="1165288"/>
            </a:xfrm>
            <a:custGeom>
              <a:avLst/>
              <a:gdLst>
                <a:gd name="T0" fmla="*/ 15875 w 122"/>
                <a:gd name="T1" fmla="*/ 539750 h 165"/>
                <a:gd name="T2" fmla="*/ 15875 w 122"/>
                <a:gd name="T3" fmla="*/ 476250 h 165"/>
                <a:gd name="T4" fmla="*/ 15875 w 122"/>
                <a:gd name="T5" fmla="*/ 373062 h 165"/>
                <a:gd name="T6" fmla="*/ 31750 w 122"/>
                <a:gd name="T7" fmla="*/ 317500 h 165"/>
                <a:gd name="T8" fmla="*/ 39688 w 122"/>
                <a:gd name="T9" fmla="*/ 261937 h 165"/>
                <a:gd name="T10" fmla="*/ 31750 w 122"/>
                <a:gd name="T11" fmla="*/ 214312 h 165"/>
                <a:gd name="T12" fmla="*/ 55563 w 122"/>
                <a:gd name="T13" fmla="*/ 150812 h 165"/>
                <a:gd name="T14" fmla="*/ 47625 w 122"/>
                <a:gd name="T15" fmla="*/ 103187 h 165"/>
                <a:gd name="T16" fmla="*/ 71438 w 122"/>
                <a:gd name="T17" fmla="*/ 95250 h 165"/>
                <a:gd name="T18" fmla="*/ 103188 w 122"/>
                <a:gd name="T19" fmla="*/ 47625 h 165"/>
                <a:gd name="T20" fmla="*/ 127000 w 122"/>
                <a:gd name="T21" fmla="*/ 7937 h 165"/>
                <a:gd name="T22" fmla="*/ 190500 w 122"/>
                <a:gd name="T23" fmla="*/ 47625 h 165"/>
                <a:gd name="T24" fmla="*/ 246063 w 122"/>
                <a:gd name="T25" fmla="*/ 55562 h 165"/>
                <a:gd name="T26" fmla="*/ 325438 w 122"/>
                <a:gd name="T27" fmla="*/ 87312 h 165"/>
                <a:gd name="T28" fmla="*/ 388938 w 122"/>
                <a:gd name="T29" fmla="*/ 111125 h 165"/>
                <a:gd name="T30" fmla="*/ 460375 w 122"/>
                <a:gd name="T31" fmla="*/ 111125 h 165"/>
                <a:gd name="T32" fmla="*/ 515938 w 122"/>
                <a:gd name="T33" fmla="*/ 119062 h 165"/>
                <a:gd name="T34" fmla="*/ 587375 w 122"/>
                <a:gd name="T35" fmla="*/ 150812 h 165"/>
                <a:gd name="T36" fmla="*/ 642938 w 122"/>
                <a:gd name="T37" fmla="*/ 150812 h 165"/>
                <a:gd name="T38" fmla="*/ 674688 w 122"/>
                <a:gd name="T39" fmla="*/ 190500 h 165"/>
                <a:gd name="T40" fmla="*/ 738188 w 122"/>
                <a:gd name="T41" fmla="*/ 222250 h 165"/>
                <a:gd name="T42" fmla="*/ 809625 w 122"/>
                <a:gd name="T43" fmla="*/ 230187 h 165"/>
                <a:gd name="T44" fmla="*/ 873125 w 122"/>
                <a:gd name="T45" fmla="*/ 190500 h 165"/>
                <a:gd name="T46" fmla="*/ 873125 w 122"/>
                <a:gd name="T47" fmla="*/ 238125 h 165"/>
                <a:gd name="T48" fmla="*/ 889000 w 122"/>
                <a:gd name="T49" fmla="*/ 325437 h 165"/>
                <a:gd name="T50" fmla="*/ 865188 w 122"/>
                <a:gd name="T51" fmla="*/ 484187 h 165"/>
                <a:gd name="T52" fmla="*/ 785813 w 122"/>
                <a:gd name="T53" fmla="*/ 555625 h 165"/>
                <a:gd name="T54" fmla="*/ 777875 w 122"/>
                <a:gd name="T55" fmla="*/ 611187 h 165"/>
                <a:gd name="T56" fmla="*/ 841375 w 122"/>
                <a:gd name="T57" fmla="*/ 635000 h 165"/>
                <a:gd name="T58" fmla="*/ 881063 w 122"/>
                <a:gd name="T59" fmla="*/ 650875 h 165"/>
                <a:gd name="T60" fmla="*/ 904875 w 122"/>
                <a:gd name="T61" fmla="*/ 674687 h 165"/>
                <a:gd name="T62" fmla="*/ 849313 w 122"/>
                <a:gd name="T63" fmla="*/ 682625 h 165"/>
                <a:gd name="T64" fmla="*/ 793750 w 122"/>
                <a:gd name="T65" fmla="*/ 714375 h 165"/>
                <a:gd name="T66" fmla="*/ 777875 w 122"/>
                <a:gd name="T67" fmla="*/ 793750 h 165"/>
                <a:gd name="T68" fmla="*/ 817563 w 122"/>
                <a:gd name="T69" fmla="*/ 833437 h 165"/>
                <a:gd name="T70" fmla="*/ 873125 w 122"/>
                <a:gd name="T71" fmla="*/ 896937 h 165"/>
                <a:gd name="T72" fmla="*/ 889000 w 122"/>
                <a:gd name="T73" fmla="*/ 976312 h 165"/>
                <a:gd name="T74" fmla="*/ 904875 w 122"/>
                <a:gd name="T75" fmla="*/ 992187 h 165"/>
                <a:gd name="T76" fmla="*/ 904875 w 122"/>
                <a:gd name="T77" fmla="*/ 1071562 h 165"/>
                <a:gd name="T78" fmla="*/ 881063 w 122"/>
                <a:gd name="T79" fmla="*/ 1222375 h 165"/>
                <a:gd name="T80" fmla="*/ 833438 w 122"/>
                <a:gd name="T81" fmla="*/ 1293812 h 165"/>
                <a:gd name="T82" fmla="*/ 650875 w 122"/>
                <a:gd name="T83" fmla="*/ 1301750 h 165"/>
                <a:gd name="T84" fmla="*/ 571500 w 122"/>
                <a:gd name="T85" fmla="*/ 1309687 h 165"/>
                <a:gd name="T86" fmla="*/ 571500 w 122"/>
                <a:gd name="T87" fmla="*/ 1309687 h 165"/>
                <a:gd name="T88" fmla="*/ 571500 w 122"/>
                <a:gd name="T89" fmla="*/ 1270000 h 165"/>
                <a:gd name="T90" fmla="*/ 571500 w 122"/>
                <a:gd name="T91" fmla="*/ 1270000 h 165"/>
                <a:gd name="T92" fmla="*/ 515938 w 122"/>
                <a:gd name="T93" fmla="*/ 1214437 h 165"/>
                <a:gd name="T94" fmla="*/ 460375 w 122"/>
                <a:gd name="T95" fmla="*/ 1190625 h 165"/>
                <a:gd name="T96" fmla="*/ 373063 w 122"/>
                <a:gd name="T97" fmla="*/ 1150937 h 165"/>
                <a:gd name="T98" fmla="*/ 301625 w 122"/>
                <a:gd name="T99" fmla="*/ 1016000 h 165"/>
                <a:gd name="T100" fmla="*/ 246063 w 122"/>
                <a:gd name="T101" fmla="*/ 992187 h 165"/>
                <a:gd name="T102" fmla="*/ 214313 w 122"/>
                <a:gd name="T103" fmla="*/ 912812 h 165"/>
                <a:gd name="T104" fmla="*/ 206375 w 122"/>
                <a:gd name="T105" fmla="*/ 841375 h 165"/>
                <a:gd name="T106" fmla="*/ 198438 w 122"/>
                <a:gd name="T107" fmla="*/ 793750 h 165"/>
                <a:gd name="T108" fmla="*/ 182563 w 122"/>
                <a:gd name="T109" fmla="*/ 746125 h 165"/>
                <a:gd name="T110" fmla="*/ 134938 w 122"/>
                <a:gd name="T111" fmla="*/ 698500 h 165"/>
                <a:gd name="T112" fmla="*/ 103188 w 122"/>
                <a:gd name="T113" fmla="*/ 674687 h 165"/>
                <a:gd name="T114" fmla="*/ 103188 w 122"/>
                <a:gd name="T115" fmla="*/ 619125 h 165"/>
                <a:gd name="T116" fmla="*/ 63500 w 122"/>
                <a:gd name="T117" fmla="*/ 579437 h 165"/>
                <a:gd name="T118" fmla="*/ 31750 w 122"/>
                <a:gd name="T119" fmla="*/ 563562 h 165"/>
                <a:gd name="T120" fmla="*/ 15875 w 122"/>
                <a:gd name="T121" fmla="*/ 539750 h 165"/>
                <a:gd name="T122" fmla="*/ 15875 w 122"/>
                <a:gd name="T123" fmla="*/ 539750 h 165"/>
                <a:gd name="T124" fmla="*/ 15875 w 122"/>
                <a:gd name="T125" fmla="*/ 539750 h 16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22"/>
                <a:gd name="T190" fmla="*/ 0 h 165"/>
                <a:gd name="T191" fmla="*/ 122 w 122"/>
                <a:gd name="T192" fmla="*/ 165 h 16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22" h="165">
                  <a:moveTo>
                    <a:pt x="2" y="68"/>
                  </a:moveTo>
                  <a:cubicBezTo>
                    <a:pt x="2" y="68"/>
                    <a:pt x="6" y="61"/>
                    <a:pt x="2" y="60"/>
                  </a:cubicBezTo>
                  <a:cubicBezTo>
                    <a:pt x="2" y="60"/>
                    <a:pt x="0" y="57"/>
                    <a:pt x="2" y="47"/>
                  </a:cubicBezTo>
                  <a:cubicBezTo>
                    <a:pt x="2" y="47"/>
                    <a:pt x="6" y="45"/>
                    <a:pt x="4" y="40"/>
                  </a:cubicBezTo>
                  <a:cubicBezTo>
                    <a:pt x="1" y="36"/>
                    <a:pt x="7" y="35"/>
                    <a:pt x="5" y="33"/>
                  </a:cubicBezTo>
                  <a:cubicBezTo>
                    <a:pt x="5" y="33"/>
                    <a:pt x="2" y="30"/>
                    <a:pt x="4" y="27"/>
                  </a:cubicBezTo>
                  <a:cubicBezTo>
                    <a:pt x="6" y="26"/>
                    <a:pt x="3" y="22"/>
                    <a:pt x="7" y="19"/>
                  </a:cubicBezTo>
                  <a:cubicBezTo>
                    <a:pt x="7" y="19"/>
                    <a:pt x="3" y="16"/>
                    <a:pt x="6" y="13"/>
                  </a:cubicBezTo>
                  <a:cubicBezTo>
                    <a:pt x="7" y="13"/>
                    <a:pt x="8" y="13"/>
                    <a:pt x="9" y="12"/>
                  </a:cubicBezTo>
                  <a:cubicBezTo>
                    <a:pt x="9" y="12"/>
                    <a:pt x="13" y="13"/>
                    <a:pt x="13" y="6"/>
                  </a:cubicBezTo>
                  <a:cubicBezTo>
                    <a:pt x="13" y="6"/>
                    <a:pt x="11" y="0"/>
                    <a:pt x="16" y="1"/>
                  </a:cubicBezTo>
                  <a:cubicBezTo>
                    <a:pt x="21" y="0"/>
                    <a:pt x="19" y="4"/>
                    <a:pt x="24" y="6"/>
                  </a:cubicBezTo>
                  <a:cubicBezTo>
                    <a:pt x="24" y="6"/>
                    <a:pt x="29" y="9"/>
                    <a:pt x="31" y="7"/>
                  </a:cubicBezTo>
                  <a:cubicBezTo>
                    <a:pt x="31" y="7"/>
                    <a:pt x="37" y="4"/>
                    <a:pt x="41" y="11"/>
                  </a:cubicBezTo>
                  <a:cubicBezTo>
                    <a:pt x="41" y="11"/>
                    <a:pt x="49" y="12"/>
                    <a:pt x="49" y="14"/>
                  </a:cubicBezTo>
                  <a:cubicBezTo>
                    <a:pt x="49" y="14"/>
                    <a:pt x="53" y="20"/>
                    <a:pt x="58" y="14"/>
                  </a:cubicBezTo>
                  <a:cubicBezTo>
                    <a:pt x="58" y="14"/>
                    <a:pt x="61" y="3"/>
                    <a:pt x="65" y="15"/>
                  </a:cubicBezTo>
                  <a:cubicBezTo>
                    <a:pt x="65" y="15"/>
                    <a:pt x="68" y="22"/>
                    <a:pt x="74" y="19"/>
                  </a:cubicBezTo>
                  <a:cubicBezTo>
                    <a:pt x="74" y="19"/>
                    <a:pt x="76" y="16"/>
                    <a:pt x="81" y="19"/>
                  </a:cubicBezTo>
                  <a:cubicBezTo>
                    <a:pt x="81" y="19"/>
                    <a:pt x="86" y="18"/>
                    <a:pt x="85" y="24"/>
                  </a:cubicBezTo>
                  <a:cubicBezTo>
                    <a:pt x="85" y="24"/>
                    <a:pt x="86" y="29"/>
                    <a:pt x="93" y="28"/>
                  </a:cubicBezTo>
                  <a:cubicBezTo>
                    <a:pt x="93" y="28"/>
                    <a:pt x="96" y="34"/>
                    <a:pt x="102" y="29"/>
                  </a:cubicBezTo>
                  <a:cubicBezTo>
                    <a:pt x="102" y="29"/>
                    <a:pt x="104" y="24"/>
                    <a:pt x="110" y="24"/>
                  </a:cubicBezTo>
                  <a:cubicBezTo>
                    <a:pt x="110" y="24"/>
                    <a:pt x="117" y="26"/>
                    <a:pt x="110" y="30"/>
                  </a:cubicBezTo>
                  <a:cubicBezTo>
                    <a:pt x="110" y="30"/>
                    <a:pt x="104" y="32"/>
                    <a:pt x="112" y="41"/>
                  </a:cubicBezTo>
                  <a:cubicBezTo>
                    <a:pt x="112" y="41"/>
                    <a:pt x="122" y="49"/>
                    <a:pt x="109" y="61"/>
                  </a:cubicBezTo>
                  <a:cubicBezTo>
                    <a:pt x="108" y="72"/>
                    <a:pt x="102" y="67"/>
                    <a:pt x="99" y="70"/>
                  </a:cubicBezTo>
                  <a:cubicBezTo>
                    <a:pt x="99" y="70"/>
                    <a:pt x="93" y="71"/>
                    <a:pt x="98" y="77"/>
                  </a:cubicBezTo>
                  <a:cubicBezTo>
                    <a:pt x="98" y="77"/>
                    <a:pt x="98" y="82"/>
                    <a:pt x="106" y="80"/>
                  </a:cubicBezTo>
                  <a:cubicBezTo>
                    <a:pt x="106" y="80"/>
                    <a:pt x="109" y="80"/>
                    <a:pt x="111" y="82"/>
                  </a:cubicBezTo>
                  <a:cubicBezTo>
                    <a:pt x="116" y="76"/>
                    <a:pt x="119" y="82"/>
                    <a:pt x="114" y="85"/>
                  </a:cubicBezTo>
                  <a:cubicBezTo>
                    <a:pt x="114" y="85"/>
                    <a:pt x="115" y="88"/>
                    <a:pt x="107" y="86"/>
                  </a:cubicBezTo>
                  <a:cubicBezTo>
                    <a:pt x="107" y="86"/>
                    <a:pt x="104" y="83"/>
                    <a:pt x="100" y="90"/>
                  </a:cubicBezTo>
                  <a:cubicBezTo>
                    <a:pt x="100" y="90"/>
                    <a:pt x="98" y="94"/>
                    <a:pt x="98" y="100"/>
                  </a:cubicBezTo>
                  <a:cubicBezTo>
                    <a:pt x="98" y="100"/>
                    <a:pt x="96" y="106"/>
                    <a:pt x="103" y="105"/>
                  </a:cubicBezTo>
                  <a:cubicBezTo>
                    <a:pt x="103" y="105"/>
                    <a:pt x="110" y="103"/>
                    <a:pt x="110" y="113"/>
                  </a:cubicBezTo>
                  <a:cubicBezTo>
                    <a:pt x="110" y="113"/>
                    <a:pt x="115" y="120"/>
                    <a:pt x="112" y="123"/>
                  </a:cubicBezTo>
                  <a:cubicBezTo>
                    <a:pt x="112" y="123"/>
                    <a:pt x="107" y="124"/>
                    <a:pt x="114" y="125"/>
                  </a:cubicBezTo>
                  <a:cubicBezTo>
                    <a:pt x="114" y="125"/>
                    <a:pt x="122" y="122"/>
                    <a:pt x="114" y="135"/>
                  </a:cubicBezTo>
                  <a:cubicBezTo>
                    <a:pt x="114" y="135"/>
                    <a:pt x="111" y="141"/>
                    <a:pt x="111" y="154"/>
                  </a:cubicBezTo>
                  <a:cubicBezTo>
                    <a:pt x="111" y="164"/>
                    <a:pt x="112" y="163"/>
                    <a:pt x="105" y="163"/>
                  </a:cubicBezTo>
                  <a:cubicBezTo>
                    <a:pt x="105" y="163"/>
                    <a:pt x="94" y="162"/>
                    <a:pt x="82" y="164"/>
                  </a:cubicBezTo>
                  <a:cubicBezTo>
                    <a:pt x="82" y="164"/>
                    <a:pt x="78" y="165"/>
                    <a:pt x="72" y="165"/>
                  </a:cubicBezTo>
                  <a:lnTo>
                    <a:pt x="72" y="160"/>
                  </a:lnTo>
                  <a:cubicBezTo>
                    <a:pt x="72" y="160"/>
                    <a:pt x="74" y="153"/>
                    <a:pt x="65" y="153"/>
                  </a:cubicBezTo>
                  <a:cubicBezTo>
                    <a:pt x="65" y="153"/>
                    <a:pt x="60" y="155"/>
                    <a:pt x="58" y="150"/>
                  </a:cubicBezTo>
                  <a:cubicBezTo>
                    <a:pt x="58" y="150"/>
                    <a:pt x="62" y="147"/>
                    <a:pt x="47" y="145"/>
                  </a:cubicBezTo>
                  <a:cubicBezTo>
                    <a:pt x="47" y="145"/>
                    <a:pt x="49" y="138"/>
                    <a:pt x="38" y="128"/>
                  </a:cubicBezTo>
                  <a:cubicBezTo>
                    <a:pt x="38" y="128"/>
                    <a:pt x="39" y="125"/>
                    <a:pt x="31" y="125"/>
                  </a:cubicBezTo>
                  <a:cubicBezTo>
                    <a:pt x="31" y="118"/>
                    <a:pt x="27" y="120"/>
                    <a:pt x="27" y="115"/>
                  </a:cubicBezTo>
                  <a:cubicBezTo>
                    <a:pt x="27" y="115"/>
                    <a:pt x="24" y="113"/>
                    <a:pt x="26" y="106"/>
                  </a:cubicBezTo>
                  <a:cubicBezTo>
                    <a:pt x="29" y="104"/>
                    <a:pt x="24" y="103"/>
                    <a:pt x="25" y="100"/>
                  </a:cubicBezTo>
                  <a:cubicBezTo>
                    <a:pt x="25" y="100"/>
                    <a:pt x="31" y="100"/>
                    <a:pt x="23" y="94"/>
                  </a:cubicBezTo>
                  <a:cubicBezTo>
                    <a:pt x="23" y="94"/>
                    <a:pt x="24" y="88"/>
                    <a:pt x="17" y="88"/>
                  </a:cubicBezTo>
                  <a:cubicBezTo>
                    <a:pt x="17" y="88"/>
                    <a:pt x="7" y="89"/>
                    <a:pt x="13" y="85"/>
                  </a:cubicBezTo>
                  <a:cubicBezTo>
                    <a:pt x="17" y="83"/>
                    <a:pt x="12" y="82"/>
                    <a:pt x="13" y="78"/>
                  </a:cubicBezTo>
                  <a:cubicBezTo>
                    <a:pt x="13" y="78"/>
                    <a:pt x="14" y="70"/>
                    <a:pt x="8" y="73"/>
                  </a:cubicBezTo>
                  <a:cubicBezTo>
                    <a:pt x="8" y="73"/>
                    <a:pt x="4" y="74"/>
                    <a:pt x="4" y="71"/>
                  </a:cubicBezTo>
                  <a:cubicBezTo>
                    <a:pt x="4" y="71"/>
                    <a:pt x="6" y="68"/>
                    <a:pt x="2" y="68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73" name="Freeform 1158">
              <a:extLst>
                <a:ext uri="{FF2B5EF4-FFF2-40B4-BE49-F238E27FC236}">
                  <a16:creationId xmlns:a16="http://schemas.microsoft.com/office/drawing/2014/main" id="{0E69F01E-E446-2102-D165-32DD9B068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685" y="3465018"/>
              <a:ext cx="946396" cy="1313596"/>
            </a:xfrm>
            <a:custGeom>
              <a:avLst/>
              <a:gdLst>
                <a:gd name="T0" fmla="*/ 87313 w 134"/>
                <a:gd name="T1" fmla="*/ 452438 h 186"/>
                <a:gd name="T2" fmla="*/ 142875 w 134"/>
                <a:gd name="T3" fmla="*/ 452438 h 186"/>
                <a:gd name="T4" fmla="*/ 134938 w 134"/>
                <a:gd name="T5" fmla="*/ 611188 h 186"/>
                <a:gd name="T6" fmla="*/ 158750 w 134"/>
                <a:gd name="T7" fmla="*/ 690563 h 186"/>
                <a:gd name="T8" fmla="*/ 111125 w 134"/>
                <a:gd name="T9" fmla="*/ 777875 h 186"/>
                <a:gd name="T10" fmla="*/ 47625 w 134"/>
                <a:gd name="T11" fmla="*/ 825500 h 186"/>
                <a:gd name="T12" fmla="*/ 47625 w 134"/>
                <a:gd name="T13" fmla="*/ 912813 h 186"/>
                <a:gd name="T14" fmla="*/ 95250 w 134"/>
                <a:gd name="T15" fmla="*/ 976313 h 186"/>
                <a:gd name="T16" fmla="*/ 182563 w 134"/>
                <a:gd name="T17" fmla="*/ 1063625 h 186"/>
                <a:gd name="T18" fmla="*/ 285750 w 134"/>
                <a:gd name="T19" fmla="*/ 1111250 h 186"/>
                <a:gd name="T20" fmla="*/ 301625 w 134"/>
                <a:gd name="T21" fmla="*/ 1174750 h 186"/>
                <a:gd name="T22" fmla="*/ 254000 w 134"/>
                <a:gd name="T23" fmla="*/ 1214438 h 186"/>
                <a:gd name="T24" fmla="*/ 198438 w 134"/>
                <a:gd name="T25" fmla="*/ 1301750 h 186"/>
                <a:gd name="T26" fmla="*/ 317500 w 134"/>
                <a:gd name="T27" fmla="*/ 1397000 h 186"/>
                <a:gd name="T28" fmla="*/ 293688 w 134"/>
                <a:gd name="T29" fmla="*/ 1476375 h 186"/>
                <a:gd name="T30" fmla="*/ 412750 w 134"/>
                <a:gd name="T31" fmla="*/ 1460500 h 186"/>
                <a:gd name="T32" fmla="*/ 738188 w 134"/>
                <a:gd name="T33" fmla="*/ 1309688 h 186"/>
                <a:gd name="T34" fmla="*/ 769938 w 134"/>
                <a:gd name="T35" fmla="*/ 1206500 h 186"/>
                <a:gd name="T36" fmla="*/ 769938 w 134"/>
                <a:gd name="T37" fmla="*/ 1119188 h 186"/>
                <a:gd name="T38" fmla="*/ 889000 w 134"/>
                <a:gd name="T39" fmla="*/ 944563 h 186"/>
                <a:gd name="T40" fmla="*/ 952500 w 134"/>
                <a:gd name="T41" fmla="*/ 857250 h 186"/>
                <a:gd name="T42" fmla="*/ 1047750 w 134"/>
                <a:gd name="T43" fmla="*/ 793750 h 186"/>
                <a:gd name="T44" fmla="*/ 1047750 w 134"/>
                <a:gd name="T45" fmla="*/ 754063 h 186"/>
                <a:gd name="T46" fmla="*/ 992188 w 134"/>
                <a:gd name="T47" fmla="*/ 698500 h 186"/>
                <a:gd name="T48" fmla="*/ 849313 w 134"/>
                <a:gd name="T49" fmla="*/ 635000 h 186"/>
                <a:gd name="T50" fmla="*/ 722313 w 134"/>
                <a:gd name="T51" fmla="*/ 476250 h 186"/>
                <a:gd name="T52" fmla="*/ 682625 w 134"/>
                <a:gd name="T53" fmla="*/ 325438 h 186"/>
                <a:gd name="T54" fmla="*/ 658813 w 134"/>
                <a:gd name="T55" fmla="*/ 230188 h 186"/>
                <a:gd name="T56" fmla="*/ 579438 w 134"/>
                <a:gd name="T57" fmla="*/ 158750 h 186"/>
                <a:gd name="T58" fmla="*/ 539750 w 134"/>
                <a:gd name="T59" fmla="*/ 63500 h 186"/>
                <a:gd name="T60" fmla="*/ 484188 w 134"/>
                <a:gd name="T61" fmla="*/ 23813 h 186"/>
                <a:gd name="T62" fmla="*/ 357188 w 134"/>
                <a:gd name="T63" fmla="*/ 47625 h 186"/>
                <a:gd name="T64" fmla="*/ 341313 w 134"/>
                <a:gd name="T65" fmla="*/ 111125 h 186"/>
                <a:gd name="T66" fmla="*/ 261938 w 134"/>
                <a:gd name="T67" fmla="*/ 238125 h 186"/>
                <a:gd name="T68" fmla="*/ 190500 w 134"/>
                <a:gd name="T69" fmla="*/ 293688 h 186"/>
                <a:gd name="T70" fmla="*/ 127000 w 134"/>
                <a:gd name="T71" fmla="*/ 309563 h 186"/>
                <a:gd name="T72" fmla="*/ 47625 w 134"/>
                <a:gd name="T73" fmla="*/ 349250 h 186"/>
                <a:gd name="T74" fmla="*/ 63500 w 134"/>
                <a:gd name="T75" fmla="*/ 428625 h 1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4"/>
                <a:gd name="T115" fmla="*/ 0 h 186"/>
                <a:gd name="T116" fmla="*/ 134 w 134"/>
                <a:gd name="T117" fmla="*/ 186 h 18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4" h="186">
                  <a:moveTo>
                    <a:pt x="8" y="54"/>
                  </a:moveTo>
                  <a:cubicBezTo>
                    <a:pt x="14" y="56"/>
                    <a:pt x="11" y="57"/>
                    <a:pt x="11" y="57"/>
                  </a:cubicBezTo>
                  <a:cubicBezTo>
                    <a:pt x="8" y="60"/>
                    <a:pt x="13" y="62"/>
                    <a:pt x="13" y="58"/>
                  </a:cubicBezTo>
                  <a:cubicBezTo>
                    <a:pt x="15" y="56"/>
                    <a:pt x="18" y="57"/>
                    <a:pt x="18" y="57"/>
                  </a:cubicBezTo>
                  <a:cubicBezTo>
                    <a:pt x="19" y="59"/>
                    <a:pt x="14" y="61"/>
                    <a:pt x="15" y="66"/>
                  </a:cubicBezTo>
                  <a:cubicBezTo>
                    <a:pt x="13" y="77"/>
                    <a:pt x="17" y="77"/>
                    <a:pt x="17" y="77"/>
                  </a:cubicBezTo>
                  <a:cubicBezTo>
                    <a:pt x="21" y="78"/>
                    <a:pt x="22" y="82"/>
                    <a:pt x="22" y="82"/>
                  </a:cubicBezTo>
                  <a:cubicBezTo>
                    <a:pt x="23" y="86"/>
                    <a:pt x="20" y="87"/>
                    <a:pt x="20" y="87"/>
                  </a:cubicBezTo>
                  <a:cubicBezTo>
                    <a:pt x="17" y="88"/>
                    <a:pt x="20" y="94"/>
                    <a:pt x="20" y="94"/>
                  </a:cubicBezTo>
                  <a:cubicBezTo>
                    <a:pt x="23" y="101"/>
                    <a:pt x="14" y="98"/>
                    <a:pt x="14" y="98"/>
                  </a:cubicBezTo>
                  <a:cubicBezTo>
                    <a:pt x="9" y="91"/>
                    <a:pt x="6" y="96"/>
                    <a:pt x="6" y="96"/>
                  </a:cubicBezTo>
                  <a:cubicBezTo>
                    <a:pt x="2" y="101"/>
                    <a:pt x="6" y="104"/>
                    <a:pt x="6" y="104"/>
                  </a:cubicBezTo>
                  <a:cubicBezTo>
                    <a:pt x="10" y="107"/>
                    <a:pt x="6" y="108"/>
                    <a:pt x="6" y="108"/>
                  </a:cubicBezTo>
                  <a:cubicBezTo>
                    <a:pt x="0" y="109"/>
                    <a:pt x="6" y="115"/>
                    <a:pt x="6" y="115"/>
                  </a:cubicBezTo>
                  <a:cubicBezTo>
                    <a:pt x="7" y="119"/>
                    <a:pt x="9" y="118"/>
                    <a:pt x="9" y="118"/>
                  </a:cubicBezTo>
                  <a:cubicBezTo>
                    <a:pt x="12" y="118"/>
                    <a:pt x="12" y="123"/>
                    <a:pt x="12" y="123"/>
                  </a:cubicBezTo>
                  <a:cubicBezTo>
                    <a:pt x="14" y="126"/>
                    <a:pt x="16" y="131"/>
                    <a:pt x="16" y="131"/>
                  </a:cubicBezTo>
                  <a:cubicBezTo>
                    <a:pt x="21" y="130"/>
                    <a:pt x="23" y="134"/>
                    <a:pt x="23" y="134"/>
                  </a:cubicBezTo>
                  <a:cubicBezTo>
                    <a:pt x="24" y="136"/>
                    <a:pt x="26" y="131"/>
                    <a:pt x="29" y="136"/>
                  </a:cubicBezTo>
                  <a:cubicBezTo>
                    <a:pt x="32" y="136"/>
                    <a:pt x="36" y="140"/>
                    <a:pt x="36" y="140"/>
                  </a:cubicBezTo>
                  <a:cubicBezTo>
                    <a:pt x="43" y="140"/>
                    <a:pt x="41" y="144"/>
                    <a:pt x="41" y="144"/>
                  </a:cubicBezTo>
                  <a:cubicBezTo>
                    <a:pt x="33" y="146"/>
                    <a:pt x="38" y="148"/>
                    <a:pt x="38" y="148"/>
                  </a:cubicBezTo>
                  <a:cubicBezTo>
                    <a:pt x="38" y="148"/>
                    <a:pt x="42" y="149"/>
                    <a:pt x="36" y="150"/>
                  </a:cubicBezTo>
                  <a:cubicBezTo>
                    <a:pt x="33" y="150"/>
                    <a:pt x="37" y="155"/>
                    <a:pt x="32" y="153"/>
                  </a:cubicBezTo>
                  <a:cubicBezTo>
                    <a:pt x="23" y="154"/>
                    <a:pt x="27" y="158"/>
                    <a:pt x="27" y="158"/>
                  </a:cubicBezTo>
                  <a:cubicBezTo>
                    <a:pt x="29" y="162"/>
                    <a:pt x="25" y="164"/>
                    <a:pt x="25" y="164"/>
                  </a:cubicBezTo>
                  <a:cubicBezTo>
                    <a:pt x="33" y="165"/>
                    <a:pt x="33" y="172"/>
                    <a:pt x="33" y="172"/>
                  </a:cubicBezTo>
                  <a:cubicBezTo>
                    <a:pt x="42" y="172"/>
                    <a:pt x="40" y="176"/>
                    <a:pt x="40" y="176"/>
                  </a:cubicBezTo>
                  <a:cubicBezTo>
                    <a:pt x="41" y="179"/>
                    <a:pt x="38" y="180"/>
                    <a:pt x="38" y="180"/>
                  </a:cubicBezTo>
                  <a:cubicBezTo>
                    <a:pt x="30" y="181"/>
                    <a:pt x="37" y="186"/>
                    <a:pt x="37" y="186"/>
                  </a:cubicBezTo>
                  <a:cubicBezTo>
                    <a:pt x="38" y="186"/>
                    <a:pt x="39" y="185"/>
                    <a:pt x="40" y="184"/>
                  </a:cubicBezTo>
                  <a:cubicBezTo>
                    <a:pt x="40" y="184"/>
                    <a:pt x="47" y="178"/>
                    <a:pt x="52" y="184"/>
                  </a:cubicBezTo>
                  <a:cubicBezTo>
                    <a:pt x="52" y="184"/>
                    <a:pt x="55" y="176"/>
                    <a:pt x="64" y="168"/>
                  </a:cubicBezTo>
                  <a:cubicBezTo>
                    <a:pt x="76" y="169"/>
                    <a:pt x="81" y="163"/>
                    <a:pt x="93" y="165"/>
                  </a:cubicBezTo>
                  <a:cubicBezTo>
                    <a:pt x="93" y="165"/>
                    <a:pt x="95" y="164"/>
                    <a:pt x="97" y="163"/>
                  </a:cubicBezTo>
                  <a:cubicBezTo>
                    <a:pt x="97" y="158"/>
                    <a:pt x="94" y="156"/>
                    <a:pt x="97" y="152"/>
                  </a:cubicBezTo>
                  <a:cubicBezTo>
                    <a:pt x="100" y="151"/>
                    <a:pt x="102" y="147"/>
                    <a:pt x="97" y="147"/>
                  </a:cubicBezTo>
                  <a:cubicBezTo>
                    <a:pt x="93" y="147"/>
                    <a:pt x="97" y="141"/>
                    <a:pt x="97" y="141"/>
                  </a:cubicBezTo>
                  <a:cubicBezTo>
                    <a:pt x="99" y="138"/>
                    <a:pt x="95" y="127"/>
                    <a:pt x="101" y="122"/>
                  </a:cubicBezTo>
                  <a:cubicBezTo>
                    <a:pt x="105" y="119"/>
                    <a:pt x="108" y="121"/>
                    <a:pt x="112" y="119"/>
                  </a:cubicBezTo>
                  <a:cubicBezTo>
                    <a:pt x="117" y="117"/>
                    <a:pt x="113" y="114"/>
                    <a:pt x="117" y="114"/>
                  </a:cubicBezTo>
                  <a:cubicBezTo>
                    <a:pt x="122" y="115"/>
                    <a:pt x="120" y="108"/>
                    <a:pt x="120" y="108"/>
                  </a:cubicBezTo>
                  <a:cubicBezTo>
                    <a:pt x="120" y="98"/>
                    <a:pt x="128" y="100"/>
                    <a:pt x="128" y="100"/>
                  </a:cubicBezTo>
                  <a:cubicBezTo>
                    <a:pt x="129" y="100"/>
                    <a:pt x="131" y="100"/>
                    <a:pt x="132" y="100"/>
                  </a:cubicBezTo>
                  <a:lnTo>
                    <a:pt x="132" y="95"/>
                  </a:lnTo>
                  <a:cubicBezTo>
                    <a:pt x="132" y="95"/>
                    <a:pt x="134" y="88"/>
                    <a:pt x="125" y="88"/>
                  </a:cubicBezTo>
                  <a:cubicBezTo>
                    <a:pt x="125" y="88"/>
                    <a:pt x="120" y="90"/>
                    <a:pt x="118" y="85"/>
                  </a:cubicBezTo>
                  <a:cubicBezTo>
                    <a:pt x="118" y="85"/>
                    <a:pt x="122" y="82"/>
                    <a:pt x="107" y="80"/>
                  </a:cubicBezTo>
                  <a:cubicBezTo>
                    <a:pt x="107" y="80"/>
                    <a:pt x="109" y="73"/>
                    <a:pt x="98" y="63"/>
                  </a:cubicBezTo>
                  <a:cubicBezTo>
                    <a:pt x="98" y="63"/>
                    <a:pt x="99" y="60"/>
                    <a:pt x="91" y="60"/>
                  </a:cubicBezTo>
                  <a:cubicBezTo>
                    <a:pt x="91" y="53"/>
                    <a:pt x="87" y="55"/>
                    <a:pt x="87" y="50"/>
                  </a:cubicBezTo>
                  <a:cubicBezTo>
                    <a:pt x="87" y="50"/>
                    <a:pt x="84" y="48"/>
                    <a:pt x="86" y="41"/>
                  </a:cubicBezTo>
                  <a:cubicBezTo>
                    <a:pt x="89" y="39"/>
                    <a:pt x="84" y="38"/>
                    <a:pt x="85" y="35"/>
                  </a:cubicBezTo>
                  <a:cubicBezTo>
                    <a:pt x="85" y="35"/>
                    <a:pt x="91" y="35"/>
                    <a:pt x="83" y="29"/>
                  </a:cubicBezTo>
                  <a:cubicBezTo>
                    <a:pt x="83" y="29"/>
                    <a:pt x="84" y="23"/>
                    <a:pt x="77" y="23"/>
                  </a:cubicBezTo>
                  <a:cubicBezTo>
                    <a:pt x="77" y="23"/>
                    <a:pt x="67" y="24"/>
                    <a:pt x="73" y="20"/>
                  </a:cubicBezTo>
                  <a:cubicBezTo>
                    <a:pt x="77" y="18"/>
                    <a:pt x="72" y="17"/>
                    <a:pt x="73" y="13"/>
                  </a:cubicBezTo>
                  <a:cubicBezTo>
                    <a:pt x="73" y="13"/>
                    <a:pt x="74" y="5"/>
                    <a:pt x="68" y="8"/>
                  </a:cubicBezTo>
                  <a:cubicBezTo>
                    <a:pt x="68" y="8"/>
                    <a:pt x="64" y="9"/>
                    <a:pt x="65" y="6"/>
                  </a:cubicBezTo>
                  <a:cubicBezTo>
                    <a:pt x="65" y="6"/>
                    <a:pt x="66" y="3"/>
                    <a:pt x="61" y="3"/>
                  </a:cubicBezTo>
                  <a:cubicBezTo>
                    <a:pt x="58" y="5"/>
                    <a:pt x="52" y="4"/>
                    <a:pt x="52" y="4"/>
                  </a:cubicBezTo>
                  <a:cubicBezTo>
                    <a:pt x="47" y="0"/>
                    <a:pt x="45" y="6"/>
                    <a:pt x="45" y="6"/>
                  </a:cubicBezTo>
                  <a:cubicBezTo>
                    <a:pt x="44" y="9"/>
                    <a:pt x="49" y="5"/>
                    <a:pt x="49" y="8"/>
                  </a:cubicBezTo>
                  <a:cubicBezTo>
                    <a:pt x="49" y="12"/>
                    <a:pt x="43" y="14"/>
                    <a:pt x="43" y="14"/>
                  </a:cubicBezTo>
                  <a:cubicBezTo>
                    <a:pt x="35" y="20"/>
                    <a:pt x="35" y="24"/>
                    <a:pt x="35" y="24"/>
                  </a:cubicBezTo>
                  <a:cubicBezTo>
                    <a:pt x="38" y="28"/>
                    <a:pt x="33" y="30"/>
                    <a:pt x="33" y="30"/>
                  </a:cubicBezTo>
                  <a:cubicBezTo>
                    <a:pt x="27" y="33"/>
                    <a:pt x="29" y="37"/>
                    <a:pt x="29" y="37"/>
                  </a:cubicBezTo>
                  <a:cubicBezTo>
                    <a:pt x="27" y="34"/>
                    <a:pt x="24" y="37"/>
                    <a:pt x="24" y="37"/>
                  </a:cubicBezTo>
                  <a:cubicBezTo>
                    <a:pt x="20" y="39"/>
                    <a:pt x="22" y="41"/>
                    <a:pt x="22" y="41"/>
                  </a:cubicBezTo>
                  <a:cubicBezTo>
                    <a:pt x="18" y="41"/>
                    <a:pt x="16" y="39"/>
                    <a:pt x="16" y="39"/>
                  </a:cubicBezTo>
                  <a:cubicBezTo>
                    <a:pt x="14" y="39"/>
                    <a:pt x="14" y="43"/>
                    <a:pt x="12" y="42"/>
                  </a:cubicBezTo>
                  <a:cubicBezTo>
                    <a:pt x="5" y="39"/>
                    <a:pt x="6" y="44"/>
                    <a:pt x="6" y="44"/>
                  </a:cubicBezTo>
                  <a:cubicBezTo>
                    <a:pt x="6" y="48"/>
                    <a:pt x="9" y="47"/>
                    <a:pt x="8" y="54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78" name="Freeform 1160">
              <a:extLst>
                <a:ext uri="{FF2B5EF4-FFF2-40B4-BE49-F238E27FC236}">
                  <a16:creationId xmlns:a16="http://schemas.microsoft.com/office/drawing/2014/main" id="{C1409A2F-106B-6033-C268-E17BF14895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0324" y="4114754"/>
              <a:ext cx="1101773" cy="911042"/>
            </a:xfrm>
            <a:custGeom>
              <a:avLst/>
              <a:gdLst>
                <a:gd name="T0" fmla="*/ 412750 w 156"/>
                <a:gd name="T1" fmla="*/ 928687 h 129"/>
                <a:gd name="T2" fmla="*/ 357188 w 156"/>
                <a:gd name="T3" fmla="*/ 825500 h 129"/>
                <a:gd name="T4" fmla="*/ 460375 w 156"/>
                <a:gd name="T5" fmla="*/ 714375 h 129"/>
                <a:gd name="T6" fmla="*/ 357188 w 156"/>
                <a:gd name="T7" fmla="*/ 619125 h 129"/>
                <a:gd name="T8" fmla="*/ 277813 w 156"/>
                <a:gd name="T9" fmla="*/ 508000 h 129"/>
                <a:gd name="T10" fmla="*/ 174625 w 156"/>
                <a:gd name="T11" fmla="*/ 396875 h 129"/>
                <a:gd name="T12" fmla="*/ 71438 w 156"/>
                <a:gd name="T13" fmla="*/ 285750 h 129"/>
                <a:gd name="T14" fmla="*/ 47625 w 156"/>
                <a:gd name="T15" fmla="*/ 111125 h 129"/>
                <a:gd name="T16" fmla="*/ 166688 w 156"/>
                <a:gd name="T17" fmla="*/ 71437 h 129"/>
                <a:gd name="T18" fmla="*/ 325438 w 156"/>
                <a:gd name="T19" fmla="*/ 55562 h 129"/>
                <a:gd name="T20" fmla="*/ 492125 w 156"/>
                <a:gd name="T21" fmla="*/ 95250 h 129"/>
                <a:gd name="T22" fmla="*/ 611188 w 156"/>
                <a:gd name="T23" fmla="*/ 111125 h 129"/>
                <a:gd name="T24" fmla="*/ 666750 w 156"/>
                <a:gd name="T25" fmla="*/ 198437 h 129"/>
                <a:gd name="T26" fmla="*/ 730250 w 156"/>
                <a:gd name="T27" fmla="*/ 293687 h 129"/>
                <a:gd name="T28" fmla="*/ 841375 w 156"/>
                <a:gd name="T29" fmla="*/ 293687 h 129"/>
                <a:gd name="T30" fmla="*/ 1023938 w 156"/>
                <a:gd name="T31" fmla="*/ 230187 h 129"/>
                <a:gd name="T32" fmla="*/ 1174750 w 156"/>
                <a:gd name="T33" fmla="*/ 158750 h 129"/>
                <a:gd name="T34" fmla="*/ 1182688 w 156"/>
                <a:gd name="T35" fmla="*/ 254000 h 129"/>
                <a:gd name="T36" fmla="*/ 1166813 w 156"/>
                <a:gd name="T37" fmla="*/ 373062 h 129"/>
                <a:gd name="T38" fmla="*/ 1214438 w 156"/>
                <a:gd name="T39" fmla="*/ 476250 h 129"/>
                <a:gd name="T40" fmla="*/ 1174750 w 156"/>
                <a:gd name="T41" fmla="*/ 531812 h 129"/>
                <a:gd name="T42" fmla="*/ 1214438 w 156"/>
                <a:gd name="T43" fmla="*/ 611187 h 129"/>
                <a:gd name="T44" fmla="*/ 1143000 w 156"/>
                <a:gd name="T45" fmla="*/ 730250 h 129"/>
                <a:gd name="T46" fmla="*/ 1150938 w 156"/>
                <a:gd name="T47" fmla="*/ 785812 h 129"/>
                <a:gd name="T48" fmla="*/ 1103313 w 156"/>
                <a:gd name="T49" fmla="*/ 841375 h 129"/>
                <a:gd name="T50" fmla="*/ 1047750 w 156"/>
                <a:gd name="T51" fmla="*/ 873125 h 129"/>
                <a:gd name="T52" fmla="*/ 904875 w 156"/>
                <a:gd name="T53" fmla="*/ 896937 h 129"/>
                <a:gd name="T54" fmla="*/ 754063 w 156"/>
                <a:gd name="T55" fmla="*/ 944562 h 129"/>
                <a:gd name="T56" fmla="*/ 722313 w 156"/>
                <a:gd name="T57" fmla="*/ 920750 h 129"/>
                <a:gd name="T58" fmla="*/ 642938 w 156"/>
                <a:gd name="T59" fmla="*/ 992187 h 129"/>
                <a:gd name="T60" fmla="*/ 563563 w 156"/>
                <a:gd name="T61" fmla="*/ 1008062 h 129"/>
                <a:gd name="T62" fmla="*/ 587375 w 156"/>
                <a:gd name="T63" fmla="*/ 920750 h 129"/>
                <a:gd name="T64" fmla="*/ 428625 w 156"/>
                <a:gd name="T65" fmla="*/ 992187 h 129"/>
                <a:gd name="T66" fmla="*/ 428625 w 156"/>
                <a:gd name="T67" fmla="*/ 992187 h 12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56"/>
                <a:gd name="T103" fmla="*/ 0 h 129"/>
                <a:gd name="T104" fmla="*/ 156 w 156"/>
                <a:gd name="T105" fmla="*/ 129 h 12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56" h="129">
                  <a:moveTo>
                    <a:pt x="54" y="125"/>
                  </a:moveTo>
                  <a:cubicBezTo>
                    <a:pt x="54" y="125"/>
                    <a:pt x="50" y="125"/>
                    <a:pt x="52" y="117"/>
                  </a:cubicBezTo>
                  <a:cubicBezTo>
                    <a:pt x="52" y="117"/>
                    <a:pt x="53" y="112"/>
                    <a:pt x="49" y="108"/>
                  </a:cubicBezTo>
                  <a:cubicBezTo>
                    <a:pt x="49" y="108"/>
                    <a:pt x="44" y="107"/>
                    <a:pt x="45" y="104"/>
                  </a:cubicBezTo>
                  <a:cubicBezTo>
                    <a:pt x="45" y="104"/>
                    <a:pt x="43" y="101"/>
                    <a:pt x="52" y="100"/>
                  </a:cubicBezTo>
                  <a:cubicBezTo>
                    <a:pt x="52" y="100"/>
                    <a:pt x="63" y="99"/>
                    <a:pt x="58" y="90"/>
                  </a:cubicBezTo>
                  <a:cubicBezTo>
                    <a:pt x="57" y="87"/>
                    <a:pt x="50" y="87"/>
                    <a:pt x="49" y="84"/>
                  </a:cubicBezTo>
                  <a:cubicBezTo>
                    <a:pt x="49" y="83"/>
                    <a:pt x="56" y="77"/>
                    <a:pt x="45" y="78"/>
                  </a:cubicBezTo>
                  <a:cubicBezTo>
                    <a:pt x="45" y="78"/>
                    <a:pt x="37" y="79"/>
                    <a:pt x="36" y="74"/>
                  </a:cubicBezTo>
                  <a:cubicBezTo>
                    <a:pt x="36" y="74"/>
                    <a:pt x="34" y="68"/>
                    <a:pt x="35" y="64"/>
                  </a:cubicBezTo>
                  <a:cubicBezTo>
                    <a:pt x="35" y="64"/>
                    <a:pt x="39" y="60"/>
                    <a:pt x="34" y="54"/>
                  </a:cubicBezTo>
                  <a:cubicBezTo>
                    <a:pt x="34" y="48"/>
                    <a:pt x="29" y="51"/>
                    <a:pt x="22" y="50"/>
                  </a:cubicBezTo>
                  <a:cubicBezTo>
                    <a:pt x="22" y="50"/>
                    <a:pt x="11" y="54"/>
                    <a:pt x="12" y="43"/>
                  </a:cubicBezTo>
                  <a:cubicBezTo>
                    <a:pt x="12" y="43"/>
                    <a:pt x="13" y="36"/>
                    <a:pt x="9" y="36"/>
                  </a:cubicBezTo>
                  <a:cubicBezTo>
                    <a:pt x="9" y="36"/>
                    <a:pt x="10" y="26"/>
                    <a:pt x="5" y="24"/>
                  </a:cubicBezTo>
                  <a:cubicBezTo>
                    <a:pt x="5" y="24"/>
                    <a:pt x="0" y="17"/>
                    <a:pt x="6" y="14"/>
                  </a:cubicBezTo>
                  <a:cubicBezTo>
                    <a:pt x="6" y="14"/>
                    <a:pt x="10" y="14"/>
                    <a:pt x="8" y="11"/>
                  </a:cubicBezTo>
                  <a:cubicBezTo>
                    <a:pt x="12" y="5"/>
                    <a:pt x="21" y="9"/>
                    <a:pt x="21" y="9"/>
                  </a:cubicBezTo>
                  <a:cubicBezTo>
                    <a:pt x="23" y="12"/>
                    <a:pt x="24" y="8"/>
                    <a:pt x="27" y="8"/>
                  </a:cubicBezTo>
                  <a:cubicBezTo>
                    <a:pt x="38" y="5"/>
                    <a:pt x="37" y="13"/>
                    <a:pt x="41" y="7"/>
                  </a:cubicBezTo>
                  <a:cubicBezTo>
                    <a:pt x="50" y="0"/>
                    <a:pt x="54" y="9"/>
                    <a:pt x="54" y="9"/>
                  </a:cubicBezTo>
                  <a:cubicBezTo>
                    <a:pt x="55" y="14"/>
                    <a:pt x="62" y="12"/>
                    <a:pt x="62" y="12"/>
                  </a:cubicBezTo>
                  <a:cubicBezTo>
                    <a:pt x="71" y="11"/>
                    <a:pt x="69" y="16"/>
                    <a:pt x="69" y="16"/>
                  </a:cubicBezTo>
                  <a:cubicBezTo>
                    <a:pt x="75" y="10"/>
                    <a:pt x="77" y="14"/>
                    <a:pt x="77" y="14"/>
                  </a:cubicBezTo>
                  <a:cubicBezTo>
                    <a:pt x="87" y="14"/>
                    <a:pt x="81" y="19"/>
                    <a:pt x="81" y="19"/>
                  </a:cubicBezTo>
                  <a:cubicBezTo>
                    <a:pt x="76" y="20"/>
                    <a:pt x="84" y="25"/>
                    <a:pt x="84" y="25"/>
                  </a:cubicBezTo>
                  <a:cubicBezTo>
                    <a:pt x="88" y="27"/>
                    <a:pt x="88" y="32"/>
                    <a:pt x="88" y="32"/>
                  </a:cubicBezTo>
                  <a:cubicBezTo>
                    <a:pt x="85" y="39"/>
                    <a:pt x="92" y="37"/>
                    <a:pt x="92" y="37"/>
                  </a:cubicBezTo>
                  <a:cubicBezTo>
                    <a:pt x="96" y="33"/>
                    <a:pt x="99" y="38"/>
                    <a:pt x="99" y="38"/>
                  </a:cubicBezTo>
                  <a:cubicBezTo>
                    <a:pt x="101" y="44"/>
                    <a:pt x="106" y="37"/>
                    <a:pt x="106" y="37"/>
                  </a:cubicBezTo>
                  <a:cubicBezTo>
                    <a:pt x="108" y="31"/>
                    <a:pt x="116" y="37"/>
                    <a:pt x="116" y="37"/>
                  </a:cubicBezTo>
                  <a:cubicBezTo>
                    <a:pt x="131" y="39"/>
                    <a:pt x="129" y="29"/>
                    <a:pt x="129" y="29"/>
                  </a:cubicBezTo>
                  <a:cubicBezTo>
                    <a:pt x="129" y="18"/>
                    <a:pt x="136" y="22"/>
                    <a:pt x="136" y="22"/>
                  </a:cubicBezTo>
                  <a:cubicBezTo>
                    <a:pt x="141" y="24"/>
                    <a:pt x="140" y="12"/>
                    <a:pt x="148" y="20"/>
                  </a:cubicBezTo>
                  <a:cubicBezTo>
                    <a:pt x="148" y="20"/>
                    <a:pt x="146" y="23"/>
                    <a:pt x="148" y="26"/>
                  </a:cubicBezTo>
                  <a:cubicBezTo>
                    <a:pt x="148" y="26"/>
                    <a:pt x="151" y="27"/>
                    <a:pt x="149" y="32"/>
                  </a:cubicBezTo>
                  <a:cubicBezTo>
                    <a:pt x="149" y="32"/>
                    <a:pt x="152" y="39"/>
                    <a:pt x="149" y="41"/>
                  </a:cubicBezTo>
                  <a:cubicBezTo>
                    <a:pt x="149" y="41"/>
                    <a:pt x="143" y="40"/>
                    <a:pt x="147" y="47"/>
                  </a:cubicBezTo>
                  <a:cubicBezTo>
                    <a:pt x="147" y="47"/>
                    <a:pt x="145" y="51"/>
                    <a:pt x="151" y="52"/>
                  </a:cubicBezTo>
                  <a:cubicBezTo>
                    <a:pt x="151" y="56"/>
                    <a:pt x="155" y="57"/>
                    <a:pt x="153" y="60"/>
                  </a:cubicBezTo>
                  <a:cubicBezTo>
                    <a:pt x="153" y="60"/>
                    <a:pt x="155" y="66"/>
                    <a:pt x="150" y="63"/>
                  </a:cubicBezTo>
                  <a:cubicBezTo>
                    <a:pt x="150" y="63"/>
                    <a:pt x="147" y="64"/>
                    <a:pt x="148" y="67"/>
                  </a:cubicBezTo>
                  <a:cubicBezTo>
                    <a:pt x="148" y="67"/>
                    <a:pt x="153" y="67"/>
                    <a:pt x="153" y="69"/>
                  </a:cubicBezTo>
                  <a:cubicBezTo>
                    <a:pt x="153" y="69"/>
                    <a:pt x="154" y="73"/>
                    <a:pt x="153" y="77"/>
                  </a:cubicBezTo>
                  <a:cubicBezTo>
                    <a:pt x="153" y="77"/>
                    <a:pt x="156" y="83"/>
                    <a:pt x="147" y="83"/>
                  </a:cubicBezTo>
                  <a:cubicBezTo>
                    <a:pt x="147" y="83"/>
                    <a:pt x="142" y="86"/>
                    <a:pt x="144" y="92"/>
                  </a:cubicBezTo>
                  <a:cubicBezTo>
                    <a:pt x="143" y="93"/>
                    <a:pt x="151" y="93"/>
                    <a:pt x="151" y="96"/>
                  </a:cubicBezTo>
                  <a:cubicBezTo>
                    <a:pt x="151" y="101"/>
                    <a:pt x="143" y="96"/>
                    <a:pt x="145" y="99"/>
                  </a:cubicBezTo>
                  <a:cubicBezTo>
                    <a:pt x="145" y="99"/>
                    <a:pt x="149" y="100"/>
                    <a:pt x="147" y="102"/>
                  </a:cubicBezTo>
                  <a:cubicBezTo>
                    <a:pt x="147" y="102"/>
                    <a:pt x="144" y="105"/>
                    <a:pt x="139" y="106"/>
                  </a:cubicBezTo>
                  <a:cubicBezTo>
                    <a:pt x="139" y="106"/>
                    <a:pt x="147" y="107"/>
                    <a:pt x="140" y="109"/>
                  </a:cubicBezTo>
                  <a:cubicBezTo>
                    <a:pt x="140" y="109"/>
                    <a:pt x="134" y="112"/>
                    <a:pt x="132" y="110"/>
                  </a:cubicBezTo>
                  <a:cubicBezTo>
                    <a:pt x="132" y="110"/>
                    <a:pt x="125" y="106"/>
                    <a:pt x="123" y="111"/>
                  </a:cubicBezTo>
                  <a:cubicBezTo>
                    <a:pt x="119" y="113"/>
                    <a:pt x="116" y="107"/>
                    <a:pt x="114" y="113"/>
                  </a:cubicBezTo>
                  <a:cubicBezTo>
                    <a:pt x="114" y="113"/>
                    <a:pt x="109" y="110"/>
                    <a:pt x="104" y="117"/>
                  </a:cubicBezTo>
                  <a:cubicBezTo>
                    <a:pt x="104" y="117"/>
                    <a:pt x="96" y="117"/>
                    <a:pt x="95" y="119"/>
                  </a:cubicBezTo>
                  <a:cubicBezTo>
                    <a:pt x="93" y="109"/>
                    <a:pt x="97" y="102"/>
                    <a:pt x="97" y="102"/>
                  </a:cubicBezTo>
                  <a:cubicBezTo>
                    <a:pt x="89" y="112"/>
                    <a:pt x="91" y="116"/>
                    <a:pt x="91" y="116"/>
                  </a:cubicBezTo>
                  <a:cubicBezTo>
                    <a:pt x="94" y="129"/>
                    <a:pt x="89" y="127"/>
                    <a:pt x="89" y="127"/>
                  </a:cubicBezTo>
                  <a:cubicBezTo>
                    <a:pt x="87" y="128"/>
                    <a:pt x="81" y="125"/>
                    <a:pt x="81" y="125"/>
                  </a:cubicBezTo>
                  <a:cubicBezTo>
                    <a:pt x="76" y="126"/>
                    <a:pt x="71" y="127"/>
                    <a:pt x="71" y="127"/>
                  </a:cubicBezTo>
                  <a:lnTo>
                    <a:pt x="74" y="116"/>
                  </a:lnTo>
                  <a:cubicBezTo>
                    <a:pt x="70" y="124"/>
                    <a:pt x="65" y="128"/>
                    <a:pt x="65" y="128"/>
                  </a:cubicBezTo>
                  <a:cubicBezTo>
                    <a:pt x="60" y="129"/>
                    <a:pt x="54" y="125"/>
                    <a:pt x="54" y="125"/>
                  </a:cubicBezTo>
                </a:path>
              </a:pathLst>
            </a:custGeom>
            <a:solidFill>
              <a:schemeClr val="accent1"/>
            </a:solidFill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79" name="Freeform 1161">
              <a:extLst>
                <a:ext uri="{FF2B5EF4-FFF2-40B4-BE49-F238E27FC236}">
                  <a16:creationId xmlns:a16="http://schemas.microsoft.com/office/drawing/2014/main" id="{872A9FDE-074B-816C-C013-DA02753B4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1381" y="3048341"/>
              <a:ext cx="1186524" cy="981666"/>
            </a:xfrm>
            <a:custGeom>
              <a:avLst/>
              <a:gdLst>
                <a:gd name="T0" fmla="*/ 1309688 w 168"/>
                <a:gd name="T1" fmla="*/ 690562 h 139"/>
                <a:gd name="T2" fmla="*/ 1254125 w 168"/>
                <a:gd name="T3" fmla="*/ 769937 h 139"/>
                <a:gd name="T4" fmla="*/ 1150938 w 168"/>
                <a:gd name="T5" fmla="*/ 722312 h 139"/>
                <a:gd name="T6" fmla="*/ 1079500 w 168"/>
                <a:gd name="T7" fmla="*/ 738187 h 139"/>
                <a:gd name="T8" fmla="*/ 1016000 w 168"/>
                <a:gd name="T9" fmla="*/ 809625 h 139"/>
                <a:gd name="T10" fmla="*/ 928688 w 168"/>
                <a:gd name="T11" fmla="*/ 809625 h 139"/>
                <a:gd name="T12" fmla="*/ 801688 w 168"/>
                <a:gd name="T13" fmla="*/ 841375 h 139"/>
                <a:gd name="T14" fmla="*/ 706438 w 168"/>
                <a:gd name="T15" fmla="*/ 920750 h 139"/>
                <a:gd name="T16" fmla="*/ 603250 w 168"/>
                <a:gd name="T17" fmla="*/ 912812 h 139"/>
                <a:gd name="T18" fmla="*/ 428625 w 168"/>
                <a:gd name="T19" fmla="*/ 960437 h 139"/>
                <a:gd name="T20" fmla="*/ 388938 w 168"/>
                <a:gd name="T21" fmla="*/ 1023937 h 139"/>
                <a:gd name="T22" fmla="*/ 198438 w 168"/>
                <a:gd name="T23" fmla="*/ 1103312 h 139"/>
                <a:gd name="T24" fmla="*/ 174625 w 168"/>
                <a:gd name="T25" fmla="*/ 1008062 h 139"/>
                <a:gd name="T26" fmla="*/ 111125 w 168"/>
                <a:gd name="T27" fmla="*/ 889000 h 139"/>
                <a:gd name="T28" fmla="*/ 71438 w 168"/>
                <a:gd name="T29" fmla="*/ 809625 h 139"/>
                <a:gd name="T30" fmla="*/ 55563 w 168"/>
                <a:gd name="T31" fmla="*/ 714375 h 139"/>
                <a:gd name="T32" fmla="*/ 103188 w 168"/>
                <a:gd name="T33" fmla="*/ 642937 h 139"/>
                <a:gd name="T34" fmla="*/ 230188 w 168"/>
                <a:gd name="T35" fmla="*/ 587375 h 139"/>
                <a:gd name="T36" fmla="*/ 333375 w 168"/>
                <a:gd name="T37" fmla="*/ 611187 h 139"/>
                <a:gd name="T38" fmla="*/ 388938 w 168"/>
                <a:gd name="T39" fmla="*/ 555625 h 139"/>
                <a:gd name="T40" fmla="*/ 571500 w 168"/>
                <a:gd name="T41" fmla="*/ 508000 h 139"/>
                <a:gd name="T42" fmla="*/ 635000 w 168"/>
                <a:gd name="T43" fmla="*/ 396875 h 139"/>
                <a:gd name="T44" fmla="*/ 706438 w 168"/>
                <a:gd name="T45" fmla="*/ 230187 h 139"/>
                <a:gd name="T46" fmla="*/ 849313 w 168"/>
                <a:gd name="T47" fmla="*/ 238125 h 139"/>
                <a:gd name="T48" fmla="*/ 920750 w 168"/>
                <a:gd name="T49" fmla="*/ 95250 h 139"/>
                <a:gd name="T50" fmla="*/ 1016000 w 168"/>
                <a:gd name="T51" fmla="*/ 0 h 139"/>
                <a:gd name="T52" fmla="*/ 1095375 w 168"/>
                <a:gd name="T53" fmla="*/ 119062 h 139"/>
                <a:gd name="T54" fmla="*/ 1135063 w 168"/>
                <a:gd name="T55" fmla="*/ 214312 h 139"/>
                <a:gd name="T56" fmla="*/ 1206500 w 168"/>
                <a:gd name="T57" fmla="*/ 325437 h 139"/>
                <a:gd name="T58" fmla="*/ 1262063 w 168"/>
                <a:gd name="T59" fmla="*/ 420687 h 139"/>
                <a:gd name="T60" fmla="*/ 1293813 w 168"/>
                <a:gd name="T61" fmla="*/ 587375 h 139"/>
                <a:gd name="T62" fmla="*/ 1293813 w 168"/>
                <a:gd name="T63" fmla="*/ 587375 h 13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68"/>
                <a:gd name="T97" fmla="*/ 0 h 139"/>
                <a:gd name="T98" fmla="*/ 168 w 168"/>
                <a:gd name="T99" fmla="*/ 139 h 13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68" h="139">
                  <a:moveTo>
                    <a:pt x="163" y="74"/>
                  </a:moveTo>
                  <a:cubicBezTo>
                    <a:pt x="159" y="82"/>
                    <a:pt x="163" y="81"/>
                    <a:pt x="165" y="87"/>
                  </a:cubicBezTo>
                  <a:cubicBezTo>
                    <a:pt x="165" y="87"/>
                    <a:pt x="168" y="93"/>
                    <a:pt x="165" y="96"/>
                  </a:cubicBezTo>
                  <a:cubicBezTo>
                    <a:pt x="161" y="100"/>
                    <a:pt x="161" y="95"/>
                    <a:pt x="158" y="97"/>
                  </a:cubicBezTo>
                  <a:cubicBezTo>
                    <a:pt x="158" y="97"/>
                    <a:pt x="155" y="101"/>
                    <a:pt x="151" y="99"/>
                  </a:cubicBezTo>
                  <a:cubicBezTo>
                    <a:pt x="151" y="99"/>
                    <a:pt x="150" y="94"/>
                    <a:pt x="145" y="91"/>
                  </a:cubicBezTo>
                  <a:cubicBezTo>
                    <a:pt x="145" y="91"/>
                    <a:pt x="142" y="91"/>
                    <a:pt x="141" y="88"/>
                  </a:cubicBezTo>
                  <a:cubicBezTo>
                    <a:pt x="141" y="88"/>
                    <a:pt x="138" y="92"/>
                    <a:pt x="136" y="93"/>
                  </a:cubicBezTo>
                  <a:cubicBezTo>
                    <a:pt x="136" y="93"/>
                    <a:pt x="132" y="94"/>
                    <a:pt x="132" y="98"/>
                  </a:cubicBezTo>
                  <a:cubicBezTo>
                    <a:pt x="132" y="98"/>
                    <a:pt x="133" y="105"/>
                    <a:pt x="128" y="102"/>
                  </a:cubicBezTo>
                  <a:cubicBezTo>
                    <a:pt x="128" y="102"/>
                    <a:pt x="126" y="98"/>
                    <a:pt x="122" y="103"/>
                  </a:cubicBezTo>
                  <a:cubicBezTo>
                    <a:pt x="122" y="103"/>
                    <a:pt x="119" y="109"/>
                    <a:pt x="117" y="102"/>
                  </a:cubicBezTo>
                  <a:cubicBezTo>
                    <a:pt x="117" y="102"/>
                    <a:pt x="110" y="99"/>
                    <a:pt x="106" y="101"/>
                  </a:cubicBezTo>
                  <a:cubicBezTo>
                    <a:pt x="106" y="101"/>
                    <a:pt x="99" y="99"/>
                    <a:pt x="101" y="106"/>
                  </a:cubicBezTo>
                  <a:cubicBezTo>
                    <a:pt x="101" y="106"/>
                    <a:pt x="97" y="110"/>
                    <a:pt x="98" y="114"/>
                  </a:cubicBezTo>
                  <a:cubicBezTo>
                    <a:pt x="98" y="114"/>
                    <a:pt x="90" y="119"/>
                    <a:pt x="89" y="116"/>
                  </a:cubicBezTo>
                  <a:cubicBezTo>
                    <a:pt x="89" y="116"/>
                    <a:pt x="87" y="112"/>
                    <a:pt x="82" y="115"/>
                  </a:cubicBezTo>
                  <a:cubicBezTo>
                    <a:pt x="82" y="115"/>
                    <a:pt x="77" y="119"/>
                    <a:pt x="76" y="115"/>
                  </a:cubicBezTo>
                  <a:cubicBezTo>
                    <a:pt x="76" y="115"/>
                    <a:pt x="68" y="113"/>
                    <a:pt x="59" y="115"/>
                  </a:cubicBezTo>
                  <a:cubicBezTo>
                    <a:pt x="59" y="115"/>
                    <a:pt x="55" y="113"/>
                    <a:pt x="54" y="121"/>
                  </a:cubicBezTo>
                  <a:cubicBezTo>
                    <a:pt x="54" y="121"/>
                    <a:pt x="50" y="125"/>
                    <a:pt x="52" y="127"/>
                  </a:cubicBezTo>
                  <a:cubicBezTo>
                    <a:pt x="52" y="127"/>
                    <a:pt x="54" y="131"/>
                    <a:pt x="49" y="129"/>
                  </a:cubicBezTo>
                  <a:cubicBezTo>
                    <a:pt x="49" y="129"/>
                    <a:pt x="43" y="128"/>
                    <a:pt x="37" y="135"/>
                  </a:cubicBezTo>
                  <a:cubicBezTo>
                    <a:pt x="35" y="137"/>
                    <a:pt x="32" y="131"/>
                    <a:pt x="25" y="139"/>
                  </a:cubicBezTo>
                  <a:cubicBezTo>
                    <a:pt x="19" y="137"/>
                    <a:pt x="24" y="134"/>
                    <a:pt x="24" y="134"/>
                  </a:cubicBezTo>
                  <a:cubicBezTo>
                    <a:pt x="26" y="128"/>
                    <a:pt x="22" y="127"/>
                    <a:pt x="22" y="127"/>
                  </a:cubicBezTo>
                  <a:cubicBezTo>
                    <a:pt x="20" y="127"/>
                    <a:pt x="25" y="120"/>
                    <a:pt x="19" y="121"/>
                  </a:cubicBezTo>
                  <a:cubicBezTo>
                    <a:pt x="15" y="119"/>
                    <a:pt x="19" y="116"/>
                    <a:pt x="14" y="112"/>
                  </a:cubicBezTo>
                  <a:cubicBezTo>
                    <a:pt x="9" y="111"/>
                    <a:pt x="13" y="106"/>
                    <a:pt x="10" y="107"/>
                  </a:cubicBezTo>
                  <a:cubicBezTo>
                    <a:pt x="7" y="106"/>
                    <a:pt x="9" y="102"/>
                    <a:pt x="9" y="102"/>
                  </a:cubicBezTo>
                  <a:cubicBezTo>
                    <a:pt x="4" y="101"/>
                    <a:pt x="7" y="94"/>
                    <a:pt x="7" y="94"/>
                  </a:cubicBezTo>
                  <a:cubicBezTo>
                    <a:pt x="0" y="94"/>
                    <a:pt x="5" y="89"/>
                    <a:pt x="7" y="90"/>
                  </a:cubicBezTo>
                  <a:cubicBezTo>
                    <a:pt x="11" y="84"/>
                    <a:pt x="9" y="79"/>
                    <a:pt x="9" y="79"/>
                  </a:cubicBezTo>
                  <a:cubicBezTo>
                    <a:pt x="13" y="77"/>
                    <a:pt x="10" y="82"/>
                    <a:pt x="13" y="81"/>
                  </a:cubicBezTo>
                  <a:cubicBezTo>
                    <a:pt x="17" y="82"/>
                    <a:pt x="20" y="78"/>
                    <a:pt x="20" y="78"/>
                  </a:cubicBezTo>
                  <a:cubicBezTo>
                    <a:pt x="22" y="74"/>
                    <a:pt x="29" y="74"/>
                    <a:pt x="29" y="74"/>
                  </a:cubicBezTo>
                  <a:cubicBezTo>
                    <a:pt x="31" y="68"/>
                    <a:pt x="35" y="74"/>
                    <a:pt x="35" y="74"/>
                  </a:cubicBezTo>
                  <a:cubicBezTo>
                    <a:pt x="40" y="74"/>
                    <a:pt x="42" y="77"/>
                    <a:pt x="42" y="77"/>
                  </a:cubicBezTo>
                  <a:cubicBezTo>
                    <a:pt x="45" y="79"/>
                    <a:pt x="44" y="73"/>
                    <a:pt x="44" y="73"/>
                  </a:cubicBezTo>
                  <a:cubicBezTo>
                    <a:pt x="44" y="65"/>
                    <a:pt x="49" y="70"/>
                    <a:pt x="49" y="70"/>
                  </a:cubicBezTo>
                  <a:cubicBezTo>
                    <a:pt x="58" y="67"/>
                    <a:pt x="61" y="70"/>
                    <a:pt x="61" y="70"/>
                  </a:cubicBezTo>
                  <a:cubicBezTo>
                    <a:pt x="71" y="70"/>
                    <a:pt x="72" y="64"/>
                    <a:pt x="72" y="64"/>
                  </a:cubicBezTo>
                  <a:cubicBezTo>
                    <a:pt x="72" y="60"/>
                    <a:pt x="80" y="57"/>
                    <a:pt x="80" y="57"/>
                  </a:cubicBezTo>
                  <a:cubicBezTo>
                    <a:pt x="80" y="53"/>
                    <a:pt x="80" y="50"/>
                    <a:pt x="80" y="50"/>
                  </a:cubicBezTo>
                  <a:cubicBezTo>
                    <a:pt x="83" y="45"/>
                    <a:pt x="83" y="38"/>
                    <a:pt x="83" y="38"/>
                  </a:cubicBezTo>
                  <a:cubicBezTo>
                    <a:pt x="82" y="27"/>
                    <a:pt x="89" y="29"/>
                    <a:pt x="89" y="29"/>
                  </a:cubicBezTo>
                  <a:cubicBezTo>
                    <a:pt x="92" y="24"/>
                    <a:pt x="96" y="29"/>
                    <a:pt x="96" y="29"/>
                  </a:cubicBezTo>
                  <a:cubicBezTo>
                    <a:pt x="99" y="32"/>
                    <a:pt x="107" y="30"/>
                    <a:pt x="107" y="30"/>
                  </a:cubicBezTo>
                  <a:cubicBezTo>
                    <a:pt x="113" y="31"/>
                    <a:pt x="114" y="19"/>
                    <a:pt x="114" y="19"/>
                  </a:cubicBezTo>
                  <a:cubicBezTo>
                    <a:pt x="118" y="18"/>
                    <a:pt x="116" y="12"/>
                    <a:pt x="116" y="12"/>
                  </a:cubicBezTo>
                  <a:cubicBezTo>
                    <a:pt x="116" y="9"/>
                    <a:pt x="122" y="9"/>
                    <a:pt x="121" y="7"/>
                  </a:cubicBezTo>
                  <a:cubicBezTo>
                    <a:pt x="120" y="2"/>
                    <a:pt x="128" y="0"/>
                    <a:pt x="128" y="0"/>
                  </a:cubicBezTo>
                  <a:cubicBezTo>
                    <a:pt x="128" y="6"/>
                    <a:pt x="134" y="7"/>
                    <a:pt x="134" y="7"/>
                  </a:cubicBezTo>
                  <a:cubicBezTo>
                    <a:pt x="134" y="16"/>
                    <a:pt x="138" y="15"/>
                    <a:pt x="138" y="15"/>
                  </a:cubicBezTo>
                  <a:cubicBezTo>
                    <a:pt x="142" y="15"/>
                    <a:pt x="142" y="20"/>
                    <a:pt x="142" y="20"/>
                  </a:cubicBezTo>
                  <a:cubicBezTo>
                    <a:pt x="145" y="22"/>
                    <a:pt x="143" y="27"/>
                    <a:pt x="143" y="27"/>
                  </a:cubicBezTo>
                  <a:cubicBezTo>
                    <a:pt x="138" y="28"/>
                    <a:pt x="146" y="34"/>
                    <a:pt x="146" y="34"/>
                  </a:cubicBezTo>
                  <a:cubicBezTo>
                    <a:pt x="152" y="36"/>
                    <a:pt x="152" y="41"/>
                    <a:pt x="152" y="41"/>
                  </a:cubicBezTo>
                  <a:cubicBezTo>
                    <a:pt x="160" y="42"/>
                    <a:pt x="159" y="47"/>
                    <a:pt x="159" y="47"/>
                  </a:cubicBezTo>
                  <a:cubicBezTo>
                    <a:pt x="165" y="52"/>
                    <a:pt x="159" y="53"/>
                    <a:pt x="159" y="53"/>
                  </a:cubicBezTo>
                  <a:cubicBezTo>
                    <a:pt x="155" y="57"/>
                    <a:pt x="160" y="62"/>
                    <a:pt x="160" y="62"/>
                  </a:cubicBezTo>
                  <a:cubicBezTo>
                    <a:pt x="164" y="67"/>
                    <a:pt x="163" y="74"/>
                    <a:pt x="163" y="74"/>
                  </a:cubicBezTo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80" name="Freeform 1170">
              <a:extLst>
                <a:ext uri="{FF2B5EF4-FFF2-40B4-BE49-F238E27FC236}">
                  <a16:creationId xmlns:a16="http://schemas.microsoft.com/office/drawing/2014/main" id="{6056E19A-BD9D-58B9-8D49-5885B0C55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0650" y="4460812"/>
              <a:ext cx="1264215" cy="875731"/>
            </a:xfrm>
            <a:custGeom>
              <a:avLst/>
              <a:gdLst>
                <a:gd name="T0" fmla="*/ 150812 w 179"/>
                <a:gd name="T1" fmla="*/ 539750 h 124"/>
                <a:gd name="T2" fmla="*/ 301625 w 179"/>
                <a:gd name="T3" fmla="*/ 492125 h 124"/>
                <a:gd name="T4" fmla="*/ 436562 w 179"/>
                <a:gd name="T5" fmla="*/ 476250 h 124"/>
                <a:gd name="T6" fmla="*/ 492125 w 179"/>
                <a:gd name="T7" fmla="*/ 420688 h 124"/>
                <a:gd name="T8" fmla="*/ 523875 w 179"/>
                <a:gd name="T9" fmla="*/ 373063 h 124"/>
                <a:gd name="T10" fmla="*/ 492125 w 179"/>
                <a:gd name="T11" fmla="*/ 269875 h 124"/>
                <a:gd name="T12" fmla="*/ 539750 w 179"/>
                <a:gd name="T13" fmla="*/ 158750 h 124"/>
                <a:gd name="T14" fmla="*/ 515937 w 179"/>
                <a:gd name="T15" fmla="*/ 111125 h 124"/>
                <a:gd name="T16" fmla="*/ 523875 w 179"/>
                <a:gd name="T17" fmla="*/ 23813 h 124"/>
                <a:gd name="T18" fmla="*/ 611187 w 179"/>
                <a:gd name="T19" fmla="*/ 47625 h 124"/>
                <a:gd name="T20" fmla="*/ 682625 w 179"/>
                <a:gd name="T21" fmla="*/ 47625 h 124"/>
                <a:gd name="T22" fmla="*/ 833437 w 179"/>
                <a:gd name="T23" fmla="*/ 63500 h 124"/>
                <a:gd name="T24" fmla="*/ 912812 w 179"/>
                <a:gd name="T25" fmla="*/ 71438 h 124"/>
                <a:gd name="T26" fmla="*/ 1023937 w 179"/>
                <a:gd name="T27" fmla="*/ 150813 h 124"/>
                <a:gd name="T28" fmla="*/ 1119187 w 179"/>
                <a:gd name="T29" fmla="*/ 214313 h 124"/>
                <a:gd name="T30" fmla="*/ 1166812 w 179"/>
                <a:gd name="T31" fmla="*/ 357188 h 124"/>
                <a:gd name="T32" fmla="*/ 1230312 w 179"/>
                <a:gd name="T33" fmla="*/ 420688 h 124"/>
                <a:gd name="T34" fmla="*/ 1214437 w 179"/>
                <a:gd name="T35" fmla="*/ 508000 h 124"/>
                <a:gd name="T36" fmla="*/ 1238250 w 179"/>
                <a:gd name="T37" fmla="*/ 587375 h 124"/>
                <a:gd name="T38" fmla="*/ 1333500 w 179"/>
                <a:gd name="T39" fmla="*/ 666750 h 124"/>
                <a:gd name="T40" fmla="*/ 1420812 w 179"/>
                <a:gd name="T41" fmla="*/ 769938 h 124"/>
                <a:gd name="T42" fmla="*/ 1301750 w 179"/>
                <a:gd name="T43" fmla="*/ 881063 h 124"/>
                <a:gd name="T44" fmla="*/ 1214437 w 179"/>
                <a:gd name="T45" fmla="*/ 865188 h 124"/>
                <a:gd name="T46" fmla="*/ 1063625 w 179"/>
                <a:gd name="T47" fmla="*/ 833438 h 124"/>
                <a:gd name="T48" fmla="*/ 984250 w 179"/>
                <a:gd name="T49" fmla="*/ 849313 h 124"/>
                <a:gd name="T50" fmla="*/ 936625 w 179"/>
                <a:gd name="T51" fmla="*/ 833438 h 124"/>
                <a:gd name="T52" fmla="*/ 841375 w 179"/>
                <a:gd name="T53" fmla="*/ 849313 h 124"/>
                <a:gd name="T54" fmla="*/ 785812 w 179"/>
                <a:gd name="T55" fmla="*/ 849313 h 124"/>
                <a:gd name="T56" fmla="*/ 762000 w 179"/>
                <a:gd name="T57" fmla="*/ 920750 h 124"/>
                <a:gd name="T58" fmla="*/ 619125 w 179"/>
                <a:gd name="T59" fmla="*/ 849313 h 124"/>
                <a:gd name="T60" fmla="*/ 428625 w 179"/>
                <a:gd name="T61" fmla="*/ 912813 h 124"/>
                <a:gd name="T62" fmla="*/ 214312 w 179"/>
                <a:gd name="T63" fmla="*/ 873125 h 124"/>
                <a:gd name="T64" fmla="*/ 55562 w 179"/>
                <a:gd name="T65" fmla="*/ 817563 h 124"/>
                <a:gd name="T66" fmla="*/ 0 w 179"/>
                <a:gd name="T67" fmla="*/ 793750 h 124"/>
                <a:gd name="T68" fmla="*/ 71437 w 179"/>
                <a:gd name="T69" fmla="*/ 785813 h 124"/>
                <a:gd name="T70" fmla="*/ 55562 w 179"/>
                <a:gd name="T71" fmla="*/ 706438 h 124"/>
                <a:gd name="T72" fmla="*/ 31750 w 179"/>
                <a:gd name="T73" fmla="*/ 666750 h 124"/>
                <a:gd name="T74" fmla="*/ 158750 w 179"/>
                <a:gd name="T75" fmla="*/ 682625 h 124"/>
                <a:gd name="T76" fmla="*/ 246062 w 179"/>
                <a:gd name="T77" fmla="*/ 666750 h 124"/>
                <a:gd name="T78" fmla="*/ 277812 w 179"/>
                <a:gd name="T79" fmla="*/ 658813 h 124"/>
                <a:gd name="T80" fmla="*/ 214312 w 179"/>
                <a:gd name="T81" fmla="*/ 627063 h 124"/>
                <a:gd name="T82" fmla="*/ 142875 w 179"/>
                <a:gd name="T83" fmla="*/ 627063 h 124"/>
                <a:gd name="T84" fmla="*/ 79375 w 179"/>
                <a:gd name="T85" fmla="*/ 555625 h 12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79"/>
                <a:gd name="T130" fmla="*/ 0 h 124"/>
                <a:gd name="T131" fmla="*/ 179 w 179"/>
                <a:gd name="T132" fmla="*/ 124 h 12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79" h="124">
                  <a:moveTo>
                    <a:pt x="10" y="70"/>
                  </a:moveTo>
                  <a:cubicBezTo>
                    <a:pt x="11" y="68"/>
                    <a:pt x="19" y="68"/>
                    <a:pt x="19" y="68"/>
                  </a:cubicBezTo>
                  <a:cubicBezTo>
                    <a:pt x="24" y="61"/>
                    <a:pt x="29" y="64"/>
                    <a:pt x="29" y="64"/>
                  </a:cubicBezTo>
                  <a:cubicBezTo>
                    <a:pt x="31" y="58"/>
                    <a:pt x="34" y="64"/>
                    <a:pt x="38" y="62"/>
                  </a:cubicBezTo>
                  <a:cubicBezTo>
                    <a:pt x="40" y="57"/>
                    <a:pt x="47" y="61"/>
                    <a:pt x="47" y="61"/>
                  </a:cubicBezTo>
                  <a:cubicBezTo>
                    <a:pt x="49" y="63"/>
                    <a:pt x="55" y="60"/>
                    <a:pt x="55" y="60"/>
                  </a:cubicBezTo>
                  <a:cubicBezTo>
                    <a:pt x="62" y="58"/>
                    <a:pt x="54" y="57"/>
                    <a:pt x="54" y="57"/>
                  </a:cubicBezTo>
                  <a:cubicBezTo>
                    <a:pt x="59" y="56"/>
                    <a:pt x="62" y="53"/>
                    <a:pt x="62" y="53"/>
                  </a:cubicBezTo>
                  <a:cubicBezTo>
                    <a:pt x="64" y="51"/>
                    <a:pt x="60" y="50"/>
                    <a:pt x="60" y="50"/>
                  </a:cubicBezTo>
                  <a:cubicBezTo>
                    <a:pt x="58" y="47"/>
                    <a:pt x="66" y="52"/>
                    <a:pt x="66" y="47"/>
                  </a:cubicBezTo>
                  <a:cubicBezTo>
                    <a:pt x="66" y="44"/>
                    <a:pt x="58" y="44"/>
                    <a:pt x="59" y="43"/>
                  </a:cubicBezTo>
                  <a:cubicBezTo>
                    <a:pt x="57" y="37"/>
                    <a:pt x="62" y="34"/>
                    <a:pt x="62" y="34"/>
                  </a:cubicBezTo>
                  <a:cubicBezTo>
                    <a:pt x="71" y="34"/>
                    <a:pt x="68" y="28"/>
                    <a:pt x="68" y="28"/>
                  </a:cubicBezTo>
                  <a:cubicBezTo>
                    <a:pt x="69" y="24"/>
                    <a:pt x="68" y="20"/>
                    <a:pt x="68" y="20"/>
                  </a:cubicBezTo>
                  <a:cubicBezTo>
                    <a:pt x="68" y="18"/>
                    <a:pt x="63" y="18"/>
                    <a:pt x="63" y="18"/>
                  </a:cubicBezTo>
                  <a:cubicBezTo>
                    <a:pt x="62" y="15"/>
                    <a:pt x="65" y="14"/>
                    <a:pt x="65" y="14"/>
                  </a:cubicBezTo>
                  <a:cubicBezTo>
                    <a:pt x="70" y="17"/>
                    <a:pt x="68" y="11"/>
                    <a:pt x="68" y="11"/>
                  </a:cubicBezTo>
                  <a:cubicBezTo>
                    <a:pt x="70" y="8"/>
                    <a:pt x="66" y="7"/>
                    <a:pt x="66" y="3"/>
                  </a:cubicBezTo>
                  <a:cubicBezTo>
                    <a:pt x="66" y="3"/>
                    <a:pt x="70" y="2"/>
                    <a:pt x="72" y="5"/>
                  </a:cubicBezTo>
                  <a:cubicBezTo>
                    <a:pt x="72" y="5"/>
                    <a:pt x="76" y="5"/>
                    <a:pt x="77" y="6"/>
                  </a:cubicBezTo>
                  <a:cubicBezTo>
                    <a:pt x="77" y="6"/>
                    <a:pt x="80" y="11"/>
                    <a:pt x="81" y="8"/>
                  </a:cubicBezTo>
                  <a:cubicBezTo>
                    <a:pt x="81" y="5"/>
                    <a:pt x="85" y="8"/>
                    <a:pt x="86" y="6"/>
                  </a:cubicBezTo>
                  <a:cubicBezTo>
                    <a:pt x="86" y="6"/>
                    <a:pt x="90" y="0"/>
                    <a:pt x="94" y="6"/>
                  </a:cubicBezTo>
                  <a:cubicBezTo>
                    <a:pt x="94" y="6"/>
                    <a:pt x="93" y="11"/>
                    <a:pt x="105" y="8"/>
                  </a:cubicBezTo>
                  <a:cubicBezTo>
                    <a:pt x="105" y="8"/>
                    <a:pt x="107" y="5"/>
                    <a:pt x="111" y="8"/>
                  </a:cubicBezTo>
                  <a:cubicBezTo>
                    <a:pt x="111" y="8"/>
                    <a:pt x="112" y="10"/>
                    <a:pt x="115" y="9"/>
                  </a:cubicBezTo>
                  <a:cubicBezTo>
                    <a:pt x="115" y="9"/>
                    <a:pt x="122" y="9"/>
                    <a:pt x="126" y="9"/>
                  </a:cubicBezTo>
                  <a:cubicBezTo>
                    <a:pt x="126" y="9"/>
                    <a:pt x="126" y="15"/>
                    <a:pt x="129" y="19"/>
                  </a:cubicBezTo>
                  <a:cubicBezTo>
                    <a:pt x="129" y="19"/>
                    <a:pt x="129" y="27"/>
                    <a:pt x="135" y="24"/>
                  </a:cubicBezTo>
                  <a:cubicBezTo>
                    <a:pt x="135" y="24"/>
                    <a:pt x="138" y="16"/>
                    <a:pt x="141" y="27"/>
                  </a:cubicBezTo>
                  <a:cubicBezTo>
                    <a:pt x="141" y="27"/>
                    <a:pt x="139" y="35"/>
                    <a:pt x="144" y="38"/>
                  </a:cubicBezTo>
                  <a:cubicBezTo>
                    <a:pt x="144" y="38"/>
                    <a:pt x="142" y="44"/>
                    <a:pt x="147" y="45"/>
                  </a:cubicBezTo>
                  <a:cubicBezTo>
                    <a:pt x="147" y="45"/>
                    <a:pt x="148" y="49"/>
                    <a:pt x="150" y="49"/>
                  </a:cubicBezTo>
                  <a:cubicBezTo>
                    <a:pt x="150" y="49"/>
                    <a:pt x="155" y="48"/>
                    <a:pt x="155" y="53"/>
                  </a:cubicBezTo>
                  <a:cubicBezTo>
                    <a:pt x="155" y="53"/>
                    <a:pt x="162" y="55"/>
                    <a:pt x="155" y="59"/>
                  </a:cubicBezTo>
                  <a:cubicBezTo>
                    <a:pt x="155" y="59"/>
                    <a:pt x="157" y="63"/>
                    <a:pt x="153" y="64"/>
                  </a:cubicBezTo>
                  <a:cubicBezTo>
                    <a:pt x="153" y="64"/>
                    <a:pt x="146" y="69"/>
                    <a:pt x="153" y="69"/>
                  </a:cubicBezTo>
                  <a:cubicBezTo>
                    <a:pt x="153" y="69"/>
                    <a:pt x="157" y="71"/>
                    <a:pt x="156" y="74"/>
                  </a:cubicBezTo>
                  <a:cubicBezTo>
                    <a:pt x="156" y="74"/>
                    <a:pt x="155" y="78"/>
                    <a:pt x="163" y="79"/>
                  </a:cubicBezTo>
                  <a:cubicBezTo>
                    <a:pt x="163" y="79"/>
                    <a:pt x="163" y="83"/>
                    <a:pt x="168" y="84"/>
                  </a:cubicBezTo>
                  <a:cubicBezTo>
                    <a:pt x="168" y="84"/>
                    <a:pt x="174" y="82"/>
                    <a:pt x="174" y="94"/>
                  </a:cubicBezTo>
                  <a:cubicBezTo>
                    <a:pt x="174" y="94"/>
                    <a:pt x="172" y="98"/>
                    <a:pt x="179" y="97"/>
                  </a:cubicBezTo>
                  <a:cubicBezTo>
                    <a:pt x="174" y="102"/>
                    <a:pt x="168" y="102"/>
                    <a:pt x="168" y="102"/>
                  </a:cubicBezTo>
                  <a:cubicBezTo>
                    <a:pt x="163" y="106"/>
                    <a:pt x="164" y="111"/>
                    <a:pt x="164" y="111"/>
                  </a:cubicBezTo>
                  <a:cubicBezTo>
                    <a:pt x="160" y="107"/>
                    <a:pt x="157" y="107"/>
                    <a:pt x="157" y="107"/>
                  </a:cubicBezTo>
                  <a:cubicBezTo>
                    <a:pt x="154" y="107"/>
                    <a:pt x="153" y="109"/>
                    <a:pt x="153" y="109"/>
                  </a:cubicBezTo>
                  <a:cubicBezTo>
                    <a:pt x="150" y="111"/>
                    <a:pt x="144" y="109"/>
                    <a:pt x="144" y="109"/>
                  </a:cubicBezTo>
                  <a:cubicBezTo>
                    <a:pt x="141" y="109"/>
                    <a:pt x="140" y="105"/>
                    <a:pt x="134" y="105"/>
                  </a:cubicBezTo>
                  <a:cubicBezTo>
                    <a:pt x="131" y="105"/>
                    <a:pt x="131" y="100"/>
                    <a:pt x="128" y="100"/>
                  </a:cubicBezTo>
                  <a:cubicBezTo>
                    <a:pt x="129" y="106"/>
                    <a:pt x="124" y="107"/>
                    <a:pt x="124" y="107"/>
                  </a:cubicBezTo>
                  <a:lnTo>
                    <a:pt x="118" y="105"/>
                  </a:lnTo>
                  <a:lnTo>
                    <a:pt x="106" y="107"/>
                  </a:lnTo>
                  <a:cubicBezTo>
                    <a:pt x="106" y="107"/>
                    <a:pt x="105" y="108"/>
                    <a:pt x="105" y="109"/>
                  </a:cubicBezTo>
                  <a:cubicBezTo>
                    <a:pt x="105" y="109"/>
                    <a:pt x="103" y="106"/>
                    <a:pt x="99" y="107"/>
                  </a:cubicBezTo>
                  <a:cubicBezTo>
                    <a:pt x="99" y="107"/>
                    <a:pt x="100" y="110"/>
                    <a:pt x="98" y="112"/>
                  </a:cubicBezTo>
                  <a:cubicBezTo>
                    <a:pt x="97" y="112"/>
                    <a:pt x="96" y="116"/>
                    <a:pt x="96" y="116"/>
                  </a:cubicBezTo>
                  <a:cubicBezTo>
                    <a:pt x="90" y="124"/>
                    <a:pt x="86" y="114"/>
                    <a:pt x="86" y="114"/>
                  </a:cubicBezTo>
                  <a:cubicBezTo>
                    <a:pt x="80" y="115"/>
                    <a:pt x="78" y="107"/>
                    <a:pt x="78" y="107"/>
                  </a:cubicBezTo>
                  <a:cubicBezTo>
                    <a:pt x="76" y="116"/>
                    <a:pt x="69" y="112"/>
                    <a:pt x="69" y="112"/>
                  </a:cubicBezTo>
                  <a:cubicBezTo>
                    <a:pt x="68" y="117"/>
                    <a:pt x="54" y="115"/>
                    <a:pt x="54" y="115"/>
                  </a:cubicBezTo>
                  <a:cubicBezTo>
                    <a:pt x="38" y="121"/>
                    <a:pt x="34" y="117"/>
                    <a:pt x="34" y="117"/>
                  </a:cubicBezTo>
                  <a:cubicBezTo>
                    <a:pt x="28" y="115"/>
                    <a:pt x="27" y="110"/>
                    <a:pt x="27" y="110"/>
                  </a:cubicBezTo>
                  <a:cubicBezTo>
                    <a:pt x="20" y="110"/>
                    <a:pt x="18" y="107"/>
                    <a:pt x="18" y="107"/>
                  </a:cubicBezTo>
                  <a:cubicBezTo>
                    <a:pt x="16" y="104"/>
                    <a:pt x="7" y="103"/>
                    <a:pt x="7" y="103"/>
                  </a:cubicBezTo>
                  <a:cubicBezTo>
                    <a:pt x="1" y="105"/>
                    <a:pt x="0" y="100"/>
                    <a:pt x="0" y="100"/>
                  </a:cubicBezTo>
                  <a:lnTo>
                    <a:pt x="9" y="99"/>
                  </a:lnTo>
                  <a:cubicBezTo>
                    <a:pt x="13" y="100"/>
                    <a:pt x="15" y="95"/>
                    <a:pt x="15" y="95"/>
                  </a:cubicBezTo>
                  <a:cubicBezTo>
                    <a:pt x="13" y="90"/>
                    <a:pt x="7" y="89"/>
                    <a:pt x="7" y="89"/>
                  </a:cubicBezTo>
                  <a:cubicBezTo>
                    <a:pt x="6" y="89"/>
                    <a:pt x="4" y="89"/>
                    <a:pt x="3" y="89"/>
                  </a:cubicBezTo>
                  <a:cubicBezTo>
                    <a:pt x="1" y="87"/>
                    <a:pt x="5" y="86"/>
                    <a:pt x="4" y="84"/>
                  </a:cubicBezTo>
                  <a:cubicBezTo>
                    <a:pt x="8" y="84"/>
                    <a:pt x="11" y="83"/>
                    <a:pt x="11" y="83"/>
                  </a:cubicBezTo>
                  <a:cubicBezTo>
                    <a:pt x="17" y="83"/>
                    <a:pt x="20" y="86"/>
                    <a:pt x="20" y="86"/>
                  </a:cubicBezTo>
                  <a:cubicBezTo>
                    <a:pt x="25" y="89"/>
                    <a:pt x="31" y="84"/>
                    <a:pt x="31" y="84"/>
                  </a:cubicBezTo>
                  <a:lnTo>
                    <a:pt x="35" y="83"/>
                  </a:lnTo>
                  <a:cubicBezTo>
                    <a:pt x="34" y="81"/>
                    <a:pt x="27" y="79"/>
                    <a:pt x="27" y="79"/>
                  </a:cubicBezTo>
                  <a:lnTo>
                    <a:pt x="18" y="79"/>
                  </a:lnTo>
                  <a:cubicBezTo>
                    <a:pt x="12" y="77"/>
                    <a:pt x="10" y="70"/>
                    <a:pt x="10" y="70"/>
                  </a:cubicBezTo>
                </a:path>
              </a:pathLst>
            </a:custGeom>
            <a:solidFill>
              <a:schemeClr val="accent1"/>
            </a:solidFill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81" name="Freeform 1171">
              <a:extLst>
                <a:ext uri="{FF2B5EF4-FFF2-40B4-BE49-F238E27FC236}">
                  <a16:creationId xmlns:a16="http://schemas.microsoft.com/office/drawing/2014/main" id="{739D9038-6B7A-8FF2-422F-92745AB6A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7883" y="3570953"/>
              <a:ext cx="1504345" cy="854545"/>
            </a:xfrm>
            <a:custGeom>
              <a:avLst/>
              <a:gdLst>
                <a:gd name="T0" fmla="*/ 1262062 w 213"/>
                <a:gd name="T1" fmla="*/ 785812 h 121"/>
                <a:gd name="T2" fmla="*/ 1103312 w 213"/>
                <a:gd name="T3" fmla="*/ 904875 h 121"/>
                <a:gd name="T4" fmla="*/ 968375 w 213"/>
                <a:gd name="T5" fmla="*/ 912812 h 121"/>
                <a:gd name="T6" fmla="*/ 881062 w 213"/>
                <a:gd name="T7" fmla="*/ 865187 h 121"/>
                <a:gd name="T8" fmla="*/ 825500 w 213"/>
                <a:gd name="T9" fmla="*/ 762000 h 121"/>
                <a:gd name="T10" fmla="*/ 730250 w 213"/>
                <a:gd name="T11" fmla="*/ 738187 h 121"/>
                <a:gd name="T12" fmla="*/ 611187 w 213"/>
                <a:gd name="T13" fmla="*/ 682625 h 121"/>
                <a:gd name="T14" fmla="*/ 396875 w 213"/>
                <a:gd name="T15" fmla="*/ 674687 h 121"/>
                <a:gd name="T16" fmla="*/ 246062 w 213"/>
                <a:gd name="T17" fmla="*/ 690562 h 121"/>
                <a:gd name="T18" fmla="*/ 87312 w 213"/>
                <a:gd name="T19" fmla="*/ 642937 h 121"/>
                <a:gd name="T20" fmla="*/ 31750 w 213"/>
                <a:gd name="T21" fmla="*/ 563562 h 121"/>
                <a:gd name="T22" fmla="*/ 134937 w 213"/>
                <a:gd name="T23" fmla="*/ 523875 h 121"/>
                <a:gd name="T24" fmla="*/ 325437 w 213"/>
                <a:gd name="T25" fmla="*/ 436562 h 121"/>
                <a:gd name="T26" fmla="*/ 365125 w 213"/>
                <a:gd name="T27" fmla="*/ 373062 h 121"/>
                <a:gd name="T28" fmla="*/ 539750 w 213"/>
                <a:gd name="T29" fmla="*/ 325437 h 121"/>
                <a:gd name="T30" fmla="*/ 642937 w 213"/>
                <a:gd name="T31" fmla="*/ 333375 h 121"/>
                <a:gd name="T32" fmla="*/ 738187 w 213"/>
                <a:gd name="T33" fmla="*/ 254000 h 121"/>
                <a:gd name="T34" fmla="*/ 865187 w 213"/>
                <a:gd name="T35" fmla="*/ 222250 h 121"/>
                <a:gd name="T36" fmla="*/ 952500 w 213"/>
                <a:gd name="T37" fmla="*/ 222250 h 121"/>
                <a:gd name="T38" fmla="*/ 1016000 w 213"/>
                <a:gd name="T39" fmla="*/ 150812 h 121"/>
                <a:gd name="T40" fmla="*/ 1087437 w 213"/>
                <a:gd name="T41" fmla="*/ 134937 h 121"/>
                <a:gd name="T42" fmla="*/ 1190625 w 213"/>
                <a:gd name="T43" fmla="*/ 182562 h 121"/>
                <a:gd name="T44" fmla="*/ 1246187 w 213"/>
                <a:gd name="T45" fmla="*/ 103187 h 121"/>
                <a:gd name="T46" fmla="*/ 1270000 w 213"/>
                <a:gd name="T47" fmla="*/ 31750 h 121"/>
                <a:gd name="T48" fmla="*/ 1404937 w 213"/>
                <a:gd name="T49" fmla="*/ 119062 h 121"/>
                <a:gd name="T50" fmla="*/ 1516062 w 213"/>
                <a:gd name="T51" fmla="*/ 198437 h 121"/>
                <a:gd name="T52" fmla="*/ 1690687 w 213"/>
                <a:gd name="T53" fmla="*/ 230187 h 121"/>
                <a:gd name="T54" fmla="*/ 1651000 w 213"/>
                <a:gd name="T55" fmla="*/ 285750 h 121"/>
                <a:gd name="T56" fmla="*/ 1587500 w 213"/>
                <a:gd name="T57" fmla="*/ 277812 h 121"/>
                <a:gd name="T58" fmla="*/ 1651000 w 213"/>
                <a:gd name="T59" fmla="*/ 349250 h 121"/>
                <a:gd name="T60" fmla="*/ 1603375 w 213"/>
                <a:gd name="T61" fmla="*/ 396875 h 121"/>
                <a:gd name="T62" fmla="*/ 1547812 w 213"/>
                <a:gd name="T63" fmla="*/ 420687 h 121"/>
                <a:gd name="T64" fmla="*/ 1539875 w 213"/>
                <a:gd name="T65" fmla="*/ 555625 h 121"/>
                <a:gd name="T66" fmla="*/ 1436687 w 213"/>
                <a:gd name="T67" fmla="*/ 706437 h 121"/>
                <a:gd name="T68" fmla="*/ 1357312 w 213"/>
                <a:gd name="T69" fmla="*/ 769937 h 12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13"/>
                <a:gd name="T106" fmla="*/ 0 h 121"/>
                <a:gd name="T107" fmla="*/ 213 w 213"/>
                <a:gd name="T108" fmla="*/ 121 h 12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13" h="121">
                  <a:moveTo>
                    <a:pt x="171" y="97"/>
                  </a:moveTo>
                  <a:cubicBezTo>
                    <a:pt x="163" y="89"/>
                    <a:pt x="164" y="101"/>
                    <a:pt x="159" y="99"/>
                  </a:cubicBezTo>
                  <a:cubicBezTo>
                    <a:pt x="159" y="99"/>
                    <a:pt x="152" y="95"/>
                    <a:pt x="152" y="106"/>
                  </a:cubicBezTo>
                  <a:cubicBezTo>
                    <a:pt x="152" y="106"/>
                    <a:pt x="154" y="116"/>
                    <a:pt x="139" y="114"/>
                  </a:cubicBezTo>
                  <a:cubicBezTo>
                    <a:pt x="139" y="114"/>
                    <a:pt x="131" y="108"/>
                    <a:pt x="129" y="114"/>
                  </a:cubicBezTo>
                  <a:cubicBezTo>
                    <a:pt x="129" y="114"/>
                    <a:pt x="124" y="121"/>
                    <a:pt x="122" y="115"/>
                  </a:cubicBezTo>
                  <a:cubicBezTo>
                    <a:pt x="122" y="115"/>
                    <a:pt x="119" y="110"/>
                    <a:pt x="115" y="114"/>
                  </a:cubicBezTo>
                  <a:cubicBezTo>
                    <a:pt x="115" y="114"/>
                    <a:pt x="108" y="116"/>
                    <a:pt x="111" y="109"/>
                  </a:cubicBezTo>
                  <a:cubicBezTo>
                    <a:pt x="111" y="109"/>
                    <a:pt x="111" y="104"/>
                    <a:pt x="107" y="102"/>
                  </a:cubicBezTo>
                  <a:cubicBezTo>
                    <a:pt x="107" y="102"/>
                    <a:pt x="99" y="97"/>
                    <a:pt x="104" y="96"/>
                  </a:cubicBezTo>
                  <a:cubicBezTo>
                    <a:pt x="104" y="96"/>
                    <a:pt x="110" y="91"/>
                    <a:pt x="100" y="91"/>
                  </a:cubicBezTo>
                  <a:cubicBezTo>
                    <a:pt x="100" y="91"/>
                    <a:pt x="98" y="87"/>
                    <a:pt x="92" y="93"/>
                  </a:cubicBezTo>
                  <a:cubicBezTo>
                    <a:pt x="92" y="93"/>
                    <a:pt x="94" y="88"/>
                    <a:pt x="85" y="89"/>
                  </a:cubicBezTo>
                  <a:cubicBezTo>
                    <a:pt x="85" y="89"/>
                    <a:pt x="78" y="91"/>
                    <a:pt x="77" y="86"/>
                  </a:cubicBezTo>
                  <a:cubicBezTo>
                    <a:pt x="77" y="86"/>
                    <a:pt x="73" y="77"/>
                    <a:pt x="64" y="84"/>
                  </a:cubicBezTo>
                  <a:cubicBezTo>
                    <a:pt x="60" y="90"/>
                    <a:pt x="61" y="82"/>
                    <a:pt x="50" y="85"/>
                  </a:cubicBezTo>
                  <a:cubicBezTo>
                    <a:pt x="47" y="85"/>
                    <a:pt x="46" y="89"/>
                    <a:pt x="44" y="86"/>
                  </a:cubicBezTo>
                  <a:cubicBezTo>
                    <a:pt x="44" y="86"/>
                    <a:pt x="35" y="82"/>
                    <a:pt x="31" y="87"/>
                  </a:cubicBezTo>
                  <a:cubicBezTo>
                    <a:pt x="31" y="87"/>
                    <a:pt x="27" y="88"/>
                    <a:pt x="23" y="87"/>
                  </a:cubicBezTo>
                  <a:cubicBezTo>
                    <a:pt x="18" y="89"/>
                    <a:pt x="16" y="81"/>
                    <a:pt x="11" y="81"/>
                  </a:cubicBezTo>
                  <a:cubicBezTo>
                    <a:pt x="11" y="81"/>
                    <a:pt x="10" y="84"/>
                    <a:pt x="5" y="83"/>
                  </a:cubicBezTo>
                  <a:cubicBezTo>
                    <a:pt x="0" y="77"/>
                    <a:pt x="4" y="71"/>
                    <a:pt x="4" y="71"/>
                  </a:cubicBezTo>
                  <a:cubicBezTo>
                    <a:pt x="7" y="64"/>
                    <a:pt x="10" y="67"/>
                    <a:pt x="10" y="67"/>
                  </a:cubicBezTo>
                  <a:cubicBezTo>
                    <a:pt x="13" y="72"/>
                    <a:pt x="17" y="66"/>
                    <a:pt x="17" y="66"/>
                  </a:cubicBezTo>
                  <a:cubicBezTo>
                    <a:pt x="24" y="58"/>
                    <a:pt x="27" y="63"/>
                    <a:pt x="29" y="61"/>
                  </a:cubicBezTo>
                  <a:cubicBezTo>
                    <a:pt x="35" y="54"/>
                    <a:pt x="41" y="55"/>
                    <a:pt x="41" y="55"/>
                  </a:cubicBezTo>
                  <a:cubicBezTo>
                    <a:pt x="46" y="57"/>
                    <a:pt x="44" y="53"/>
                    <a:pt x="44" y="53"/>
                  </a:cubicBezTo>
                  <a:cubicBezTo>
                    <a:pt x="42" y="51"/>
                    <a:pt x="46" y="47"/>
                    <a:pt x="46" y="47"/>
                  </a:cubicBezTo>
                  <a:cubicBezTo>
                    <a:pt x="47" y="39"/>
                    <a:pt x="51" y="41"/>
                    <a:pt x="51" y="41"/>
                  </a:cubicBezTo>
                  <a:cubicBezTo>
                    <a:pt x="60" y="39"/>
                    <a:pt x="68" y="41"/>
                    <a:pt x="68" y="41"/>
                  </a:cubicBezTo>
                  <a:cubicBezTo>
                    <a:pt x="69" y="45"/>
                    <a:pt x="74" y="41"/>
                    <a:pt x="74" y="41"/>
                  </a:cubicBezTo>
                  <a:cubicBezTo>
                    <a:pt x="79" y="38"/>
                    <a:pt x="81" y="42"/>
                    <a:pt x="81" y="42"/>
                  </a:cubicBezTo>
                  <a:cubicBezTo>
                    <a:pt x="82" y="45"/>
                    <a:pt x="90" y="40"/>
                    <a:pt x="90" y="40"/>
                  </a:cubicBezTo>
                  <a:cubicBezTo>
                    <a:pt x="89" y="36"/>
                    <a:pt x="93" y="32"/>
                    <a:pt x="93" y="32"/>
                  </a:cubicBezTo>
                  <a:cubicBezTo>
                    <a:pt x="91" y="25"/>
                    <a:pt x="98" y="27"/>
                    <a:pt x="98" y="27"/>
                  </a:cubicBezTo>
                  <a:cubicBezTo>
                    <a:pt x="102" y="25"/>
                    <a:pt x="109" y="28"/>
                    <a:pt x="109" y="28"/>
                  </a:cubicBezTo>
                  <a:cubicBezTo>
                    <a:pt x="111" y="35"/>
                    <a:pt x="114" y="29"/>
                    <a:pt x="114" y="29"/>
                  </a:cubicBezTo>
                  <a:cubicBezTo>
                    <a:pt x="118" y="24"/>
                    <a:pt x="120" y="28"/>
                    <a:pt x="120" y="28"/>
                  </a:cubicBezTo>
                  <a:cubicBezTo>
                    <a:pt x="125" y="31"/>
                    <a:pt x="124" y="24"/>
                    <a:pt x="124" y="24"/>
                  </a:cubicBezTo>
                  <a:cubicBezTo>
                    <a:pt x="124" y="20"/>
                    <a:pt x="128" y="19"/>
                    <a:pt x="128" y="19"/>
                  </a:cubicBezTo>
                  <a:cubicBezTo>
                    <a:pt x="130" y="18"/>
                    <a:pt x="133" y="14"/>
                    <a:pt x="133" y="14"/>
                  </a:cubicBezTo>
                  <a:cubicBezTo>
                    <a:pt x="134" y="17"/>
                    <a:pt x="137" y="17"/>
                    <a:pt x="137" y="17"/>
                  </a:cubicBezTo>
                  <a:cubicBezTo>
                    <a:pt x="142" y="20"/>
                    <a:pt x="143" y="25"/>
                    <a:pt x="143" y="25"/>
                  </a:cubicBezTo>
                  <a:cubicBezTo>
                    <a:pt x="147" y="27"/>
                    <a:pt x="150" y="23"/>
                    <a:pt x="150" y="23"/>
                  </a:cubicBezTo>
                  <a:cubicBezTo>
                    <a:pt x="153" y="21"/>
                    <a:pt x="153" y="26"/>
                    <a:pt x="157" y="22"/>
                  </a:cubicBezTo>
                  <a:cubicBezTo>
                    <a:pt x="160" y="19"/>
                    <a:pt x="157" y="13"/>
                    <a:pt x="157" y="13"/>
                  </a:cubicBezTo>
                  <a:cubicBezTo>
                    <a:pt x="155" y="7"/>
                    <a:pt x="151" y="8"/>
                    <a:pt x="155" y="0"/>
                  </a:cubicBezTo>
                  <a:cubicBezTo>
                    <a:pt x="159" y="1"/>
                    <a:pt x="160" y="4"/>
                    <a:pt x="160" y="4"/>
                  </a:cubicBezTo>
                  <a:cubicBezTo>
                    <a:pt x="170" y="5"/>
                    <a:pt x="173" y="9"/>
                    <a:pt x="173" y="9"/>
                  </a:cubicBezTo>
                  <a:cubicBezTo>
                    <a:pt x="176" y="12"/>
                    <a:pt x="177" y="15"/>
                    <a:pt x="177" y="15"/>
                  </a:cubicBezTo>
                  <a:cubicBezTo>
                    <a:pt x="184" y="15"/>
                    <a:pt x="183" y="19"/>
                    <a:pt x="183" y="19"/>
                  </a:cubicBezTo>
                  <a:cubicBezTo>
                    <a:pt x="185" y="28"/>
                    <a:pt x="188" y="23"/>
                    <a:pt x="191" y="25"/>
                  </a:cubicBezTo>
                  <a:cubicBezTo>
                    <a:pt x="194" y="27"/>
                    <a:pt x="198" y="26"/>
                    <a:pt x="198" y="26"/>
                  </a:cubicBezTo>
                  <a:cubicBezTo>
                    <a:pt x="211" y="23"/>
                    <a:pt x="213" y="29"/>
                    <a:pt x="213" y="29"/>
                  </a:cubicBezTo>
                  <a:lnTo>
                    <a:pt x="208" y="36"/>
                  </a:lnTo>
                  <a:cubicBezTo>
                    <a:pt x="208" y="36"/>
                    <a:pt x="207" y="32"/>
                    <a:pt x="200" y="35"/>
                  </a:cubicBezTo>
                  <a:cubicBezTo>
                    <a:pt x="200" y="35"/>
                    <a:pt x="188" y="35"/>
                    <a:pt x="200" y="41"/>
                  </a:cubicBezTo>
                  <a:cubicBezTo>
                    <a:pt x="200" y="41"/>
                    <a:pt x="206" y="41"/>
                    <a:pt x="208" y="44"/>
                  </a:cubicBezTo>
                  <a:cubicBezTo>
                    <a:pt x="208" y="44"/>
                    <a:pt x="207" y="47"/>
                    <a:pt x="202" y="50"/>
                  </a:cubicBezTo>
                  <a:lnTo>
                    <a:pt x="195" y="53"/>
                  </a:lnTo>
                  <a:cubicBezTo>
                    <a:pt x="195" y="53"/>
                    <a:pt x="188" y="56"/>
                    <a:pt x="192" y="61"/>
                  </a:cubicBezTo>
                  <a:cubicBezTo>
                    <a:pt x="192" y="61"/>
                    <a:pt x="194" y="63"/>
                    <a:pt x="194" y="70"/>
                  </a:cubicBezTo>
                  <a:cubicBezTo>
                    <a:pt x="194" y="70"/>
                    <a:pt x="198" y="78"/>
                    <a:pt x="188" y="83"/>
                  </a:cubicBezTo>
                  <a:cubicBezTo>
                    <a:pt x="188" y="83"/>
                    <a:pt x="182" y="83"/>
                    <a:pt x="181" y="89"/>
                  </a:cubicBezTo>
                  <a:cubicBezTo>
                    <a:pt x="181" y="89"/>
                    <a:pt x="173" y="91"/>
                    <a:pt x="171" y="97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83" name="Freeform 1172">
              <a:extLst>
                <a:ext uri="{FF2B5EF4-FFF2-40B4-BE49-F238E27FC236}">
                  <a16:creationId xmlns:a16="http://schemas.microsoft.com/office/drawing/2014/main" id="{24112585-C117-9EC4-5E4E-7367199FD6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0284" y="3578016"/>
              <a:ext cx="1447844" cy="960480"/>
            </a:xfrm>
            <a:custGeom>
              <a:avLst/>
              <a:gdLst>
                <a:gd name="T0" fmla="*/ 1444625 w 205"/>
                <a:gd name="T1" fmla="*/ 793750 h 136"/>
                <a:gd name="T2" fmla="*/ 1357312 w 205"/>
                <a:gd name="T3" fmla="*/ 793750 h 136"/>
                <a:gd name="T4" fmla="*/ 1285875 w 205"/>
                <a:gd name="T5" fmla="*/ 769938 h 136"/>
                <a:gd name="T6" fmla="*/ 1262062 w 205"/>
                <a:gd name="T7" fmla="*/ 666750 h 136"/>
                <a:gd name="T8" fmla="*/ 1190625 w 205"/>
                <a:gd name="T9" fmla="*/ 658813 h 136"/>
                <a:gd name="T10" fmla="*/ 1063625 w 205"/>
                <a:gd name="T11" fmla="*/ 650875 h 136"/>
                <a:gd name="T12" fmla="*/ 912812 w 205"/>
                <a:gd name="T13" fmla="*/ 650875 h 136"/>
                <a:gd name="T14" fmla="*/ 881062 w 205"/>
                <a:gd name="T15" fmla="*/ 650875 h 136"/>
                <a:gd name="T16" fmla="*/ 769937 w 205"/>
                <a:gd name="T17" fmla="*/ 698500 h 136"/>
                <a:gd name="T18" fmla="*/ 801687 w 205"/>
                <a:gd name="T19" fmla="*/ 754063 h 136"/>
                <a:gd name="T20" fmla="*/ 801687 w 205"/>
                <a:gd name="T21" fmla="*/ 833438 h 136"/>
                <a:gd name="T22" fmla="*/ 817562 w 205"/>
                <a:gd name="T23" fmla="*/ 968375 h 136"/>
                <a:gd name="T24" fmla="*/ 738187 w 205"/>
                <a:gd name="T25" fmla="*/ 1008063 h 136"/>
                <a:gd name="T26" fmla="*/ 587375 w 205"/>
                <a:gd name="T27" fmla="*/ 1047750 h 136"/>
                <a:gd name="T28" fmla="*/ 452437 w 205"/>
                <a:gd name="T29" fmla="*/ 1063625 h 136"/>
                <a:gd name="T30" fmla="*/ 373062 w 205"/>
                <a:gd name="T31" fmla="*/ 1055688 h 136"/>
                <a:gd name="T32" fmla="*/ 222250 w 205"/>
                <a:gd name="T33" fmla="*/ 1039813 h 136"/>
                <a:gd name="T34" fmla="*/ 150812 w 205"/>
                <a:gd name="T35" fmla="*/ 1039813 h 136"/>
                <a:gd name="T36" fmla="*/ 63500 w 205"/>
                <a:gd name="T37" fmla="*/ 1016000 h 136"/>
                <a:gd name="T38" fmla="*/ 47625 w 205"/>
                <a:gd name="T39" fmla="*/ 928688 h 136"/>
                <a:gd name="T40" fmla="*/ 39687 w 205"/>
                <a:gd name="T41" fmla="*/ 809625 h 136"/>
                <a:gd name="T42" fmla="*/ 119062 w 205"/>
                <a:gd name="T43" fmla="*/ 698500 h 136"/>
                <a:gd name="T44" fmla="*/ 222250 w 205"/>
                <a:gd name="T45" fmla="*/ 547688 h 136"/>
                <a:gd name="T46" fmla="*/ 230187 w 205"/>
                <a:gd name="T47" fmla="*/ 412750 h 136"/>
                <a:gd name="T48" fmla="*/ 285750 w 205"/>
                <a:gd name="T49" fmla="*/ 388938 h 136"/>
                <a:gd name="T50" fmla="*/ 333375 w 205"/>
                <a:gd name="T51" fmla="*/ 341313 h 136"/>
                <a:gd name="T52" fmla="*/ 269875 w 205"/>
                <a:gd name="T53" fmla="*/ 269875 h 136"/>
                <a:gd name="T54" fmla="*/ 333375 w 205"/>
                <a:gd name="T55" fmla="*/ 277813 h 136"/>
                <a:gd name="T56" fmla="*/ 373062 w 205"/>
                <a:gd name="T57" fmla="*/ 222250 h 136"/>
                <a:gd name="T58" fmla="*/ 515937 w 205"/>
                <a:gd name="T59" fmla="*/ 269875 h 136"/>
                <a:gd name="T60" fmla="*/ 539750 w 205"/>
                <a:gd name="T61" fmla="*/ 142875 h 136"/>
                <a:gd name="T62" fmla="*/ 690562 w 205"/>
                <a:gd name="T63" fmla="*/ 31750 h 136"/>
                <a:gd name="T64" fmla="*/ 896937 w 205"/>
                <a:gd name="T65" fmla="*/ 55563 h 136"/>
                <a:gd name="T66" fmla="*/ 1127125 w 205"/>
                <a:gd name="T67" fmla="*/ 127000 h 136"/>
                <a:gd name="T68" fmla="*/ 1270000 w 205"/>
                <a:gd name="T69" fmla="*/ 246063 h 136"/>
                <a:gd name="T70" fmla="*/ 1341437 w 205"/>
                <a:gd name="T71" fmla="*/ 333375 h 136"/>
                <a:gd name="T72" fmla="*/ 1452562 w 205"/>
                <a:gd name="T73" fmla="*/ 301625 h 136"/>
                <a:gd name="T74" fmla="*/ 1531937 w 205"/>
                <a:gd name="T75" fmla="*/ 325438 h 136"/>
                <a:gd name="T76" fmla="*/ 1587500 w 205"/>
                <a:gd name="T77" fmla="*/ 325438 h 136"/>
                <a:gd name="T78" fmla="*/ 1579562 w 205"/>
                <a:gd name="T79" fmla="*/ 484188 h 136"/>
                <a:gd name="T80" fmla="*/ 1603375 w 205"/>
                <a:gd name="T81" fmla="*/ 563563 h 136"/>
                <a:gd name="T82" fmla="*/ 1555750 w 205"/>
                <a:gd name="T83" fmla="*/ 650875 h 136"/>
                <a:gd name="T84" fmla="*/ 1492250 w 205"/>
                <a:gd name="T85" fmla="*/ 698500 h 136"/>
                <a:gd name="T86" fmla="*/ 1492250 w 205"/>
                <a:gd name="T87" fmla="*/ 785813 h 136"/>
                <a:gd name="T88" fmla="*/ 1492250 w 205"/>
                <a:gd name="T89" fmla="*/ 785813 h 1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05"/>
                <a:gd name="T136" fmla="*/ 0 h 136"/>
                <a:gd name="T137" fmla="*/ 205 w 205"/>
                <a:gd name="T138" fmla="*/ 136 h 1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05" h="136">
                  <a:moveTo>
                    <a:pt x="188" y="99"/>
                  </a:moveTo>
                  <a:cubicBezTo>
                    <a:pt x="183" y="97"/>
                    <a:pt x="182" y="100"/>
                    <a:pt x="182" y="100"/>
                  </a:cubicBezTo>
                  <a:cubicBezTo>
                    <a:pt x="180" y="102"/>
                    <a:pt x="177" y="99"/>
                    <a:pt x="177" y="99"/>
                  </a:cubicBezTo>
                  <a:cubicBezTo>
                    <a:pt x="172" y="104"/>
                    <a:pt x="171" y="100"/>
                    <a:pt x="171" y="100"/>
                  </a:cubicBezTo>
                  <a:cubicBezTo>
                    <a:pt x="167" y="96"/>
                    <a:pt x="166" y="99"/>
                    <a:pt x="166" y="99"/>
                  </a:cubicBezTo>
                  <a:cubicBezTo>
                    <a:pt x="162" y="101"/>
                    <a:pt x="162" y="97"/>
                    <a:pt x="162" y="97"/>
                  </a:cubicBezTo>
                  <a:cubicBezTo>
                    <a:pt x="168" y="93"/>
                    <a:pt x="161" y="92"/>
                    <a:pt x="161" y="92"/>
                  </a:cubicBezTo>
                  <a:cubicBezTo>
                    <a:pt x="157" y="87"/>
                    <a:pt x="159" y="84"/>
                    <a:pt x="159" y="84"/>
                  </a:cubicBezTo>
                  <a:cubicBezTo>
                    <a:pt x="156" y="87"/>
                    <a:pt x="155" y="85"/>
                    <a:pt x="155" y="85"/>
                  </a:cubicBezTo>
                  <a:cubicBezTo>
                    <a:pt x="155" y="79"/>
                    <a:pt x="150" y="83"/>
                    <a:pt x="150" y="83"/>
                  </a:cubicBezTo>
                  <a:cubicBezTo>
                    <a:pt x="145" y="84"/>
                    <a:pt x="143" y="81"/>
                    <a:pt x="143" y="81"/>
                  </a:cubicBezTo>
                  <a:cubicBezTo>
                    <a:pt x="138" y="77"/>
                    <a:pt x="134" y="82"/>
                    <a:pt x="134" y="82"/>
                  </a:cubicBezTo>
                  <a:cubicBezTo>
                    <a:pt x="130" y="85"/>
                    <a:pt x="126" y="82"/>
                    <a:pt x="126" y="82"/>
                  </a:cubicBezTo>
                  <a:cubicBezTo>
                    <a:pt x="118" y="80"/>
                    <a:pt x="115" y="82"/>
                    <a:pt x="115" y="82"/>
                  </a:cubicBezTo>
                  <a:cubicBezTo>
                    <a:pt x="114" y="82"/>
                    <a:pt x="114" y="82"/>
                    <a:pt x="113" y="81"/>
                  </a:cubicBezTo>
                  <a:cubicBezTo>
                    <a:pt x="112" y="81"/>
                    <a:pt x="112" y="81"/>
                    <a:pt x="111" y="82"/>
                  </a:cubicBezTo>
                  <a:cubicBezTo>
                    <a:pt x="105" y="80"/>
                    <a:pt x="104" y="85"/>
                    <a:pt x="104" y="85"/>
                  </a:cubicBezTo>
                  <a:cubicBezTo>
                    <a:pt x="96" y="84"/>
                    <a:pt x="97" y="88"/>
                    <a:pt x="97" y="88"/>
                  </a:cubicBezTo>
                  <a:cubicBezTo>
                    <a:pt x="98" y="90"/>
                    <a:pt x="95" y="92"/>
                    <a:pt x="95" y="92"/>
                  </a:cubicBezTo>
                  <a:cubicBezTo>
                    <a:pt x="98" y="92"/>
                    <a:pt x="101" y="95"/>
                    <a:pt x="101" y="95"/>
                  </a:cubicBezTo>
                  <a:cubicBezTo>
                    <a:pt x="104" y="97"/>
                    <a:pt x="96" y="96"/>
                    <a:pt x="96" y="100"/>
                  </a:cubicBezTo>
                  <a:cubicBezTo>
                    <a:pt x="96" y="102"/>
                    <a:pt x="101" y="105"/>
                    <a:pt x="101" y="105"/>
                  </a:cubicBezTo>
                  <a:cubicBezTo>
                    <a:pt x="99" y="114"/>
                    <a:pt x="107" y="111"/>
                    <a:pt x="103" y="116"/>
                  </a:cubicBezTo>
                  <a:cubicBezTo>
                    <a:pt x="102" y="118"/>
                    <a:pt x="103" y="122"/>
                    <a:pt x="103" y="122"/>
                  </a:cubicBezTo>
                  <a:cubicBezTo>
                    <a:pt x="104" y="130"/>
                    <a:pt x="100" y="128"/>
                    <a:pt x="100" y="128"/>
                  </a:cubicBezTo>
                  <a:cubicBezTo>
                    <a:pt x="94" y="129"/>
                    <a:pt x="93" y="127"/>
                    <a:pt x="93" y="127"/>
                  </a:cubicBezTo>
                  <a:cubicBezTo>
                    <a:pt x="86" y="124"/>
                    <a:pt x="81" y="128"/>
                    <a:pt x="81" y="128"/>
                  </a:cubicBezTo>
                  <a:cubicBezTo>
                    <a:pt x="79" y="130"/>
                    <a:pt x="74" y="132"/>
                    <a:pt x="74" y="132"/>
                  </a:cubicBezTo>
                  <a:cubicBezTo>
                    <a:pt x="70" y="131"/>
                    <a:pt x="68" y="134"/>
                    <a:pt x="68" y="134"/>
                  </a:cubicBezTo>
                  <a:cubicBezTo>
                    <a:pt x="63" y="134"/>
                    <a:pt x="57" y="134"/>
                    <a:pt x="57" y="134"/>
                  </a:cubicBezTo>
                  <a:cubicBezTo>
                    <a:pt x="54" y="135"/>
                    <a:pt x="53" y="133"/>
                    <a:pt x="53" y="133"/>
                  </a:cubicBezTo>
                  <a:cubicBezTo>
                    <a:pt x="49" y="130"/>
                    <a:pt x="47" y="133"/>
                    <a:pt x="47" y="133"/>
                  </a:cubicBezTo>
                  <a:cubicBezTo>
                    <a:pt x="35" y="136"/>
                    <a:pt x="36" y="131"/>
                    <a:pt x="36" y="131"/>
                  </a:cubicBezTo>
                  <a:cubicBezTo>
                    <a:pt x="32" y="125"/>
                    <a:pt x="28" y="131"/>
                    <a:pt x="28" y="131"/>
                  </a:cubicBezTo>
                  <a:cubicBezTo>
                    <a:pt x="27" y="133"/>
                    <a:pt x="23" y="130"/>
                    <a:pt x="23" y="133"/>
                  </a:cubicBezTo>
                  <a:cubicBezTo>
                    <a:pt x="22" y="136"/>
                    <a:pt x="19" y="131"/>
                    <a:pt x="19" y="131"/>
                  </a:cubicBezTo>
                  <a:cubicBezTo>
                    <a:pt x="18" y="130"/>
                    <a:pt x="14" y="130"/>
                    <a:pt x="14" y="130"/>
                  </a:cubicBezTo>
                  <a:cubicBezTo>
                    <a:pt x="12" y="127"/>
                    <a:pt x="8" y="128"/>
                    <a:pt x="8" y="128"/>
                  </a:cubicBezTo>
                  <a:cubicBezTo>
                    <a:pt x="2" y="127"/>
                    <a:pt x="4" y="123"/>
                    <a:pt x="4" y="123"/>
                  </a:cubicBezTo>
                  <a:cubicBezTo>
                    <a:pt x="0" y="116"/>
                    <a:pt x="6" y="117"/>
                    <a:pt x="6" y="117"/>
                  </a:cubicBezTo>
                  <a:cubicBezTo>
                    <a:pt x="9" y="115"/>
                    <a:pt x="6" y="108"/>
                    <a:pt x="6" y="108"/>
                  </a:cubicBezTo>
                  <a:cubicBezTo>
                    <a:pt x="8" y="103"/>
                    <a:pt x="5" y="102"/>
                    <a:pt x="5" y="102"/>
                  </a:cubicBezTo>
                  <a:cubicBezTo>
                    <a:pt x="3" y="99"/>
                    <a:pt x="5" y="96"/>
                    <a:pt x="5" y="96"/>
                  </a:cubicBezTo>
                  <a:cubicBezTo>
                    <a:pt x="7" y="89"/>
                    <a:pt x="15" y="88"/>
                    <a:pt x="15" y="88"/>
                  </a:cubicBezTo>
                  <a:cubicBezTo>
                    <a:pt x="16" y="82"/>
                    <a:pt x="22" y="82"/>
                    <a:pt x="22" y="82"/>
                  </a:cubicBezTo>
                  <a:cubicBezTo>
                    <a:pt x="32" y="77"/>
                    <a:pt x="28" y="69"/>
                    <a:pt x="28" y="69"/>
                  </a:cubicBezTo>
                  <a:cubicBezTo>
                    <a:pt x="28" y="62"/>
                    <a:pt x="26" y="60"/>
                    <a:pt x="26" y="60"/>
                  </a:cubicBezTo>
                  <a:cubicBezTo>
                    <a:pt x="22" y="55"/>
                    <a:pt x="29" y="52"/>
                    <a:pt x="29" y="52"/>
                  </a:cubicBezTo>
                  <a:lnTo>
                    <a:pt x="36" y="49"/>
                  </a:lnTo>
                  <a:cubicBezTo>
                    <a:pt x="41" y="46"/>
                    <a:pt x="42" y="43"/>
                    <a:pt x="42" y="43"/>
                  </a:cubicBezTo>
                  <a:cubicBezTo>
                    <a:pt x="40" y="40"/>
                    <a:pt x="34" y="40"/>
                    <a:pt x="34" y="40"/>
                  </a:cubicBezTo>
                  <a:cubicBezTo>
                    <a:pt x="22" y="34"/>
                    <a:pt x="34" y="34"/>
                    <a:pt x="34" y="34"/>
                  </a:cubicBezTo>
                  <a:cubicBezTo>
                    <a:pt x="41" y="31"/>
                    <a:pt x="42" y="35"/>
                    <a:pt x="42" y="35"/>
                  </a:cubicBezTo>
                  <a:lnTo>
                    <a:pt x="47" y="28"/>
                  </a:lnTo>
                  <a:cubicBezTo>
                    <a:pt x="50" y="30"/>
                    <a:pt x="56" y="33"/>
                    <a:pt x="56" y="33"/>
                  </a:cubicBezTo>
                  <a:cubicBezTo>
                    <a:pt x="64" y="38"/>
                    <a:pt x="65" y="34"/>
                    <a:pt x="65" y="34"/>
                  </a:cubicBezTo>
                  <a:cubicBezTo>
                    <a:pt x="65" y="34"/>
                    <a:pt x="68" y="31"/>
                    <a:pt x="66" y="25"/>
                  </a:cubicBezTo>
                  <a:cubicBezTo>
                    <a:pt x="66" y="25"/>
                    <a:pt x="62" y="24"/>
                    <a:pt x="68" y="18"/>
                  </a:cubicBezTo>
                  <a:cubicBezTo>
                    <a:pt x="68" y="18"/>
                    <a:pt x="69" y="10"/>
                    <a:pt x="75" y="10"/>
                  </a:cubicBezTo>
                  <a:cubicBezTo>
                    <a:pt x="80" y="4"/>
                    <a:pt x="85" y="6"/>
                    <a:pt x="87" y="4"/>
                  </a:cubicBezTo>
                  <a:cubicBezTo>
                    <a:pt x="90" y="1"/>
                    <a:pt x="95" y="4"/>
                    <a:pt x="99" y="2"/>
                  </a:cubicBezTo>
                  <a:cubicBezTo>
                    <a:pt x="100" y="4"/>
                    <a:pt x="109" y="0"/>
                    <a:pt x="113" y="7"/>
                  </a:cubicBezTo>
                  <a:cubicBezTo>
                    <a:pt x="121" y="13"/>
                    <a:pt x="124" y="17"/>
                    <a:pt x="129" y="16"/>
                  </a:cubicBezTo>
                  <a:cubicBezTo>
                    <a:pt x="135" y="17"/>
                    <a:pt x="142" y="16"/>
                    <a:pt x="142" y="16"/>
                  </a:cubicBezTo>
                  <a:cubicBezTo>
                    <a:pt x="153" y="9"/>
                    <a:pt x="153" y="23"/>
                    <a:pt x="153" y="23"/>
                  </a:cubicBezTo>
                  <a:cubicBezTo>
                    <a:pt x="162" y="27"/>
                    <a:pt x="160" y="31"/>
                    <a:pt x="160" y="31"/>
                  </a:cubicBezTo>
                  <a:cubicBezTo>
                    <a:pt x="161" y="35"/>
                    <a:pt x="164" y="36"/>
                    <a:pt x="164" y="36"/>
                  </a:cubicBezTo>
                  <a:cubicBezTo>
                    <a:pt x="170" y="38"/>
                    <a:pt x="169" y="42"/>
                    <a:pt x="169" y="42"/>
                  </a:cubicBezTo>
                  <a:cubicBezTo>
                    <a:pt x="169" y="51"/>
                    <a:pt x="174" y="42"/>
                    <a:pt x="174" y="42"/>
                  </a:cubicBezTo>
                  <a:cubicBezTo>
                    <a:pt x="177" y="34"/>
                    <a:pt x="183" y="38"/>
                    <a:pt x="183" y="38"/>
                  </a:cubicBezTo>
                  <a:cubicBezTo>
                    <a:pt x="184" y="42"/>
                    <a:pt x="190" y="38"/>
                    <a:pt x="190" y="38"/>
                  </a:cubicBezTo>
                  <a:cubicBezTo>
                    <a:pt x="196" y="40"/>
                    <a:pt x="193" y="41"/>
                    <a:pt x="193" y="41"/>
                  </a:cubicBezTo>
                  <a:cubicBezTo>
                    <a:pt x="190" y="44"/>
                    <a:pt x="195" y="46"/>
                    <a:pt x="195" y="42"/>
                  </a:cubicBezTo>
                  <a:cubicBezTo>
                    <a:pt x="197" y="40"/>
                    <a:pt x="200" y="41"/>
                    <a:pt x="200" y="41"/>
                  </a:cubicBezTo>
                  <a:cubicBezTo>
                    <a:pt x="201" y="43"/>
                    <a:pt x="196" y="45"/>
                    <a:pt x="197" y="50"/>
                  </a:cubicBezTo>
                  <a:cubicBezTo>
                    <a:pt x="195" y="61"/>
                    <a:pt x="199" y="61"/>
                    <a:pt x="199" y="61"/>
                  </a:cubicBezTo>
                  <a:cubicBezTo>
                    <a:pt x="203" y="62"/>
                    <a:pt x="204" y="66"/>
                    <a:pt x="204" y="66"/>
                  </a:cubicBezTo>
                  <a:cubicBezTo>
                    <a:pt x="205" y="70"/>
                    <a:pt x="202" y="71"/>
                    <a:pt x="202" y="71"/>
                  </a:cubicBezTo>
                  <a:cubicBezTo>
                    <a:pt x="199" y="72"/>
                    <a:pt x="202" y="78"/>
                    <a:pt x="202" y="78"/>
                  </a:cubicBezTo>
                  <a:cubicBezTo>
                    <a:pt x="205" y="85"/>
                    <a:pt x="196" y="82"/>
                    <a:pt x="196" y="82"/>
                  </a:cubicBezTo>
                  <a:cubicBezTo>
                    <a:pt x="191" y="75"/>
                    <a:pt x="188" y="80"/>
                    <a:pt x="188" y="80"/>
                  </a:cubicBezTo>
                  <a:cubicBezTo>
                    <a:pt x="184" y="85"/>
                    <a:pt x="188" y="88"/>
                    <a:pt x="188" y="88"/>
                  </a:cubicBezTo>
                  <a:cubicBezTo>
                    <a:pt x="192" y="91"/>
                    <a:pt x="188" y="92"/>
                    <a:pt x="188" y="92"/>
                  </a:cubicBezTo>
                  <a:cubicBezTo>
                    <a:pt x="182" y="93"/>
                    <a:pt x="188" y="99"/>
                    <a:pt x="188" y="99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84" name="Freeform 1173">
              <a:extLst>
                <a:ext uri="{FF2B5EF4-FFF2-40B4-BE49-F238E27FC236}">
                  <a16:creationId xmlns:a16="http://schemas.microsoft.com/office/drawing/2014/main" id="{17244CE1-5077-4B7E-1FCB-D8F920FAE6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5401" y="2857656"/>
              <a:ext cx="1193588" cy="988730"/>
            </a:xfrm>
            <a:custGeom>
              <a:avLst/>
              <a:gdLst>
                <a:gd name="T0" fmla="*/ 1095375 w 169"/>
                <a:gd name="T1" fmla="*/ 238125 h 140"/>
                <a:gd name="T2" fmla="*/ 1087437 w 169"/>
                <a:gd name="T3" fmla="*/ 309563 h 140"/>
                <a:gd name="T4" fmla="*/ 1095375 w 169"/>
                <a:gd name="T5" fmla="*/ 381000 h 140"/>
                <a:gd name="T6" fmla="*/ 1174750 w 169"/>
                <a:gd name="T7" fmla="*/ 412750 h 140"/>
                <a:gd name="T8" fmla="*/ 1222375 w 169"/>
                <a:gd name="T9" fmla="*/ 460375 h 140"/>
                <a:gd name="T10" fmla="*/ 1285875 w 169"/>
                <a:gd name="T11" fmla="*/ 515938 h 140"/>
                <a:gd name="T12" fmla="*/ 1317625 w 169"/>
                <a:gd name="T13" fmla="*/ 539750 h 140"/>
                <a:gd name="T14" fmla="*/ 1309687 w 169"/>
                <a:gd name="T15" fmla="*/ 619125 h 140"/>
                <a:gd name="T16" fmla="*/ 1285875 w 169"/>
                <a:gd name="T17" fmla="*/ 666750 h 140"/>
                <a:gd name="T18" fmla="*/ 1277937 w 169"/>
                <a:gd name="T19" fmla="*/ 722313 h 140"/>
                <a:gd name="T20" fmla="*/ 1206500 w 169"/>
                <a:gd name="T21" fmla="*/ 738188 h 140"/>
                <a:gd name="T22" fmla="*/ 1150937 w 169"/>
                <a:gd name="T23" fmla="*/ 825500 h 140"/>
                <a:gd name="T24" fmla="*/ 1055687 w 169"/>
                <a:gd name="T25" fmla="*/ 841375 h 140"/>
                <a:gd name="T26" fmla="*/ 952500 w 169"/>
                <a:gd name="T27" fmla="*/ 889000 h 140"/>
                <a:gd name="T28" fmla="*/ 904875 w 169"/>
                <a:gd name="T29" fmla="*/ 952500 h 140"/>
                <a:gd name="T30" fmla="*/ 889000 w 169"/>
                <a:gd name="T31" fmla="*/ 1008063 h 140"/>
                <a:gd name="T32" fmla="*/ 881062 w 169"/>
                <a:gd name="T33" fmla="*/ 1079500 h 140"/>
                <a:gd name="T34" fmla="*/ 809625 w 169"/>
                <a:gd name="T35" fmla="*/ 1071563 h 140"/>
                <a:gd name="T36" fmla="*/ 738187 w 169"/>
                <a:gd name="T37" fmla="*/ 1031875 h 140"/>
                <a:gd name="T38" fmla="*/ 619125 w 169"/>
                <a:gd name="T39" fmla="*/ 1008063 h 140"/>
                <a:gd name="T40" fmla="*/ 563562 w 169"/>
                <a:gd name="T41" fmla="*/ 1000125 h 140"/>
                <a:gd name="T42" fmla="*/ 500062 w 169"/>
                <a:gd name="T43" fmla="*/ 952500 h 140"/>
                <a:gd name="T44" fmla="*/ 452437 w 169"/>
                <a:gd name="T45" fmla="*/ 920750 h 140"/>
                <a:gd name="T46" fmla="*/ 420687 w 169"/>
                <a:gd name="T47" fmla="*/ 873125 h 140"/>
                <a:gd name="T48" fmla="*/ 317500 w 169"/>
                <a:gd name="T49" fmla="*/ 833438 h 140"/>
                <a:gd name="T50" fmla="*/ 277812 w 169"/>
                <a:gd name="T51" fmla="*/ 801688 h 140"/>
                <a:gd name="T52" fmla="*/ 254000 w 169"/>
                <a:gd name="T53" fmla="*/ 706438 h 140"/>
                <a:gd name="T54" fmla="*/ 246062 w 169"/>
                <a:gd name="T55" fmla="*/ 635000 h 140"/>
                <a:gd name="T56" fmla="*/ 246062 w 169"/>
                <a:gd name="T57" fmla="*/ 587375 h 140"/>
                <a:gd name="T58" fmla="*/ 190500 w 169"/>
                <a:gd name="T59" fmla="*/ 539750 h 140"/>
                <a:gd name="T60" fmla="*/ 142875 w 169"/>
                <a:gd name="T61" fmla="*/ 484188 h 140"/>
                <a:gd name="T62" fmla="*/ 119062 w 169"/>
                <a:gd name="T63" fmla="*/ 428625 h 140"/>
                <a:gd name="T64" fmla="*/ 111125 w 169"/>
                <a:gd name="T65" fmla="*/ 373063 h 140"/>
                <a:gd name="T66" fmla="*/ 79375 w 169"/>
                <a:gd name="T67" fmla="*/ 333375 h 140"/>
                <a:gd name="T68" fmla="*/ 47625 w 169"/>
                <a:gd name="T69" fmla="*/ 269875 h 140"/>
                <a:gd name="T70" fmla="*/ 0 w 169"/>
                <a:gd name="T71" fmla="*/ 214313 h 140"/>
                <a:gd name="T72" fmla="*/ 7937 w 169"/>
                <a:gd name="T73" fmla="*/ 158750 h 140"/>
                <a:gd name="T74" fmla="*/ 71437 w 169"/>
                <a:gd name="T75" fmla="*/ 127000 h 140"/>
                <a:gd name="T76" fmla="*/ 150812 w 169"/>
                <a:gd name="T77" fmla="*/ 127000 h 140"/>
                <a:gd name="T78" fmla="*/ 254000 w 169"/>
                <a:gd name="T79" fmla="*/ 127000 h 140"/>
                <a:gd name="T80" fmla="*/ 317500 w 169"/>
                <a:gd name="T81" fmla="*/ 87313 h 140"/>
                <a:gd name="T82" fmla="*/ 365125 w 169"/>
                <a:gd name="T83" fmla="*/ 31750 h 140"/>
                <a:gd name="T84" fmla="*/ 420687 w 169"/>
                <a:gd name="T85" fmla="*/ 31750 h 140"/>
                <a:gd name="T86" fmla="*/ 492125 w 169"/>
                <a:gd name="T87" fmla="*/ 39688 h 140"/>
                <a:gd name="T88" fmla="*/ 603250 w 169"/>
                <a:gd name="T89" fmla="*/ 55563 h 140"/>
                <a:gd name="T90" fmla="*/ 666750 w 169"/>
                <a:gd name="T91" fmla="*/ 39688 h 140"/>
                <a:gd name="T92" fmla="*/ 714375 w 169"/>
                <a:gd name="T93" fmla="*/ 39688 h 140"/>
                <a:gd name="T94" fmla="*/ 769937 w 169"/>
                <a:gd name="T95" fmla="*/ 39688 h 140"/>
                <a:gd name="T96" fmla="*/ 825500 w 169"/>
                <a:gd name="T97" fmla="*/ 7938 h 140"/>
                <a:gd name="T98" fmla="*/ 857250 w 169"/>
                <a:gd name="T99" fmla="*/ 103188 h 140"/>
                <a:gd name="T100" fmla="*/ 889000 w 169"/>
                <a:gd name="T101" fmla="*/ 174625 h 140"/>
                <a:gd name="T102" fmla="*/ 904875 w 169"/>
                <a:gd name="T103" fmla="*/ 198438 h 140"/>
                <a:gd name="T104" fmla="*/ 920750 w 169"/>
                <a:gd name="T105" fmla="*/ 230188 h 140"/>
                <a:gd name="T106" fmla="*/ 944562 w 169"/>
                <a:gd name="T107" fmla="*/ 261938 h 140"/>
                <a:gd name="T108" fmla="*/ 1016000 w 169"/>
                <a:gd name="T109" fmla="*/ 238125 h 140"/>
                <a:gd name="T110" fmla="*/ 1095375 w 169"/>
                <a:gd name="T111" fmla="*/ 238125 h 140"/>
                <a:gd name="T112" fmla="*/ 1095375 w 169"/>
                <a:gd name="T113" fmla="*/ 238125 h 140"/>
                <a:gd name="T114" fmla="*/ 1095375 w 169"/>
                <a:gd name="T115" fmla="*/ 238125 h 14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69"/>
                <a:gd name="T175" fmla="*/ 0 h 140"/>
                <a:gd name="T176" fmla="*/ 169 w 169"/>
                <a:gd name="T177" fmla="*/ 140 h 14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69" h="140">
                  <a:moveTo>
                    <a:pt x="138" y="30"/>
                  </a:moveTo>
                  <a:cubicBezTo>
                    <a:pt x="139" y="36"/>
                    <a:pt x="137" y="39"/>
                    <a:pt x="137" y="39"/>
                  </a:cubicBezTo>
                  <a:cubicBezTo>
                    <a:pt x="132" y="46"/>
                    <a:pt x="138" y="48"/>
                    <a:pt x="138" y="48"/>
                  </a:cubicBezTo>
                  <a:cubicBezTo>
                    <a:pt x="140" y="50"/>
                    <a:pt x="144" y="47"/>
                    <a:pt x="148" y="52"/>
                  </a:cubicBezTo>
                  <a:cubicBezTo>
                    <a:pt x="156" y="52"/>
                    <a:pt x="154" y="58"/>
                    <a:pt x="154" y="58"/>
                  </a:cubicBezTo>
                  <a:cubicBezTo>
                    <a:pt x="156" y="67"/>
                    <a:pt x="162" y="65"/>
                    <a:pt x="162" y="65"/>
                  </a:cubicBezTo>
                  <a:cubicBezTo>
                    <a:pt x="166" y="62"/>
                    <a:pt x="166" y="68"/>
                    <a:pt x="166" y="68"/>
                  </a:cubicBezTo>
                  <a:cubicBezTo>
                    <a:pt x="169" y="79"/>
                    <a:pt x="165" y="78"/>
                    <a:pt x="165" y="78"/>
                  </a:cubicBezTo>
                  <a:cubicBezTo>
                    <a:pt x="159" y="78"/>
                    <a:pt x="162" y="84"/>
                    <a:pt x="162" y="84"/>
                  </a:cubicBezTo>
                  <a:cubicBezTo>
                    <a:pt x="166" y="86"/>
                    <a:pt x="161" y="91"/>
                    <a:pt x="161" y="91"/>
                  </a:cubicBezTo>
                  <a:cubicBezTo>
                    <a:pt x="158" y="95"/>
                    <a:pt x="152" y="93"/>
                    <a:pt x="152" y="93"/>
                  </a:cubicBezTo>
                  <a:cubicBezTo>
                    <a:pt x="139" y="89"/>
                    <a:pt x="145" y="104"/>
                    <a:pt x="145" y="104"/>
                  </a:cubicBezTo>
                  <a:cubicBezTo>
                    <a:pt x="141" y="106"/>
                    <a:pt x="136" y="103"/>
                    <a:pt x="133" y="106"/>
                  </a:cubicBezTo>
                  <a:cubicBezTo>
                    <a:pt x="131" y="108"/>
                    <a:pt x="126" y="106"/>
                    <a:pt x="120" y="112"/>
                  </a:cubicBezTo>
                  <a:cubicBezTo>
                    <a:pt x="115" y="112"/>
                    <a:pt x="114" y="120"/>
                    <a:pt x="114" y="120"/>
                  </a:cubicBezTo>
                  <a:cubicBezTo>
                    <a:pt x="108" y="126"/>
                    <a:pt x="112" y="127"/>
                    <a:pt x="112" y="127"/>
                  </a:cubicBezTo>
                  <a:cubicBezTo>
                    <a:pt x="114" y="133"/>
                    <a:pt x="111" y="136"/>
                    <a:pt x="111" y="136"/>
                  </a:cubicBezTo>
                  <a:cubicBezTo>
                    <a:pt x="111" y="136"/>
                    <a:pt x="110" y="140"/>
                    <a:pt x="102" y="135"/>
                  </a:cubicBezTo>
                  <a:cubicBezTo>
                    <a:pt x="102" y="135"/>
                    <a:pt x="96" y="132"/>
                    <a:pt x="93" y="130"/>
                  </a:cubicBezTo>
                  <a:cubicBezTo>
                    <a:pt x="93" y="130"/>
                    <a:pt x="91" y="124"/>
                    <a:pt x="78" y="127"/>
                  </a:cubicBezTo>
                  <a:cubicBezTo>
                    <a:pt x="78" y="127"/>
                    <a:pt x="74" y="128"/>
                    <a:pt x="71" y="126"/>
                  </a:cubicBezTo>
                  <a:cubicBezTo>
                    <a:pt x="68" y="124"/>
                    <a:pt x="65" y="129"/>
                    <a:pt x="63" y="120"/>
                  </a:cubicBezTo>
                  <a:cubicBezTo>
                    <a:pt x="63" y="120"/>
                    <a:pt x="64" y="116"/>
                    <a:pt x="57" y="116"/>
                  </a:cubicBezTo>
                  <a:cubicBezTo>
                    <a:pt x="57" y="116"/>
                    <a:pt x="56" y="113"/>
                    <a:pt x="53" y="110"/>
                  </a:cubicBezTo>
                  <a:cubicBezTo>
                    <a:pt x="53" y="110"/>
                    <a:pt x="50" y="106"/>
                    <a:pt x="40" y="105"/>
                  </a:cubicBezTo>
                  <a:cubicBezTo>
                    <a:pt x="40" y="105"/>
                    <a:pt x="39" y="102"/>
                    <a:pt x="35" y="101"/>
                  </a:cubicBezTo>
                  <a:cubicBezTo>
                    <a:pt x="35" y="101"/>
                    <a:pt x="36" y="94"/>
                    <a:pt x="32" y="89"/>
                  </a:cubicBezTo>
                  <a:cubicBezTo>
                    <a:pt x="32" y="89"/>
                    <a:pt x="27" y="84"/>
                    <a:pt x="31" y="80"/>
                  </a:cubicBezTo>
                  <a:cubicBezTo>
                    <a:pt x="31" y="80"/>
                    <a:pt x="37" y="79"/>
                    <a:pt x="31" y="74"/>
                  </a:cubicBezTo>
                  <a:cubicBezTo>
                    <a:pt x="31" y="74"/>
                    <a:pt x="32" y="70"/>
                    <a:pt x="24" y="68"/>
                  </a:cubicBezTo>
                  <a:cubicBezTo>
                    <a:pt x="24" y="68"/>
                    <a:pt x="24" y="63"/>
                    <a:pt x="18" y="61"/>
                  </a:cubicBezTo>
                  <a:cubicBezTo>
                    <a:pt x="18" y="61"/>
                    <a:pt x="10" y="55"/>
                    <a:pt x="15" y="54"/>
                  </a:cubicBezTo>
                  <a:cubicBezTo>
                    <a:pt x="15" y="54"/>
                    <a:pt x="17" y="49"/>
                    <a:pt x="14" y="47"/>
                  </a:cubicBezTo>
                  <a:cubicBezTo>
                    <a:pt x="14" y="47"/>
                    <a:pt x="14" y="42"/>
                    <a:pt x="10" y="42"/>
                  </a:cubicBezTo>
                  <a:cubicBezTo>
                    <a:pt x="10" y="42"/>
                    <a:pt x="6" y="43"/>
                    <a:pt x="6" y="34"/>
                  </a:cubicBezTo>
                  <a:cubicBezTo>
                    <a:pt x="6" y="34"/>
                    <a:pt x="0" y="33"/>
                    <a:pt x="0" y="27"/>
                  </a:cubicBezTo>
                  <a:cubicBezTo>
                    <a:pt x="0" y="27"/>
                    <a:pt x="2" y="25"/>
                    <a:pt x="1" y="20"/>
                  </a:cubicBezTo>
                  <a:cubicBezTo>
                    <a:pt x="1" y="20"/>
                    <a:pt x="6" y="22"/>
                    <a:pt x="9" y="16"/>
                  </a:cubicBezTo>
                  <a:cubicBezTo>
                    <a:pt x="9" y="16"/>
                    <a:pt x="14" y="12"/>
                    <a:pt x="19" y="16"/>
                  </a:cubicBezTo>
                  <a:cubicBezTo>
                    <a:pt x="19" y="16"/>
                    <a:pt x="23" y="20"/>
                    <a:pt x="32" y="16"/>
                  </a:cubicBezTo>
                  <a:cubicBezTo>
                    <a:pt x="32" y="16"/>
                    <a:pt x="37" y="17"/>
                    <a:pt x="40" y="11"/>
                  </a:cubicBezTo>
                  <a:cubicBezTo>
                    <a:pt x="40" y="11"/>
                    <a:pt x="46" y="7"/>
                    <a:pt x="46" y="4"/>
                  </a:cubicBezTo>
                  <a:cubicBezTo>
                    <a:pt x="52" y="7"/>
                    <a:pt x="53" y="4"/>
                    <a:pt x="53" y="4"/>
                  </a:cubicBezTo>
                  <a:cubicBezTo>
                    <a:pt x="56" y="1"/>
                    <a:pt x="62" y="5"/>
                    <a:pt x="62" y="5"/>
                  </a:cubicBezTo>
                  <a:cubicBezTo>
                    <a:pt x="63" y="7"/>
                    <a:pt x="74" y="5"/>
                    <a:pt x="76" y="7"/>
                  </a:cubicBezTo>
                  <a:cubicBezTo>
                    <a:pt x="84" y="8"/>
                    <a:pt x="84" y="5"/>
                    <a:pt x="84" y="5"/>
                  </a:cubicBezTo>
                  <a:cubicBezTo>
                    <a:pt x="87" y="0"/>
                    <a:pt x="90" y="5"/>
                    <a:pt x="90" y="5"/>
                  </a:cubicBezTo>
                  <a:cubicBezTo>
                    <a:pt x="95" y="9"/>
                    <a:pt x="97" y="5"/>
                    <a:pt x="97" y="5"/>
                  </a:cubicBezTo>
                  <a:cubicBezTo>
                    <a:pt x="97" y="1"/>
                    <a:pt x="104" y="1"/>
                    <a:pt x="104" y="1"/>
                  </a:cubicBezTo>
                  <a:cubicBezTo>
                    <a:pt x="104" y="11"/>
                    <a:pt x="108" y="13"/>
                    <a:pt x="108" y="13"/>
                  </a:cubicBezTo>
                  <a:cubicBezTo>
                    <a:pt x="111" y="16"/>
                    <a:pt x="112" y="22"/>
                    <a:pt x="112" y="22"/>
                  </a:cubicBezTo>
                  <a:cubicBezTo>
                    <a:pt x="114" y="21"/>
                    <a:pt x="114" y="25"/>
                    <a:pt x="114" y="25"/>
                  </a:cubicBezTo>
                  <a:cubicBezTo>
                    <a:pt x="120" y="27"/>
                    <a:pt x="116" y="29"/>
                    <a:pt x="116" y="29"/>
                  </a:cubicBezTo>
                  <a:cubicBezTo>
                    <a:pt x="114" y="33"/>
                    <a:pt x="119" y="33"/>
                    <a:pt x="119" y="33"/>
                  </a:cubicBezTo>
                  <a:cubicBezTo>
                    <a:pt x="125" y="34"/>
                    <a:pt x="128" y="30"/>
                    <a:pt x="128" y="30"/>
                  </a:cubicBezTo>
                  <a:cubicBezTo>
                    <a:pt x="133" y="27"/>
                    <a:pt x="138" y="30"/>
                    <a:pt x="138" y="30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85" name="Freeform 1174">
              <a:extLst>
                <a:ext uri="{FF2B5EF4-FFF2-40B4-BE49-F238E27FC236}">
                  <a16:creationId xmlns:a16="http://schemas.microsoft.com/office/drawing/2014/main" id="{80343CAB-B0FB-B267-EBED-F3EBBB1D1F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7671" y="2836470"/>
              <a:ext cx="1151213" cy="1101726"/>
            </a:xfrm>
            <a:custGeom>
              <a:avLst/>
              <a:gdLst>
                <a:gd name="T0" fmla="*/ 341312 w 163"/>
                <a:gd name="T1" fmla="*/ 111125 h 156"/>
                <a:gd name="T2" fmla="*/ 261937 w 163"/>
                <a:gd name="T3" fmla="*/ 150813 h 156"/>
                <a:gd name="T4" fmla="*/ 174625 w 163"/>
                <a:gd name="T5" fmla="*/ 198438 h 156"/>
                <a:gd name="T6" fmla="*/ 111125 w 163"/>
                <a:gd name="T7" fmla="*/ 230188 h 156"/>
                <a:gd name="T8" fmla="*/ 47625 w 163"/>
                <a:gd name="T9" fmla="*/ 254000 h 156"/>
                <a:gd name="T10" fmla="*/ 39687 w 163"/>
                <a:gd name="T11" fmla="*/ 333375 h 156"/>
                <a:gd name="T12" fmla="*/ 47625 w 163"/>
                <a:gd name="T13" fmla="*/ 404813 h 156"/>
                <a:gd name="T14" fmla="*/ 127000 w 163"/>
                <a:gd name="T15" fmla="*/ 436563 h 156"/>
                <a:gd name="T16" fmla="*/ 174625 w 163"/>
                <a:gd name="T17" fmla="*/ 484188 h 156"/>
                <a:gd name="T18" fmla="*/ 238125 w 163"/>
                <a:gd name="T19" fmla="*/ 539750 h 156"/>
                <a:gd name="T20" fmla="*/ 269875 w 163"/>
                <a:gd name="T21" fmla="*/ 563563 h 156"/>
                <a:gd name="T22" fmla="*/ 261937 w 163"/>
                <a:gd name="T23" fmla="*/ 642938 h 156"/>
                <a:gd name="T24" fmla="*/ 238125 w 163"/>
                <a:gd name="T25" fmla="*/ 690563 h 156"/>
                <a:gd name="T26" fmla="*/ 230187 w 163"/>
                <a:gd name="T27" fmla="*/ 746125 h 156"/>
                <a:gd name="T28" fmla="*/ 158750 w 163"/>
                <a:gd name="T29" fmla="*/ 762000 h 156"/>
                <a:gd name="T30" fmla="*/ 103187 w 163"/>
                <a:gd name="T31" fmla="*/ 849313 h 156"/>
                <a:gd name="T32" fmla="*/ 214312 w 163"/>
                <a:gd name="T33" fmla="*/ 889000 h 156"/>
                <a:gd name="T34" fmla="*/ 341312 w 163"/>
                <a:gd name="T35" fmla="*/ 960438 h 156"/>
                <a:gd name="T36" fmla="*/ 444500 w 163"/>
                <a:gd name="T37" fmla="*/ 960438 h 156"/>
                <a:gd name="T38" fmla="*/ 531812 w 163"/>
                <a:gd name="T39" fmla="*/ 1016000 h 156"/>
                <a:gd name="T40" fmla="*/ 587375 w 163"/>
                <a:gd name="T41" fmla="*/ 1079500 h 156"/>
                <a:gd name="T42" fmla="*/ 619125 w 163"/>
                <a:gd name="T43" fmla="*/ 1119188 h 156"/>
                <a:gd name="T44" fmla="*/ 658812 w 163"/>
                <a:gd name="T45" fmla="*/ 1166813 h 156"/>
                <a:gd name="T46" fmla="*/ 698500 w 163"/>
                <a:gd name="T47" fmla="*/ 1166813 h 156"/>
                <a:gd name="T48" fmla="*/ 769937 w 163"/>
                <a:gd name="T49" fmla="*/ 1135063 h 156"/>
                <a:gd name="T50" fmla="*/ 825500 w 163"/>
                <a:gd name="T51" fmla="*/ 1135063 h 156"/>
                <a:gd name="T52" fmla="*/ 809625 w 163"/>
                <a:gd name="T53" fmla="*/ 1055688 h 156"/>
                <a:gd name="T54" fmla="*/ 857250 w 163"/>
                <a:gd name="T55" fmla="*/ 1039813 h 156"/>
                <a:gd name="T56" fmla="*/ 889000 w 163"/>
                <a:gd name="T57" fmla="*/ 1016000 h 156"/>
                <a:gd name="T58" fmla="*/ 936625 w 163"/>
                <a:gd name="T59" fmla="*/ 1031875 h 156"/>
                <a:gd name="T60" fmla="*/ 952500 w 163"/>
                <a:gd name="T61" fmla="*/ 1000125 h 156"/>
                <a:gd name="T62" fmla="*/ 992187 w 163"/>
                <a:gd name="T63" fmla="*/ 1000125 h 156"/>
                <a:gd name="T64" fmla="*/ 1023937 w 163"/>
                <a:gd name="T65" fmla="*/ 944563 h 156"/>
                <a:gd name="T66" fmla="*/ 1039812 w 163"/>
                <a:gd name="T67" fmla="*/ 896938 h 156"/>
                <a:gd name="T68" fmla="*/ 1103312 w 163"/>
                <a:gd name="T69" fmla="*/ 817563 h 156"/>
                <a:gd name="T70" fmla="*/ 1150937 w 163"/>
                <a:gd name="T71" fmla="*/ 769938 h 156"/>
                <a:gd name="T72" fmla="*/ 1119187 w 163"/>
                <a:gd name="T73" fmla="*/ 754063 h 156"/>
                <a:gd name="T74" fmla="*/ 1174750 w 163"/>
                <a:gd name="T75" fmla="*/ 738188 h 156"/>
                <a:gd name="T76" fmla="*/ 1246187 w 163"/>
                <a:gd name="T77" fmla="*/ 730250 h 156"/>
                <a:gd name="T78" fmla="*/ 1254125 w 163"/>
                <a:gd name="T79" fmla="*/ 666750 h 156"/>
                <a:gd name="T80" fmla="*/ 1254125 w 163"/>
                <a:gd name="T81" fmla="*/ 563563 h 156"/>
                <a:gd name="T82" fmla="*/ 1270000 w 163"/>
                <a:gd name="T83" fmla="*/ 508000 h 156"/>
                <a:gd name="T84" fmla="*/ 1277937 w 163"/>
                <a:gd name="T85" fmla="*/ 452438 h 156"/>
                <a:gd name="T86" fmla="*/ 1270000 w 163"/>
                <a:gd name="T87" fmla="*/ 404813 h 156"/>
                <a:gd name="T88" fmla="*/ 1293812 w 163"/>
                <a:gd name="T89" fmla="*/ 341313 h 156"/>
                <a:gd name="T90" fmla="*/ 1285875 w 163"/>
                <a:gd name="T91" fmla="*/ 293688 h 156"/>
                <a:gd name="T92" fmla="*/ 1262062 w 163"/>
                <a:gd name="T93" fmla="*/ 269875 h 156"/>
                <a:gd name="T94" fmla="*/ 1166812 w 163"/>
                <a:gd name="T95" fmla="*/ 214313 h 156"/>
                <a:gd name="T96" fmla="*/ 1103312 w 163"/>
                <a:gd name="T97" fmla="*/ 134938 h 156"/>
                <a:gd name="T98" fmla="*/ 1071562 w 163"/>
                <a:gd name="T99" fmla="*/ 71438 h 156"/>
                <a:gd name="T100" fmla="*/ 1039812 w 163"/>
                <a:gd name="T101" fmla="*/ 23813 h 156"/>
                <a:gd name="T102" fmla="*/ 984250 w 163"/>
                <a:gd name="T103" fmla="*/ 7938 h 156"/>
                <a:gd name="T104" fmla="*/ 873125 w 163"/>
                <a:gd name="T105" fmla="*/ 71438 h 156"/>
                <a:gd name="T106" fmla="*/ 769937 w 163"/>
                <a:gd name="T107" fmla="*/ 111125 h 156"/>
                <a:gd name="T108" fmla="*/ 738187 w 163"/>
                <a:gd name="T109" fmla="*/ 150813 h 156"/>
                <a:gd name="T110" fmla="*/ 682625 w 163"/>
                <a:gd name="T111" fmla="*/ 150813 h 156"/>
                <a:gd name="T112" fmla="*/ 619125 w 163"/>
                <a:gd name="T113" fmla="*/ 127000 h 156"/>
                <a:gd name="T114" fmla="*/ 555625 w 163"/>
                <a:gd name="T115" fmla="*/ 95250 h 156"/>
                <a:gd name="T116" fmla="*/ 476250 w 163"/>
                <a:gd name="T117" fmla="*/ 47625 h 156"/>
                <a:gd name="T118" fmla="*/ 373062 w 163"/>
                <a:gd name="T119" fmla="*/ 79375 h 156"/>
                <a:gd name="T120" fmla="*/ 341312 w 163"/>
                <a:gd name="T121" fmla="*/ 111125 h 156"/>
                <a:gd name="T122" fmla="*/ 341312 w 163"/>
                <a:gd name="T123" fmla="*/ 111125 h 156"/>
                <a:gd name="T124" fmla="*/ 341312 w 163"/>
                <a:gd name="T125" fmla="*/ 111125 h 1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63"/>
                <a:gd name="T190" fmla="*/ 0 h 156"/>
                <a:gd name="T191" fmla="*/ 163 w 163"/>
                <a:gd name="T192" fmla="*/ 156 h 1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63" h="156">
                  <a:moveTo>
                    <a:pt x="43" y="14"/>
                  </a:moveTo>
                  <a:cubicBezTo>
                    <a:pt x="43" y="20"/>
                    <a:pt x="35" y="16"/>
                    <a:pt x="33" y="19"/>
                  </a:cubicBezTo>
                  <a:cubicBezTo>
                    <a:pt x="32" y="16"/>
                    <a:pt x="23" y="19"/>
                    <a:pt x="22" y="25"/>
                  </a:cubicBezTo>
                  <a:cubicBezTo>
                    <a:pt x="22" y="25"/>
                    <a:pt x="16" y="24"/>
                    <a:pt x="14" y="29"/>
                  </a:cubicBezTo>
                  <a:cubicBezTo>
                    <a:pt x="14" y="29"/>
                    <a:pt x="9" y="28"/>
                    <a:pt x="6" y="32"/>
                  </a:cubicBezTo>
                  <a:cubicBezTo>
                    <a:pt x="7" y="38"/>
                    <a:pt x="5" y="42"/>
                    <a:pt x="5" y="42"/>
                  </a:cubicBezTo>
                  <a:cubicBezTo>
                    <a:pt x="0" y="49"/>
                    <a:pt x="6" y="51"/>
                    <a:pt x="6" y="51"/>
                  </a:cubicBezTo>
                  <a:cubicBezTo>
                    <a:pt x="8" y="53"/>
                    <a:pt x="12" y="50"/>
                    <a:pt x="16" y="55"/>
                  </a:cubicBezTo>
                  <a:cubicBezTo>
                    <a:pt x="24" y="55"/>
                    <a:pt x="22" y="61"/>
                    <a:pt x="22" y="61"/>
                  </a:cubicBezTo>
                  <a:cubicBezTo>
                    <a:pt x="24" y="70"/>
                    <a:pt x="30" y="68"/>
                    <a:pt x="30" y="68"/>
                  </a:cubicBezTo>
                  <a:cubicBezTo>
                    <a:pt x="34" y="65"/>
                    <a:pt x="34" y="71"/>
                    <a:pt x="34" y="71"/>
                  </a:cubicBezTo>
                  <a:cubicBezTo>
                    <a:pt x="37" y="82"/>
                    <a:pt x="33" y="81"/>
                    <a:pt x="33" y="81"/>
                  </a:cubicBezTo>
                  <a:cubicBezTo>
                    <a:pt x="27" y="81"/>
                    <a:pt x="30" y="87"/>
                    <a:pt x="30" y="87"/>
                  </a:cubicBezTo>
                  <a:cubicBezTo>
                    <a:pt x="34" y="89"/>
                    <a:pt x="29" y="94"/>
                    <a:pt x="29" y="94"/>
                  </a:cubicBezTo>
                  <a:cubicBezTo>
                    <a:pt x="26" y="98"/>
                    <a:pt x="20" y="96"/>
                    <a:pt x="20" y="96"/>
                  </a:cubicBezTo>
                  <a:cubicBezTo>
                    <a:pt x="7" y="92"/>
                    <a:pt x="13" y="107"/>
                    <a:pt x="13" y="107"/>
                  </a:cubicBezTo>
                  <a:cubicBezTo>
                    <a:pt x="14" y="109"/>
                    <a:pt x="23" y="105"/>
                    <a:pt x="27" y="112"/>
                  </a:cubicBezTo>
                  <a:cubicBezTo>
                    <a:pt x="35" y="118"/>
                    <a:pt x="38" y="122"/>
                    <a:pt x="43" y="121"/>
                  </a:cubicBezTo>
                  <a:cubicBezTo>
                    <a:pt x="49" y="122"/>
                    <a:pt x="56" y="121"/>
                    <a:pt x="56" y="121"/>
                  </a:cubicBezTo>
                  <a:cubicBezTo>
                    <a:pt x="67" y="114"/>
                    <a:pt x="67" y="128"/>
                    <a:pt x="67" y="128"/>
                  </a:cubicBezTo>
                  <a:cubicBezTo>
                    <a:pt x="76" y="132"/>
                    <a:pt x="74" y="136"/>
                    <a:pt x="74" y="136"/>
                  </a:cubicBezTo>
                  <a:cubicBezTo>
                    <a:pt x="75" y="140"/>
                    <a:pt x="78" y="141"/>
                    <a:pt x="78" y="141"/>
                  </a:cubicBezTo>
                  <a:cubicBezTo>
                    <a:pt x="84" y="143"/>
                    <a:pt x="83" y="147"/>
                    <a:pt x="83" y="147"/>
                  </a:cubicBezTo>
                  <a:cubicBezTo>
                    <a:pt x="83" y="156"/>
                    <a:pt x="88" y="147"/>
                    <a:pt x="88" y="147"/>
                  </a:cubicBezTo>
                  <a:cubicBezTo>
                    <a:pt x="91" y="139"/>
                    <a:pt x="97" y="143"/>
                    <a:pt x="97" y="143"/>
                  </a:cubicBezTo>
                  <a:cubicBezTo>
                    <a:pt x="98" y="147"/>
                    <a:pt x="104" y="143"/>
                    <a:pt x="104" y="143"/>
                  </a:cubicBezTo>
                  <a:cubicBezTo>
                    <a:pt x="105" y="135"/>
                    <a:pt x="102" y="137"/>
                    <a:pt x="102" y="133"/>
                  </a:cubicBezTo>
                  <a:cubicBezTo>
                    <a:pt x="102" y="133"/>
                    <a:pt x="101" y="128"/>
                    <a:pt x="108" y="131"/>
                  </a:cubicBezTo>
                  <a:cubicBezTo>
                    <a:pt x="110" y="132"/>
                    <a:pt x="110" y="128"/>
                    <a:pt x="112" y="128"/>
                  </a:cubicBezTo>
                  <a:cubicBezTo>
                    <a:pt x="112" y="128"/>
                    <a:pt x="114" y="130"/>
                    <a:pt x="118" y="130"/>
                  </a:cubicBezTo>
                  <a:cubicBezTo>
                    <a:pt x="118" y="130"/>
                    <a:pt x="116" y="128"/>
                    <a:pt x="120" y="126"/>
                  </a:cubicBezTo>
                  <a:cubicBezTo>
                    <a:pt x="120" y="126"/>
                    <a:pt x="123" y="123"/>
                    <a:pt x="125" y="126"/>
                  </a:cubicBezTo>
                  <a:cubicBezTo>
                    <a:pt x="125" y="126"/>
                    <a:pt x="123" y="122"/>
                    <a:pt x="129" y="119"/>
                  </a:cubicBezTo>
                  <a:cubicBezTo>
                    <a:pt x="129" y="119"/>
                    <a:pt x="134" y="117"/>
                    <a:pt x="131" y="113"/>
                  </a:cubicBezTo>
                  <a:cubicBezTo>
                    <a:pt x="131" y="113"/>
                    <a:pt x="131" y="109"/>
                    <a:pt x="139" y="103"/>
                  </a:cubicBezTo>
                  <a:cubicBezTo>
                    <a:pt x="139" y="103"/>
                    <a:pt x="145" y="101"/>
                    <a:pt x="145" y="97"/>
                  </a:cubicBezTo>
                  <a:cubicBezTo>
                    <a:pt x="145" y="94"/>
                    <a:pt x="140" y="98"/>
                    <a:pt x="141" y="95"/>
                  </a:cubicBezTo>
                  <a:cubicBezTo>
                    <a:pt x="141" y="95"/>
                    <a:pt x="143" y="89"/>
                    <a:pt x="148" y="93"/>
                  </a:cubicBezTo>
                  <a:cubicBezTo>
                    <a:pt x="148" y="93"/>
                    <a:pt x="154" y="94"/>
                    <a:pt x="157" y="92"/>
                  </a:cubicBezTo>
                  <a:cubicBezTo>
                    <a:pt x="157" y="92"/>
                    <a:pt x="162" y="85"/>
                    <a:pt x="158" y="84"/>
                  </a:cubicBezTo>
                  <a:cubicBezTo>
                    <a:pt x="158" y="84"/>
                    <a:pt x="156" y="81"/>
                    <a:pt x="158" y="71"/>
                  </a:cubicBezTo>
                  <a:cubicBezTo>
                    <a:pt x="158" y="71"/>
                    <a:pt x="162" y="69"/>
                    <a:pt x="160" y="64"/>
                  </a:cubicBezTo>
                  <a:cubicBezTo>
                    <a:pt x="157" y="60"/>
                    <a:pt x="163" y="59"/>
                    <a:pt x="161" y="57"/>
                  </a:cubicBezTo>
                  <a:cubicBezTo>
                    <a:pt x="161" y="57"/>
                    <a:pt x="158" y="54"/>
                    <a:pt x="160" y="51"/>
                  </a:cubicBezTo>
                  <a:cubicBezTo>
                    <a:pt x="162" y="50"/>
                    <a:pt x="159" y="46"/>
                    <a:pt x="163" y="43"/>
                  </a:cubicBezTo>
                  <a:cubicBezTo>
                    <a:pt x="163" y="43"/>
                    <a:pt x="159" y="40"/>
                    <a:pt x="162" y="37"/>
                  </a:cubicBezTo>
                  <a:cubicBezTo>
                    <a:pt x="160" y="36"/>
                    <a:pt x="159" y="34"/>
                    <a:pt x="159" y="34"/>
                  </a:cubicBezTo>
                  <a:cubicBezTo>
                    <a:pt x="154" y="26"/>
                    <a:pt x="147" y="27"/>
                    <a:pt x="147" y="27"/>
                  </a:cubicBezTo>
                  <a:cubicBezTo>
                    <a:pt x="143" y="19"/>
                    <a:pt x="139" y="17"/>
                    <a:pt x="139" y="17"/>
                  </a:cubicBezTo>
                  <a:cubicBezTo>
                    <a:pt x="140" y="7"/>
                    <a:pt x="135" y="9"/>
                    <a:pt x="135" y="9"/>
                  </a:cubicBezTo>
                  <a:cubicBezTo>
                    <a:pt x="130" y="7"/>
                    <a:pt x="131" y="3"/>
                    <a:pt x="131" y="3"/>
                  </a:cubicBezTo>
                  <a:cubicBezTo>
                    <a:pt x="130" y="0"/>
                    <a:pt x="124" y="1"/>
                    <a:pt x="124" y="1"/>
                  </a:cubicBezTo>
                  <a:cubicBezTo>
                    <a:pt x="115" y="11"/>
                    <a:pt x="110" y="9"/>
                    <a:pt x="110" y="9"/>
                  </a:cubicBezTo>
                  <a:cubicBezTo>
                    <a:pt x="102" y="8"/>
                    <a:pt x="97" y="14"/>
                    <a:pt x="97" y="14"/>
                  </a:cubicBezTo>
                  <a:cubicBezTo>
                    <a:pt x="92" y="16"/>
                    <a:pt x="93" y="19"/>
                    <a:pt x="93" y="19"/>
                  </a:cubicBezTo>
                  <a:cubicBezTo>
                    <a:pt x="88" y="24"/>
                    <a:pt x="86" y="19"/>
                    <a:pt x="86" y="19"/>
                  </a:cubicBezTo>
                  <a:cubicBezTo>
                    <a:pt x="81" y="10"/>
                    <a:pt x="78" y="16"/>
                    <a:pt x="78" y="16"/>
                  </a:cubicBezTo>
                  <a:cubicBezTo>
                    <a:pt x="73" y="19"/>
                    <a:pt x="70" y="12"/>
                    <a:pt x="70" y="12"/>
                  </a:cubicBezTo>
                  <a:cubicBezTo>
                    <a:pt x="67" y="4"/>
                    <a:pt x="60" y="6"/>
                    <a:pt x="60" y="6"/>
                  </a:cubicBezTo>
                  <a:cubicBezTo>
                    <a:pt x="50" y="5"/>
                    <a:pt x="47" y="10"/>
                    <a:pt x="47" y="10"/>
                  </a:cubicBezTo>
                  <a:cubicBezTo>
                    <a:pt x="46" y="13"/>
                    <a:pt x="45" y="14"/>
                    <a:pt x="43" y="14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86" name="Freeform 1175">
              <a:extLst>
                <a:ext uri="{FF2B5EF4-FFF2-40B4-BE49-F238E27FC236}">
                  <a16:creationId xmlns:a16="http://schemas.microsoft.com/office/drawing/2014/main" id="{66D28DD5-ACD9-7F40-7B01-67B25C7F7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3782" y="1847740"/>
              <a:ext cx="967583" cy="1250035"/>
            </a:xfrm>
            <a:custGeom>
              <a:avLst/>
              <a:gdLst>
                <a:gd name="T0" fmla="*/ 150812 w 137"/>
                <a:gd name="T1" fmla="*/ 103187 h 177"/>
                <a:gd name="T2" fmla="*/ 190500 w 137"/>
                <a:gd name="T3" fmla="*/ 230187 h 177"/>
                <a:gd name="T4" fmla="*/ 150812 w 137"/>
                <a:gd name="T5" fmla="*/ 293687 h 177"/>
                <a:gd name="T6" fmla="*/ 63500 w 137"/>
                <a:gd name="T7" fmla="*/ 373062 h 177"/>
                <a:gd name="T8" fmla="*/ 79375 w 137"/>
                <a:gd name="T9" fmla="*/ 531812 h 177"/>
                <a:gd name="T10" fmla="*/ 39687 w 137"/>
                <a:gd name="T11" fmla="*/ 658812 h 177"/>
                <a:gd name="T12" fmla="*/ 15875 w 137"/>
                <a:gd name="T13" fmla="*/ 801687 h 177"/>
                <a:gd name="T14" fmla="*/ 71437 w 137"/>
                <a:gd name="T15" fmla="*/ 865187 h 177"/>
                <a:gd name="T16" fmla="*/ 111125 w 137"/>
                <a:gd name="T17" fmla="*/ 912812 h 177"/>
                <a:gd name="T18" fmla="*/ 87312 w 137"/>
                <a:gd name="T19" fmla="*/ 1063625 h 177"/>
                <a:gd name="T20" fmla="*/ 119062 w 137"/>
                <a:gd name="T21" fmla="*/ 1166812 h 177"/>
                <a:gd name="T22" fmla="*/ 301625 w 137"/>
                <a:gd name="T23" fmla="*/ 1190625 h 177"/>
                <a:gd name="T24" fmla="*/ 412750 w 137"/>
                <a:gd name="T25" fmla="*/ 1174750 h 177"/>
                <a:gd name="T26" fmla="*/ 523875 w 137"/>
                <a:gd name="T27" fmla="*/ 1143000 h 177"/>
                <a:gd name="T28" fmla="*/ 587375 w 137"/>
                <a:gd name="T29" fmla="*/ 1309687 h 177"/>
                <a:gd name="T30" fmla="*/ 619125 w 137"/>
                <a:gd name="T31" fmla="*/ 1365250 h 177"/>
                <a:gd name="T32" fmla="*/ 714375 w 137"/>
                <a:gd name="T33" fmla="*/ 1373187 h 177"/>
                <a:gd name="T34" fmla="*/ 857250 w 137"/>
                <a:gd name="T35" fmla="*/ 1341437 h 177"/>
                <a:gd name="T36" fmla="*/ 1008062 w 137"/>
                <a:gd name="T37" fmla="*/ 1262062 h 177"/>
                <a:gd name="T38" fmla="*/ 1055687 w 137"/>
                <a:gd name="T39" fmla="*/ 1206500 h 177"/>
                <a:gd name="T40" fmla="*/ 984250 w 137"/>
                <a:gd name="T41" fmla="*/ 1079500 h 177"/>
                <a:gd name="T42" fmla="*/ 968375 w 137"/>
                <a:gd name="T43" fmla="*/ 944562 h 177"/>
                <a:gd name="T44" fmla="*/ 928687 w 137"/>
                <a:gd name="T45" fmla="*/ 825500 h 177"/>
                <a:gd name="T46" fmla="*/ 857250 w 137"/>
                <a:gd name="T47" fmla="*/ 762000 h 177"/>
                <a:gd name="T48" fmla="*/ 666750 w 137"/>
                <a:gd name="T49" fmla="*/ 730250 h 177"/>
                <a:gd name="T50" fmla="*/ 555625 w 137"/>
                <a:gd name="T51" fmla="*/ 706437 h 177"/>
                <a:gd name="T52" fmla="*/ 508000 w 137"/>
                <a:gd name="T53" fmla="*/ 627062 h 177"/>
                <a:gd name="T54" fmla="*/ 468312 w 137"/>
                <a:gd name="T55" fmla="*/ 484187 h 177"/>
                <a:gd name="T56" fmla="*/ 563562 w 137"/>
                <a:gd name="T57" fmla="*/ 381000 h 177"/>
                <a:gd name="T58" fmla="*/ 428625 w 137"/>
                <a:gd name="T59" fmla="*/ 222250 h 177"/>
                <a:gd name="T60" fmla="*/ 341312 w 137"/>
                <a:gd name="T61" fmla="*/ 63500 h 177"/>
                <a:gd name="T62" fmla="*/ 222250 w 137"/>
                <a:gd name="T63" fmla="*/ 87312 h 177"/>
                <a:gd name="T64" fmla="*/ 182562 w 137"/>
                <a:gd name="T65" fmla="*/ 39687 h 17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7"/>
                <a:gd name="T100" fmla="*/ 0 h 177"/>
                <a:gd name="T101" fmla="*/ 137 w 137"/>
                <a:gd name="T102" fmla="*/ 177 h 17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7" h="177">
                  <a:moveTo>
                    <a:pt x="23" y="5"/>
                  </a:moveTo>
                  <a:cubicBezTo>
                    <a:pt x="21" y="8"/>
                    <a:pt x="19" y="13"/>
                    <a:pt x="19" y="13"/>
                  </a:cubicBezTo>
                  <a:cubicBezTo>
                    <a:pt x="15" y="23"/>
                    <a:pt x="19" y="24"/>
                    <a:pt x="19" y="24"/>
                  </a:cubicBezTo>
                  <a:cubicBezTo>
                    <a:pt x="24" y="25"/>
                    <a:pt x="24" y="29"/>
                    <a:pt x="24" y="29"/>
                  </a:cubicBezTo>
                  <a:cubicBezTo>
                    <a:pt x="24" y="31"/>
                    <a:pt x="19" y="28"/>
                    <a:pt x="20" y="33"/>
                  </a:cubicBezTo>
                  <a:cubicBezTo>
                    <a:pt x="18" y="35"/>
                    <a:pt x="19" y="37"/>
                    <a:pt x="19" y="37"/>
                  </a:cubicBezTo>
                  <a:cubicBezTo>
                    <a:pt x="20" y="41"/>
                    <a:pt x="14" y="40"/>
                    <a:pt x="14" y="40"/>
                  </a:cubicBezTo>
                  <a:cubicBezTo>
                    <a:pt x="9" y="41"/>
                    <a:pt x="8" y="47"/>
                    <a:pt x="8" y="47"/>
                  </a:cubicBezTo>
                  <a:cubicBezTo>
                    <a:pt x="2" y="51"/>
                    <a:pt x="9" y="59"/>
                    <a:pt x="9" y="59"/>
                  </a:cubicBezTo>
                  <a:cubicBezTo>
                    <a:pt x="11" y="59"/>
                    <a:pt x="10" y="67"/>
                    <a:pt x="10" y="67"/>
                  </a:cubicBezTo>
                  <a:cubicBezTo>
                    <a:pt x="13" y="72"/>
                    <a:pt x="8" y="70"/>
                    <a:pt x="8" y="77"/>
                  </a:cubicBezTo>
                  <a:cubicBezTo>
                    <a:pt x="10" y="84"/>
                    <a:pt x="5" y="83"/>
                    <a:pt x="5" y="83"/>
                  </a:cubicBezTo>
                  <a:cubicBezTo>
                    <a:pt x="7" y="90"/>
                    <a:pt x="6" y="95"/>
                    <a:pt x="6" y="95"/>
                  </a:cubicBezTo>
                  <a:cubicBezTo>
                    <a:pt x="6" y="97"/>
                    <a:pt x="1" y="95"/>
                    <a:pt x="2" y="101"/>
                  </a:cubicBezTo>
                  <a:cubicBezTo>
                    <a:pt x="0" y="105"/>
                    <a:pt x="5" y="106"/>
                    <a:pt x="5" y="106"/>
                  </a:cubicBezTo>
                  <a:cubicBezTo>
                    <a:pt x="7" y="105"/>
                    <a:pt x="6" y="110"/>
                    <a:pt x="9" y="109"/>
                  </a:cubicBezTo>
                  <a:cubicBezTo>
                    <a:pt x="11" y="109"/>
                    <a:pt x="10" y="106"/>
                    <a:pt x="14" y="107"/>
                  </a:cubicBezTo>
                  <a:cubicBezTo>
                    <a:pt x="9" y="112"/>
                    <a:pt x="14" y="115"/>
                    <a:pt x="14" y="115"/>
                  </a:cubicBezTo>
                  <a:cubicBezTo>
                    <a:pt x="13" y="119"/>
                    <a:pt x="9" y="120"/>
                    <a:pt x="10" y="124"/>
                  </a:cubicBezTo>
                  <a:cubicBezTo>
                    <a:pt x="9" y="127"/>
                    <a:pt x="14" y="130"/>
                    <a:pt x="11" y="134"/>
                  </a:cubicBezTo>
                  <a:cubicBezTo>
                    <a:pt x="11" y="142"/>
                    <a:pt x="8" y="147"/>
                    <a:pt x="8" y="147"/>
                  </a:cubicBezTo>
                  <a:cubicBezTo>
                    <a:pt x="14" y="150"/>
                    <a:pt x="15" y="147"/>
                    <a:pt x="15" y="147"/>
                  </a:cubicBezTo>
                  <a:cubicBezTo>
                    <a:pt x="18" y="144"/>
                    <a:pt x="24" y="148"/>
                    <a:pt x="24" y="148"/>
                  </a:cubicBezTo>
                  <a:cubicBezTo>
                    <a:pt x="25" y="150"/>
                    <a:pt x="36" y="148"/>
                    <a:pt x="38" y="150"/>
                  </a:cubicBezTo>
                  <a:cubicBezTo>
                    <a:pt x="46" y="151"/>
                    <a:pt x="46" y="148"/>
                    <a:pt x="46" y="148"/>
                  </a:cubicBezTo>
                  <a:cubicBezTo>
                    <a:pt x="49" y="143"/>
                    <a:pt x="52" y="148"/>
                    <a:pt x="52" y="148"/>
                  </a:cubicBezTo>
                  <a:cubicBezTo>
                    <a:pt x="57" y="152"/>
                    <a:pt x="59" y="148"/>
                    <a:pt x="59" y="148"/>
                  </a:cubicBezTo>
                  <a:cubicBezTo>
                    <a:pt x="59" y="144"/>
                    <a:pt x="66" y="144"/>
                    <a:pt x="66" y="144"/>
                  </a:cubicBezTo>
                  <a:cubicBezTo>
                    <a:pt x="66" y="154"/>
                    <a:pt x="70" y="156"/>
                    <a:pt x="70" y="156"/>
                  </a:cubicBezTo>
                  <a:cubicBezTo>
                    <a:pt x="73" y="159"/>
                    <a:pt x="74" y="165"/>
                    <a:pt x="74" y="165"/>
                  </a:cubicBezTo>
                  <a:cubicBezTo>
                    <a:pt x="76" y="164"/>
                    <a:pt x="76" y="168"/>
                    <a:pt x="76" y="168"/>
                  </a:cubicBezTo>
                  <a:cubicBezTo>
                    <a:pt x="82" y="170"/>
                    <a:pt x="78" y="172"/>
                    <a:pt x="78" y="172"/>
                  </a:cubicBezTo>
                  <a:cubicBezTo>
                    <a:pt x="76" y="176"/>
                    <a:pt x="81" y="176"/>
                    <a:pt x="81" y="176"/>
                  </a:cubicBezTo>
                  <a:cubicBezTo>
                    <a:pt x="87" y="177"/>
                    <a:pt x="90" y="173"/>
                    <a:pt x="90" y="173"/>
                  </a:cubicBezTo>
                  <a:cubicBezTo>
                    <a:pt x="95" y="170"/>
                    <a:pt x="100" y="173"/>
                    <a:pt x="100" y="173"/>
                  </a:cubicBezTo>
                  <a:cubicBezTo>
                    <a:pt x="103" y="169"/>
                    <a:pt x="108" y="169"/>
                    <a:pt x="108" y="169"/>
                  </a:cubicBezTo>
                  <a:cubicBezTo>
                    <a:pt x="110" y="164"/>
                    <a:pt x="116" y="165"/>
                    <a:pt x="116" y="165"/>
                  </a:cubicBezTo>
                  <a:cubicBezTo>
                    <a:pt x="117" y="159"/>
                    <a:pt x="126" y="156"/>
                    <a:pt x="127" y="159"/>
                  </a:cubicBezTo>
                  <a:cubicBezTo>
                    <a:pt x="129" y="156"/>
                    <a:pt x="137" y="160"/>
                    <a:pt x="137" y="154"/>
                  </a:cubicBezTo>
                  <a:cubicBezTo>
                    <a:pt x="135" y="154"/>
                    <a:pt x="133" y="152"/>
                    <a:pt x="133" y="152"/>
                  </a:cubicBezTo>
                  <a:cubicBezTo>
                    <a:pt x="132" y="144"/>
                    <a:pt x="129" y="145"/>
                    <a:pt x="129" y="145"/>
                  </a:cubicBezTo>
                  <a:cubicBezTo>
                    <a:pt x="123" y="144"/>
                    <a:pt x="124" y="136"/>
                    <a:pt x="124" y="136"/>
                  </a:cubicBezTo>
                  <a:cubicBezTo>
                    <a:pt x="119" y="131"/>
                    <a:pt x="126" y="133"/>
                    <a:pt x="126" y="126"/>
                  </a:cubicBezTo>
                  <a:cubicBezTo>
                    <a:pt x="126" y="122"/>
                    <a:pt x="122" y="121"/>
                    <a:pt x="122" y="119"/>
                  </a:cubicBezTo>
                  <a:cubicBezTo>
                    <a:pt x="119" y="116"/>
                    <a:pt x="119" y="111"/>
                    <a:pt x="119" y="111"/>
                  </a:cubicBezTo>
                  <a:cubicBezTo>
                    <a:pt x="114" y="107"/>
                    <a:pt x="117" y="104"/>
                    <a:pt x="117" y="104"/>
                  </a:cubicBezTo>
                  <a:cubicBezTo>
                    <a:pt x="121" y="101"/>
                    <a:pt x="114" y="102"/>
                    <a:pt x="114" y="102"/>
                  </a:cubicBezTo>
                  <a:cubicBezTo>
                    <a:pt x="109" y="104"/>
                    <a:pt x="108" y="96"/>
                    <a:pt x="108" y="96"/>
                  </a:cubicBezTo>
                  <a:cubicBezTo>
                    <a:pt x="108" y="86"/>
                    <a:pt x="98" y="90"/>
                    <a:pt x="98" y="90"/>
                  </a:cubicBezTo>
                  <a:cubicBezTo>
                    <a:pt x="91" y="95"/>
                    <a:pt x="84" y="92"/>
                    <a:pt x="84" y="92"/>
                  </a:cubicBezTo>
                  <a:cubicBezTo>
                    <a:pt x="82" y="87"/>
                    <a:pt x="76" y="89"/>
                    <a:pt x="76" y="89"/>
                  </a:cubicBezTo>
                  <a:cubicBezTo>
                    <a:pt x="73" y="85"/>
                    <a:pt x="70" y="89"/>
                    <a:pt x="70" y="89"/>
                  </a:cubicBezTo>
                  <a:cubicBezTo>
                    <a:pt x="59" y="91"/>
                    <a:pt x="65" y="86"/>
                    <a:pt x="65" y="86"/>
                  </a:cubicBezTo>
                  <a:cubicBezTo>
                    <a:pt x="70" y="79"/>
                    <a:pt x="64" y="79"/>
                    <a:pt x="64" y="79"/>
                  </a:cubicBezTo>
                  <a:cubicBezTo>
                    <a:pt x="61" y="80"/>
                    <a:pt x="63" y="71"/>
                    <a:pt x="63" y="71"/>
                  </a:cubicBezTo>
                  <a:cubicBezTo>
                    <a:pt x="63" y="65"/>
                    <a:pt x="59" y="61"/>
                    <a:pt x="59" y="61"/>
                  </a:cubicBezTo>
                  <a:cubicBezTo>
                    <a:pt x="53" y="56"/>
                    <a:pt x="64" y="54"/>
                    <a:pt x="64" y="54"/>
                  </a:cubicBezTo>
                  <a:cubicBezTo>
                    <a:pt x="72" y="54"/>
                    <a:pt x="71" y="48"/>
                    <a:pt x="71" y="48"/>
                  </a:cubicBezTo>
                  <a:cubicBezTo>
                    <a:pt x="72" y="44"/>
                    <a:pt x="63" y="40"/>
                    <a:pt x="63" y="40"/>
                  </a:cubicBezTo>
                  <a:cubicBezTo>
                    <a:pt x="55" y="35"/>
                    <a:pt x="54" y="28"/>
                    <a:pt x="54" y="28"/>
                  </a:cubicBezTo>
                  <a:cubicBezTo>
                    <a:pt x="50" y="23"/>
                    <a:pt x="59" y="21"/>
                    <a:pt x="51" y="16"/>
                  </a:cubicBezTo>
                  <a:cubicBezTo>
                    <a:pt x="46" y="16"/>
                    <a:pt x="43" y="8"/>
                    <a:pt x="43" y="8"/>
                  </a:cubicBezTo>
                  <a:cubicBezTo>
                    <a:pt x="39" y="0"/>
                    <a:pt x="36" y="5"/>
                    <a:pt x="36" y="5"/>
                  </a:cubicBezTo>
                  <a:cubicBezTo>
                    <a:pt x="31" y="5"/>
                    <a:pt x="28" y="11"/>
                    <a:pt x="28" y="11"/>
                  </a:cubicBezTo>
                  <a:cubicBezTo>
                    <a:pt x="25" y="12"/>
                    <a:pt x="29" y="4"/>
                    <a:pt x="23" y="5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87" name="Freeform 1176">
              <a:extLst>
                <a:ext uri="{FF2B5EF4-FFF2-40B4-BE49-F238E27FC236}">
                  <a16:creationId xmlns:a16="http://schemas.microsoft.com/office/drawing/2014/main" id="{29374EB4-C7BA-C20B-F9C4-00439FAFD8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4513" y="1868927"/>
              <a:ext cx="988771" cy="1144101"/>
            </a:xfrm>
            <a:custGeom>
              <a:avLst/>
              <a:gdLst>
                <a:gd name="T0" fmla="*/ 627063 w 140"/>
                <a:gd name="T1" fmla="*/ 1262063 h 162"/>
                <a:gd name="T2" fmla="*/ 587375 w 140"/>
                <a:gd name="T3" fmla="*/ 1222375 h 162"/>
                <a:gd name="T4" fmla="*/ 595313 w 140"/>
                <a:gd name="T5" fmla="*/ 1150938 h 162"/>
                <a:gd name="T6" fmla="*/ 539750 w 140"/>
                <a:gd name="T7" fmla="*/ 1127125 h 162"/>
                <a:gd name="T8" fmla="*/ 492125 w 140"/>
                <a:gd name="T9" fmla="*/ 1127125 h 162"/>
                <a:gd name="T10" fmla="*/ 444500 w 140"/>
                <a:gd name="T11" fmla="*/ 1158875 h 162"/>
                <a:gd name="T12" fmla="*/ 293688 w 140"/>
                <a:gd name="T13" fmla="*/ 1150938 h 162"/>
                <a:gd name="T14" fmla="*/ 261938 w 140"/>
                <a:gd name="T15" fmla="*/ 1095375 h 162"/>
                <a:gd name="T16" fmla="*/ 246063 w 140"/>
                <a:gd name="T17" fmla="*/ 1047750 h 162"/>
                <a:gd name="T18" fmla="*/ 174625 w 140"/>
                <a:gd name="T19" fmla="*/ 1016000 h 162"/>
                <a:gd name="T20" fmla="*/ 103188 w 140"/>
                <a:gd name="T21" fmla="*/ 992188 h 162"/>
                <a:gd name="T22" fmla="*/ 87313 w 140"/>
                <a:gd name="T23" fmla="*/ 944563 h 162"/>
                <a:gd name="T24" fmla="*/ 55563 w 140"/>
                <a:gd name="T25" fmla="*/ 904875 h 162"/>
                <a:gd name="T26" fmla="*/ 15875 w 140"/>
                <a:gd name="T27" fmla="*/ 873125 h 162"/>
                <a:gd name="T28" fmla="*/ 15875 w 140"/>
                <a:gd name="T29" fmla="*/ 873125 h 162"/>
                <a:gd name="T30" fmla="*/ 23813 w 140"/>
                <a:gd name="T31" fmla="*/ 801688 h 162"/>
                <a:gd name="T32" fmla="*/ 23813 w 140"/>
                <a:gd name="T33" fmla="*/ 698500 h 162"/>
                <a:gd name="T34" fmla="*/ 23813 w 140"/>
                <a:gd name="T35" fmla="*/ 698500 h 162"/>
                <a:gd name="T36" fmla="*/ 47625 w 140"/>
                <a:gd name="T37" fmla="*/ 674688 h 162"/>
                <a:gd name="T38" fmla="*/ 39688 w 140"/>
                <a:gd name="T39" fmla="*/ 547688 h 162"/>
                <a:gd name="T40" fmla="*/ 47625 w 140"/>
                <a:gd name="T41" fmla="*/ 436563 h 162"/>
                <a:gd name="T42" fmla="*/ 95250 w 140"/>
                <a:gd name="T43" fmla="*/ 325438 h 162"/>
                <a:gd name="T44" fmla="*/ 150813 w 140"/>
                <a:gd name="T45" fmla="*/ 277813 h 162"/>
                <a:gd name="T46" fmla="*/ 174625 w 140"/>
                <a:gd name="T47" fmla="*/ 222250 h 162"/>
                <a:gd name="T48" fmla="*/ 261938 w 140"/>
                <a:gd name="T49" fmla="*/ 206375 h 162"/>
                <a:gd name="T50" fmla="*/ 309563 w 140"/>
                <a:gd name="T51" fmla="*/ 198438 h 162"/>
                <a:gd name="T52" fmla="*/ 444500 w 140"/>
                <a:gd name="T53" fmla="*/ 190500 h 162"/>
                <a:gd name="T54" fmla="*/ 539750 w 140"/>
                <a:gd name="T55" fmla="*/ 206375 h 162"/>
                <a:gd name="T56" fmla="*/ 595313 w 140"/>
                <a:gd name="T57" fmla="*/ 222250 h 162"/>
                <a:gd name="T58" fmla="*/ 682625 w 140"/>
                <a:gd name="T59" fmla="*/ 174625 h 162"/>
                <a:gd name="T60" fmla="*/ 706438 w 140"/>
                <a:gd name="T61" fmla="*/ 87313 h 162"/>
                <a:gd name="T62" fmla="*/ 777875 w 140"/>
                <a:gd name="T63" fmla="*/ 55563 h 162"/>
                <a:gd name="T64" fmla="*/ 865188 w 140"/>
                <a:gd name="T65" fmla="*/ 87313 h 162"/>
                <a:gd name="T66" fmla="*/ 992188 w 140"/>
                <a:gd name="T67" fmla="*/ 31750 h 162"/>
                <a:gd name="T68" fmla="*/ 1103313 w 140"/>
                <a:gd name="T69" fmla="*/ 15875 h 162"/>
                <a:gd name="T70" fmla="*/ 1071563 w 140"/>
                <a:gd name="T71" fmla="*/ 79375 h 162"/>
                <a:gd name="T72" fmla="*/ 1071563 w 140"/>
                <a:gd name="T73" fmla="*/ 166688 h 162"/>
                <a:gd name="T74" fmla="*/ 1111250 w 140"/>
                <a:gd name="T75" fmla="*/ 206375 h 162"/>
                <a:gd name="T76" fmla="*/ 1079500 w 140"/>
                <a:gd name="T77" fmla="*/ 238125 h 162"/>
                <a:gd name="T78" fmla="*/ 1071563 w 140"/>
                <a:gd name="T79" fmla="*/ 269875 h 162"/>
                <a:gd name="T80" fmla="*/ 1031875 w 140"/>
                <a:gd name="T81" fmla="*/ 293688 h 162"/>
                <a:gd name="T82" fmla="*/ 984250 w 140"/>
                <a:gd name="T83" fmla="*/ 349250 h 162"/>
                <a:gd name="T84" fmla="*/ 992188 w 140"/>
                <a:gd name="T85" fmla="*/ 444500 h 162"/>
                <a:gd name="T86" fmla="*/ 1000125 w 140"/>
                <a:gd name="T87" fmla="*/ 508000 h 162"/>
                <a:gd name="T88" fmla="*/ 984250 w 140"/>
                <a:gd name="T89" fmla="*/ 587375 h 162"/>
                <a:gd name="T90" fmla="*/ 960438 w 140"/>
                <a:gd name="T91" fmla="*/ 635000 h 162"/>
                <a:gd name="T92" fmla="*/ 968375 w 140"/>
                <a:gd name="T93" fmla="*/ 730250 h 162"/>
                <a:gd name="T94" fmla="*/ 936625 w 140"/>
                <a:gd name="T95" fmla="*/ 777875 h 162"/>
                <a:gd name="T96" fmla="*/ 960438 w 140"/>
                <a:gd name="T97" fmla="*/ 817563 h 162"/>
                <a:gd name="T98" fmla="*/ 992188 w 140"/>
                <a:gd name="T99" fmla="*/ 841375 h 162"/>
                <a:gd name="T100" fmla="*/ 1031875 w 140"/>
                <a:gd name="T101" fmla="*/ 825500 h 162"/>
                <a:gd name="T102" fmla="*/ 1031875 w 140"/>
                <a:gd name="T103" fmla="*/ 889000 h 162"/>
                <a:gd name="T104" fmla="*/ 1000125 w 140"/>
                <a:gd name="T105" fmla="*/ 960438 h 162"/>
                <a:gd name="T106" fmla="*/ 1008063 w 140"/>
                <a:gd name="T107" fmla="*/ 1039813 h 162"/>
                <a:gd name="T108" fmla="*/ 984250 w 140"/>
                <a:gd name="T109" fmla="*/ 1143000 h 162"/>
                <a:gd name="T110" fmla="*/ 936625 w 140"/>
                <a:gd name="T111" fmla="*/ 1198563 h 162"/>
                <a:gd name="T112" fmla="*/ 873125 w 140"/>
                <a:gd name="T113" fmla="*/ 1238250 h 162"/>
                <a:gd name="T114" fmla="*/ 769938 w 140"/>
                <a:gd name="T115" fmla="*/ 1238250 h 162"/>
                <a:gd name="T116" fmla="*/ 690563 w 140"/>
                <a:gd name="T117" fmla="*/ 1238250 h 162"/>
                <a:gd name="T118" fmla="*/ 627063 w 140"/>
                <a:gd name="T119" fmla="*/ 1262063 h 162"/>
                <a:gd name="T120" fmla="*/ 627063 w 140"/>
                <a:gd name="T121" fmla="*/ 1262063 h 162"/>
                <a:gd name="T122" fmla="*/ 627063 w 140"/>
                <a:gd name="T123" fmla="*/ 1262063 h 16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0"/>
                <a:gd name="T187" fmla="*/ 0 h 162"/>
                <a:gd name="T188" fmla="*/ 140 w 140"/>
                <a:gd name="T189" fmla="*/ 162 h 16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0" h="162">
                  <a:moveTo>
                    <a:pt x="79" y="159"/>
                  </a:moveTo>
                  <a:cubicBezTo>
                    <a:pt x="75" y="159"/>
                    <a:pt x="79" y="153"/>
                    <a:pt x="74" y="154"/>
                  </a:cubicBezTo>
                  <a:cubicBezTo>
                    <a:pt x="68" y="148"/>
                    <a:pt x="75" y="145"/>
                    <a:pt x="75" y="145"/>
                  </a:cubicBezTo>
                  <a:cubicBezTo>
                    <a:pt x="70" y="146"/>
                    <a:pt x="68" y="142"/>
                    <a:pt x="68" y="142"/>
                  </a:cubicBezTo>
                  <a:cubicBezTo>
                    <a:pt x="63" y="135"/>
                    <a:pt x="62" y="142"/>
                    <a:pt x="62" y="142"/>
                  </a:cubicBezTo>
                  <a:cubicBezTo>
                    <a:pt x="62" y="144"/>
                    <a:pt x="58" y="142"/>
                    <a:pt x="56" y="146"/>
                  </a:cubicBezTo>
                  <a:cubicBezTo>
                    <a:pt x="43" y="150"/>
                    <a:pt x="37" y="145"/>
                    <a:pt x="37" y="145"/>
                  </a:cubicBezTo>
                  <a:cubicBezTo>
                    <a:pt x="32" y="143"/>
                    <a:pt x="33" y="138"/>
                    <a:pt x="33" y="138"/>
                  </a:cubicBezTo>
                  <a:cubicBezTo>
                    <a:pt x="33" y="135"/>
                    <a:pt x="31" y="132"/>
                    <a:pt x="31" y="132"/>
                  </a:cubicBezTo>
                  <a:cubicBezTo>
                    <a:pt x="28" y="126"/>
                    <a:pt x="22" y="128"/>
                    <a:pt x="22" y="128"/>
                  </a:cubicBezTo>
                  <a:cubicBezTo>
                    <a:pt x="10" y="130"/>
                    <a:pt x="13" y="125"/>
                    <a:pt x="13" y="125"/>
                  </a:cubicBezTo>
                  <a:cubicBezTo>
                    <a:pt x="15" y="121"/>
                    <a:pt x="11" y="119"/>
                    <a:pt x="11" y="119"/>
                  </a:cubicBezTo>
                  <a:cubicBezTo>
                    <a:pt x="6" y="119"/>
                    <a:pt x="7" y="114"/>
                    <a:pt x="7" y="114"/>
                  </a:cubicBezTo>
                  <a:cubicBezTo>
                    <a:pt x="8" y="109"/>
                    <a:pt x="2" y="110"/>
                    <a:pt x="2" y="110"/>
                  </a:cubicBezTo>
                  <a:lnTo>
                    <a:pt x="3" y="101"/>
                  </a:lnTo>
                  <a:lnTo>
                    <a:pt x="3" y="88"/>
                  </a:lnTo>
                  <a:cubicBezTo>
                    <a:pt x="3" y="88"/>
                    <a:pt x="3" y="84"/>
                    <a:pt x="6" y="85"/>
                  </a:cubicBezTo>
                  <a:cubicBezTo>
                    <a:pt x="10" y="77"/>
                    <a:pt x="3" y="77"/>
                    <a:pt x="5" y="69"/>
                  </a:cubicBezTo>
                  <a:cubicBezTo>
                    <a:pt x="5" y="69"/>
                    <a:pt x="0" y="66"/>
                    <a:pt x="6" y="55"/>
                  </a:cubicBezTo>
                  <a:cubicBezTo>
                    <a:pt x="10" y="53"/>
                    <a:pt x="8" y="46"/>
                    <a:pt x="12" y="41"/>
                  </a:cubicBezTo>
                  <a:cubicBezTo>
                    <a:pt x="17" y="39"/>
                    <a:pt x="16" y="35"/>
                    <a:pt x="19" y="35"/>
                  </a:cubicBezTo>
                  <a:cubicBezTo>
                    <a:pt x="19" y="35"/>
                    <a:pt x="23" y="32"/>
                    <a:pt x="22" y="28"/>
                  </a:cubicBezTo>
                  <a:cubicBezTo>
                    <a:pt x="22" y="28"/>
                    <a:pt x="20" y="23"/>
                    <a:pt x="33" y="26"/>
                  </a:cubicBezTo>
                  <a:cubicBezTo>
                    <a:pt x="33" y="26"/>
                    <a:pt x="38" y="32"/>
                    <a:pt x="39" y="25"/>
                  </a:cubicBezTo>
                  <a:cubicBezTo>
                    <a:pt x="39" y="25"/>
                    <a:pt x="41" y="19"/>
                    <a:pt x="56" y="24"/>
                  </a:cubicBezTo>
                  <a:cubicBezTo>
                    <a:pt x="56" y="24"/>
                    <a:pt x="68" y="22"/>
                    <a:pt x="68" y="26"/>
                  </a:cubicBezTo>
                  <a:cubicBezTo>
                    <a:pt x="68" y="26"/>
                    <a:pt x="66" y="30"/>
                    <a:pt x="75" y="28"/>
                  </a:cubicBezTo>
                  <a:cubicBezTo>
                    <a:pt x="75" y="28"/>
                    <a:pt x="78" y="29"/>
                    <a:pt x="86" y="22"/>
                  </a:cubicBezTo>
                  <a:cubicBezTo>
                    <a:pt x="86" y="16"/>
                    <a:pt x="89" y="16"/>
                    <a:pt x="89" y="11"/>
                  </a:cubicBezTo>
                  <a:cubicBezTo>
                    <a:pt x="89" y="11"/>
                    <a:pt x="85" y="3"/>
                    <a:pt x="98" y="7"/>
                  </a:cubicBezTo>
                  <a:cubicBezTo>
                    <a:pt x="98" y="7"/>
                    <a:pt x="106" y="12"/>
                    <a:pt x="109" y="11"/>
                  </a:cubicBezTo>
                  <a:cubicBezTo>
                    <a:pt x="116" y="11"/>
                    <a:pt x="114" y="11"/>
                    <a:pt x="125" y="4"/>
                  </a:cubicBezTo>
                  <a:cubicBezTo>
                    <a:pt x="125" y="4"/>
                    <a:pt x="126" y="0"/>
                    <a:pt x="139" y="2"/>
                  </a:cubicBezTo>
                  <a:cubicBezTo>
                    <a:pt x="137" y="5"/>
                    <a:pt x="135" y="10"/>
                    <a:pt x="135" y="10"/>
                  </a:cubicBezTo>
                  <a:cubicBezTo>
                    <a:pt x="131" y="20"/>
                    <a:pt x="135" y="21"/>
                    <a:pt x="135" y="21"/>
                  </a:cubicBezTo>
                  <a:cubicBezTo>
                    <a:pt x="140" y="22"/>
                    <a:pt x="140" y="26"/>
                    <a:pt x="140" y="26"/>
                  </a:cubicBezTo>
                  <a:cubicBezTo>
                    <a:pt x="140" y="28"/>
                    <a:pt x="135" y="25"/>
                    <a:pt x="136" y="30"/>
                  </a:cubicBezTo>
                  <a:cubicBezTo>
                    <a:pt x="134" y="32"/>
                    <a:pt x="135" y="34"/>
                    <a:pt x="135" y="34"/>
                  </a:cubicBezTo>
                  <a:cubicBezTo>
                    <a:pt x="136" y="38"/>
                    <a:pt x="130" y="37"/>
                    <a:pt x="130" y="37"/>
                  </a:cubicBezTo>
                  <a:cubicBezTo>
                    <a:pt x="125" y="38"/>
                    <a:pt x="124" y="44"/>
                    <a:pt x="124" y="44"/>
                  </a:cubicBezTo>
                  <a:cubicBezTo>
                    <a:pt x="118" y="48"/>
                    <a:pt x="125" y="56"/>
                    <a:pt x="125" y="56"/>
                  </a:cubicBezTo>
                  <a:cubicBezTo>
                    <a:pt x="127" y="56"/>
                    <a:pt x="126" y="64"/>
                    <a:pt x="126" y="64"/>
                  </a:cubicBezTo>
                  <a:cubicBezTo>
                    <a:pt x="129" y="69"/>
                    <a:pt x="124" y="67"/>
                    <a:pt x="124" y="74"/>
                  </a:cubicBezTo>
                  <a:cubicBezTo>
                    <a:pt x="126" y="81"/>
                    <a:pt x="121" y="80"/>
                    <a:pt x="121" y="80"/>
                  </a:cubicBezTo>
                  <a:cubicBezTo>
                    <a:pt x="123" y="87"/>
                    <a:pt x="122" y="92"/>
                    <a:pt x="122" y="92"/>
                  </a:cubicBezTo>
                  <a:cubicBezTo>
                    <a:pt x="122" y="94"/>
                    <a:pt x="117" y="92"/>
                    <a:pt x="118" y="98"/>
                  </a:cubicBezTo>
                  <a:cubicBezTo>
                    <a:pt x="116" y="102"/>
                    <a:pt x="121" y="103"/>
                    <a:pt x="121" y="103"/>
                  </a:cubicBezTo>
                  <a:cubicBezTo>
                    <a:pt x="123" y="102"/>
                    <a:pt x="122" y="107"/>
                    <a:pt x="125" y="106"/>
                  </a:cubicBezTo>
                  <a:cubicBezTo>
                    <a:pt x="127" y="106"/>
                    <a:pt x="126" y="103"/>
                    <a:pt x="130" y="104"/>
                  </a:cubicBezTo>
                  <a:cubicBezTo>
                    <a:pt x="125" y="109"/>
                    <a:pt x="130" y="112"/>
                    <a:pt x="130" y="112"/>
                  </a:cubicBezTo>
                  <a:cubicBezTo>
                    <a:pt x="129" y="116"/>
                    <a:pt x="125" y="117"/>
                    <a:pt x="126" y="121"/>
                  </a:cubicBezTo>
                  <a:cubicBezTo>
                    <a:pt x="125" y="124"/>
                    <a:pt x="130" y="127"/>
                    <a:pt x="127" y="131"/>
                  </a:cubicBezTo>
                  <a:cubicBezTo>
                    <a:pt x="127" y="139"/>
                    <a:pt x="124" y="144"/>
                    <a:pt x="124" y="144"/>
                  </a:cubicBezTo>
                  <a:cubicBezTo>
                    <a:pt x="124" y="147"/>
                    <a:pt x="118" y="151"/>
                    <a:pt x="118" y="151"/>
                  </a:cubicBezTo>
                  <a:cubicBezTo>
                    <a:pt x="115" y="157"/>
                    <a:pt x="110" y="156"/>
                    <a:pt x="110" y="156"/>
                  </a:cubicBezTo>
                  <a:cubicBezTo>
                    <a:pt x="101" y="160"/>
                    <a:pt x="97" y="156"/>
                    <a:pt x="97" y="156"/>
                  </a:cubicBezTo>
                  <a:cubicBezTo>
                    <a:pt x="92" y="152"/>
                    <a:pt x="87" y="156"/>
                    <a:pt x="87" y="156"/>
                  </a:cubicBezTo>
                  <a:cubicBezTo>
                    <a:pt x="84" y="162"/>
                    <a:pt x="79" y="159"/>
                    <a:pt x="79" y="159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88" name="Freeform 1177">
              <a:extLst>
                <a:ext uri="{FF2B5EF4-FFF2-40B4-BE49-F238E27FC236}">
                  <a16:creationId xmlns:a16="http://schemas.microsoft.com/office/drawing/2014/main" id="{9CB88AA2-C5AC-7A32-70A4-381AF8CF0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7819" y="2327981"/>
              <a:ext cx="981707" cy="1299473"/>
            </a:xfrm>
            <a:custGeom>
              <a:avLst/>
              <a:gdLst>
                <a:gd name="T0" fmla="*/ 47625 w 139"/>
                <a:gd name="T1" fmla="*/ 1127125 h 184"/>
                <a:gd name="T2" fmla="*/ 111125 w 139"/>
                <a:gd name="T3" fmla="*/ 1047750 h 184"/>
                <a:gd name="T4" fmla="*/ 142875 w 139"/>
                <a:gd name="T5" fmla="*/ 904875 h 184"/>
                <a:gd name="T6" fmla="*/ 119062 w 139"/>
                <a:gd name="T7" fmla="*/ 769938 h 184"/>
                <a:gd name="T8" fmla="*/ 79375 w 139"/>
                <a:gd name="T9" fmla="*/ 642938 h 184"/>
                <a:gd name="T10" fmla="*/ 87312 w 139"/>
                <a:gd name="T11" fmla="*/ 484188 h 184"/>
                <a:gd name="T12" fmla="*/ 79375 w 139"/>
                <a:gd name="T13" fmla="*/ 309563 h 184"/>
                <a:gd name="T14" fmla="*/ 7937 w 139"/>
                <a:gd name="T15" fmla="*/ 269875 h 184"/>
                <a:gd name="T16" fmla="*/ 0 w 139"/>
                <a:gd name="T17" fmla="*/ 198438 h 184"/>
                <a:gd name="T18" fmla="*/ 134937 w 139"/>
                <a:gd name="T19" fmla="*/ 63500 h 184"/>
                <a:gd name="T20" fmla="*/ 246062 w 139"/>
                <a:gd name="T21" fmla="*/ 63500 h 184"/>
                <a:gd name="T22" fmla="*/ 388937 w 139"/>
                <a:gd name="T23" fmla="*/ 71438 h 184"/>
                <a:gd name="T24" fmla="*/ 492125 w 139"/>
                <a:gd name="T25" fmla="*/ 182563 h 184"/>
                <a:gd name="T26" fmla="*/ 492125 w 139"/>
                <a:gd name="T27" fmla="*/ 285750 h 184"/>
                <a:gd name="T28" fmla="*/ 484187 w 139"/>
                <a:gd name="T29" fmla="*/ 357188 h 184"/>
                <a:gd name="T30" fmla="*/ 555625 w 139"/>
                <a:gd name="T31" fmla="*/ 428625 h 184"/>
                <a:gd name="T32" fmla="*/ 642937 w 139"/>
                <a:gd name="T33" fmla="*/ 500063 h 184"/>
                <a:gd name="T34" fmla="*/ 730250 w 139"/>
                <a:gd name="T35" fmla="*/ 579438 h 184"/>
                <a:gd name="T36" fmla="*/ 912812 w 139"/>
                <a:gd name="T37" fmla="*/ 642938 h 184"/>
                <a:gd name="T38" fmla="*/ 1008062 w 139"/>
                <a:gd name="T39" fmla="*/ 611188 h 184"/>
                <a:gd name="T40" fmla="*/ 1055687 w 139"/>
                <a:gd name="T41" fmla="*/ 706438 h 184"/>
                <a:gd name="T42" fmla="*/ 1087437 w 139"/>
                <a:gd name="T43" fmla="*/ 809625 h 184"/>
                <a:gd name="T44" fmla="*/ 992187 w 139"/>
                <a:gd name="T45" fmla="*/ 904875 h 184"/>
                <a:gd name="T46" fmla="*/ 920750 w 139"/>
                <a:gd name="T47" fmla="*/ 1047750 h 184"/>
                <a:gd name="T48" fmla="*/ 777875 w 139"/>
                <a:gd name="T49" fmla="*/ 1039813 h 184"/>
                <a:gd name="T50" fmla="*/ 706437 w 139"/>
                <a:gd name="T51" fmla="*/ 1206500 h 184"/>
                <a:gd name="T52" fmla="*/ 642937 w 139"/>
                <a:gd name="T53" fmla="*/ 1317625 h 184"/>
                <a:gd name="T54" fmla="*/ 460375 w 139"/>
                <a:gd name="T55" fmla="*/ 1365250 h 184"/>
                <a:gd name="T56" fmla="*/ 404812 w 139"/>
                <a:gd name="T57" fmla="*/ 1420813 h 184"/>
                <a:gd name="T58" fmla="*/ 301625 w 139"/>
                <a:gd name="T59" fmla="*/ 1397000 h 184"/>
                <a:gd name="T60" fmla="*/ 174625 w 139"/>
                <a:gd name="T61" fmla="*/ 1452563 h 184"/>
                <a:gd name="T62" fmla="*/ 71437 w 139"/>
                <a:gd name="T63" fmla="*/ 1373188 h 184"/>
                <a:gd name="T64" fmla="*/ 79375 w 139"/>
                <a:gd name="T65" fmla="*/ 1230313 h 184"/>
                <a:gd name="T66" fmla="*/ 55562 w 139"/>
                <a:gd name="T67" fmla="*/ 1166813 h 18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39"/>
                <a:gd name="T103" fmla="*/ 0 h 184"/>
                <a:gd name="T104" fmla="*/ 139 w 139"/>
                <a:gd name="T105" fmla="*/ 184 h 18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39" h="184">
                  <a:moveTo>
                    <a:pt x="7" y="147"/>
                  </a:moveTo>
                  <a:cubicBezTo>
                    <a:pt x="9" y="144"/>
                    <a:pt x="6" y="142"/>
                    <a:pt x="6" y="142"/>
                  </a:cubicBezTo>
                  <a:cubicBezTo>
                    <a:pt x="5" y="138"/>
                    <a:pt x="6" y="136"/>
                    <a:pt x="6" y="136"/>
                  </a:cubicBezTo>
                  <a:cubicBezTo>
                    <a:pt x="11" y="135"/>
                    <a:pt x="14" y="132"/>
                    <a:pt x="14" y="132"/>
                  </a:cubicBezTo>
                  <a:cubicBezTo>
                    <a:pt x="22" y="126"/>
                    <a:pt x="20" y="124"/>
                    <a:pt x="20" y="124"/>
                  </a:cubicBezTo>
                  <a:cubicBezTo>
                    <a:pt x="16" y="121"/>
                    <a:pt x="18" y="114"/>
                    <a:pt x="18" y="114"/>
                  </a:cubicBezTo>
                  <a:cubicBezTo>
                    <a:pt x="22" y="111"/>
                    <a:pt x="19" y="107"/>
                    <a:pt x="19" y="107"/>
                  </a:cubicBezTo>
                  <a:cubicBezTo>
                    <a:pt x="20" y="98"/>
                    <a:pt x="15" y="97"/>
                    <a:pt x="15" y="97"/>
                  </a:cubicBezTo>
                  <a:cubicBezTo>
                    <a:pt x="15" y="89"/>
                    <a:pt x="11" y="89"/>
                    <a:pt x="11" y="89"/>
                  </a:cubicBezTo>
                  <a:cubicBezTo>
                    <a:pt x="5" y="87"/>
                    <a:pt x="9" y="86"/>
                    <a:pt x="10" y="81"/>
                  </a:cubicBezTo>
                  <a:cubicBezTo>
                    <a:pt x="8" y="73"/>
                    <a:pt x="11" y="71"/>
                    <a:pt x="11" y="71"/>
                  </a:cubicBezTo>
                  <a:cubicBezTo>
                    <a:pt x="16" y="63"/>
                    <a:pt x="11" y="61"/>
                    <a:pt x="11" y="61"/>
                  </a:cubicBezTo>
                  <a:cubicBezTo>
                    <a:pt x="12" y="51"/>
                    <a:pt x="6" y="48"/>
                    <a:pt x="6" y="48"/>
                  </a:cubicBezTo>
                  <a:cubicBezTo>
                    <a:pt x="5" y="46"/>
                    <a:pt x="9" y="46"/>
                    <a:pt x="10" y="39"/>
                  </a:cubicBezTo>
                  <a:cubicBezTo>
                    <a:pt x="6" y="31"/>
                    <a:pt x="1" y="34"/>
                    <a:pt x="1" y="34"/>
                  </a:cubicBezTo>
                  <a:lnTo>
                    <a:pt x="0" y="25"/>
                  </a:lnTo>
                  <a:cubicBezTo>
                    <a:pt x="10" y="23"/>
                    <a:pt x="5" y="14"/>
                    <a:pt x="5" y="14"/>
                  </a:cubicBezTo>
                  <a:cubicBezTo>
                    <a:pt x="11" y="12"/>
                    <a:pt x="13" y="8"/>
                    <a:pt x="17" y="8"/>
                  </a:cubicBezTo>
                  <a:cubicBezTo>
                    <a:pt x="17" y="8"/>
                    <a:pt x="19" y="0"/>
                    <a:pt x="24" y="7"/>
                  </a:cubicBezTo>
                  <a:cubicBezTo>
                    <a:pt x="24" y="7"/>
                    <a:pt x="26" y="12"/>
                    <a:pt x="31" y="8"/>
                  </a:cubicBezTo>
                  <a:cubicBezTo>
                    <a:pt x="31" y="8"/>
                    <a:pt x="34" y="5"/>
                    <a:pt x="40" y="6"/>
                  </a:cubicBezTo>
                  <a:cubicBezTo>
                    <a:pt x="40" y="6"/>
                    <a:pt x="47" y="5"/>
                    <a:pt x="49" y="9"/>
                  </a:cubicBezTo>
                  <a:cubicBezTo>
                    <a:pt x="49" y="9"/>
                    <a:pt x="54" y="13"/>
                    <a:pt x="53" y="16"/>
                  </a:cubicBezTo>
                  <a:cubicBezTo>
                    <a:pt x="53" y="16"/>
                    <a:pt x="54" y="21"/>
                    <a:pt x="62" y="23"/>
                  </a:cubicBezTo>
                  <a:lnTo>
                    <a:pt x="62" y="36"/>
                  </a:lnTo>
                  <a:lnTo>
                    <a:pt x="61" y="45"/>
                  </a:lnTo>
                  <a:cubicBezTo>
                    <a:pt x="61" y="45"/>
                    <a:pt x="67" y="44"/>
                    <a:pt x="66" y="49"/>
                  </a:cubicBezTo>
                  <a:cubicBezTo>
                    <a:pt x="66" y="49"/>
                    <a:pt x="65" y="54"/>
                    <a:pt x="70" y="54"/>
                  </a:cubicBezTo>
                  <a:cubicBezTo>
                    <a:pt x="70" y="54"/>
                    <a:pt x="74" y="56"/>
                    <a:pt x="72" y="60"/>
                  </a:cubicBezTo>
                  <a:cubicBezTo>
                    <a:pt x="72" y="60"/>
                    <a:pt x="69" y="65"/>
                    <a:pt x="81" y="63"/>
                  </a:cubicBezTo>
                  <a:cubicBezTo>
                    <a:pt x="81" y="63"/>
                    <a:pt x="87" y="61"/>
                    <a:pt x="90" y="67"/>
                  </a:cubicBezTo>
                  <a:cubicBezTo>
                    <a:pt x="90" y="67"/>
                    <a:pt x="92" y="70"/>
                    <a:pt x="92" y="73"/>
                  </a:cubicBezTo>
                  <a:cubicBezTo>
                    <a:pt x="92" y="73"/>
                    <a:pt x="91" y="78"/>
                    <a:pt x="96" y="80"/>
                  </a:cubicBezTo>
                  <a:cubicBezTo>
                    <a:pt x="96" y="80"/>
                    <a:pt x="102" y="85"/>
                    <a:pt x="115" y="81"/>
                  </a:cubicBezTo>
                  <a:cubicBezTo>
                    <a:pt x="117" y="77"/>
                    <a:pt x="121" y="79"/>
                    <a:pt x="121" y="77"/>
                  </a:cubicBezTo>
                  <a:cubicBezTo>
                    <a:pt x="121" y="77"/>
                    <a:pt x="122" y="70"/>
                    <a:pt x="127" y="77"/>
                  </a:cubicBezTo>
                  <a:cubicBezTo>
                    <a:pt x="127" y="77"/>
                    <a:pt x="129" y="81"/>
                    <a:pt x="134" y="80"/>
                  </a:cubicBezTo>
                  <a:cubicBezTo>
                    <a:pt x="134" y="80"/>
                    <a:pt x="127" y="83"/>
                    <a:pt x="133" y="89"/>
                  </a:cubicBezTo>
                  <a:cubicBezTo>
                    <a:pt x="138" y="88"/>
                    <a:pt x="135" y="93"/>
                    <a:pt x="138" y="94"/>
                  </a:cubicBezTo>
                  <a:cubicBezTo>
                    <a:pt x="139" y="99"/>
                    <a:pt x="137" y="102"/>
                    <a:pt x="137" y="102"/>
                  </a:cubicBezTo>
                  <a:cubicBezTo>
                    <a:pt x="137" y="102"/>
                    <a:pt x="129" y="104"/>
                    <a:pt x="130" y="109"/>
                  </a:cubicBezTo>
                  <a:cubicBezTo>
                    <a:pt x="131" y="111"/>
                    <a:pt x="125" y="111"/>
                    <a:pt x="125" y="114"/>
                  </a:cubicBezTo>
                  <a:cubicBezTo>
                    <a:pt x="125" y="114"/>
                    <a:pt x="127" y="120"/>
                    <a:pt x="123" y="121"/>
                  </a:cubicBezTo>
                  <a:cubicBezTo>
                    <a:pt x="123" y="121"/>
                    <a:pt x="122" y="133"/>
                    <a:pt x="116" y="132"/>
                  </a:cubicBezTo>
                  <a:cubicBezTo>
                    <a:pt x="116" y="132"/>
                    <a:pt x="108" y="134"/>
                    <a:pt x="105" y="131"/>
                  </a:cubicBezTo>
                  <a:cubicBezTo>
                    <a:pt x="105" y="131"/>
                    <a:pt x="101" y="126"/>
                    <a:pt x="98" y="131"/>
                  </a:cubicBezTo>
                  <a:cubicBezTo>
                    <a:pt x="98" y="131"/>
                    <a:pt x="91" y="129"/>
                    <a:pt x="92" y="140"/>
                  </a:cubicBezTo>
                  <a:cubicBezTo>
                    <a:pt x="92" y="140"/>
                    <a:pt x="92" y="147"/>
                    <a:pt x="89" y="152"/>
                  </a:cubicBezTo>
                  <a:cubicBezTo>
                    <a:pt x="89" y="152"/>
                    <a:pt x="89" y="155"/>
                    <a:pt x="89" y="159"/>
                  </a:cubicBezTo>
                  <a:cubicBezTo>
                    <a:pt x="89" y="159"/>
                    <a:pt x="81" y="162"/>
                    <a:pt x="81" y="166"/>
                  </a:cubicBezTo>
                  <a:cubicBezTo>
                    <a:pt x="81" y="166"/>
                    <a:pt x="80" y="172"/>
                    <a:pt x="70" y="172"/>
                  </a:cubicBezTo>
                  <a:cubicBezTo>
                    <a:pt x="70" y="172"/>
                    <a:pt x="67" y="169"/>
                    <a:pt x="58" y="172"/>
                  </a:cubicBezTo>
                  <a:cubicBezTo>
                    <a:pt x="58" y="172"/>
                    <a:pt x="53" y="167"/>
                    <a:pt x="53" y="175"/>
                  </a:cubicBezTo>
                  <a:cubicBezTo>
                    <a:pt x="53" y="175"/>
                    <a:pt x="54" y="181"/>
                    <a:pt x="51" y="179"/>
                  </a:cubicBezTo>
                  <a:cubicBezTo>
                    <a:pt x="51" y="179"/>
                    <a:pt x="49" y="176"/>
                    <a:pt x="44" y="176"/>
                  </a:cubicBezTo>
                  <a:cubicBezTo>
                    <a:pt x="44" y="176"/>
                    <a:pt x="40" y="170"/>
                    <a:pt x="38" y="176"/>
                  </a:cubicBezTo>
                  <a:cubicBezTo>
                    <a:pt x="38" y="176"/>
                    <a:pt x="31" y="176"/>
                    <a:pt x="29" y="180"/>
                  </a:cubicBezTo>
                  <a:cubicBezTo>
                    <a:pt x="29" y="180"/>
                    <a:pt x="26" y="184"/>
                    <a:pt x="22" y="183"/>
                  </a:cubicBezTo>
                  <a:cubicBezTo>
                    <a:pt x="19" y="184"/>
                    <a:pt x="22" y="178"/>
                    <a:pt x="17" y="180"/>
                  </a:cubicBezTo>
                  <a:cubicBezTo>
                    <a:pt x="13" y="173"/>
                    <a:pt x="9" y="173"/>
                    <a:pt x="9" y="173"/>
                  </a:cubicBezTo>
                  <a:cubicBezTo>
                    <a:pt x="7" y="169"/>
                    <a:pt x="10" y="167"/>
                    <a:pt x="10" y="167"/>
                  </a:cubicBezTo>
                  <a:cubicBezTo>
                    <a:pt x="13" y="161"/>
                    <a:pt x="10" y="155"/>
                    <a:pt x="10" y="155"/>
                  </a:cubicBezTo>
                  <a:cubicBezTo>
                    <a:pt x="8" y="153"/>
                    <a:pt x="12" y="147"/>
                    <a:pt x="7" y="147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89" name="Freeform 1178">
              <a:extLst>
                <a:ext uri="{FF2B5EF4-FFF2-40B4-BE49-F238E27FC236}">
                  <a16:creationId xmlns:a16="http://schemas.microsoft.com/office/drawing/2014/main" id="{A3163257-1ED3-C58C-B246-EDEB2448BE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1553" y="3224897"/>
              <a:ext cx="953457" cy="1024041"/>
            </a:xfrm>
            <a:custGeom>
              <a:avLst/>
              <a:gdLst>
                <a:gd name="T0" fmla="*/ 968375 w 135"/>
                <a:gd name="T1" fmla="*/ 1047750 h 145"/>
                <a:gd name="T2" fmla="*/ 920750 w 135"/>
                <a:gd name="T3" fmla="*/ 1087437 h 145"/>
                <a:gd name="T4" fmla="*/ 849312 w 135"/>
                <a:gd name="T5" fmla="*/ 1111250 h 145"/>
                <a:gd name="T6" fmla="*/ 785812 w 135"/>
                <a:gd name="T7" fmla="*/ 1111250 h 145"/>
                <a:gd name="T8" fmla="*/ 690562 w 135"/>
                <a:gd name="T9" fmla="*/ 1087437 h 145"/>
                <a:gd name="T10" fmla="*/ 658812 w 135"/>
                <a:gd name="T11" fmla="*/ 1095375 h 145"/>
                <a:gd name="T12" fmla="*/ 603250 w 135"/>
                <a:gd name="T13" fmla="*/ 1150937 h 145"/>
                <a:gd name="T14" fmla="*/ 523875 w 135"/>
                <a:gd name="T15" fmla="*/ 1055687 h 145"/>
                <a:gd name="T16" fmla="*/ 436562 w 135"/>
                <a:gd name="T17" fmla="*/ 1071562 h 145"/>
                <a:gd name="T18" fmla="*/ 412750 w 135"/>
                <a:gd name="T19" fmla="*/ 1079500 h 145"/>
                <a:gd name="T20" fmla="*/ 412750 w 135"/>
                <a:gd name="T21" fmla="*/ 1047750 h 145"/>
                <a:gd name="T22" fmla="*/ 373062 w 135"/>
                <a:gd name="T23" fmla="*/ 1055687 h 145"/>
                <a:gd name="T24" fmla="*/ 396875 w 135"/>
                <a:gd name="T25" fmla="*/ 1023937 h 145"/>
                <a:gd name="T26" fmla="*/ 373062 w 135"/>
                <a:gd name="T27" fmla="*/ 992187 h 145"/>
                <a:gd name="T28" fmla="*/ 333375 w 135"/>
                <a:gd name="T29" fmla="*/ 1000125 h 145"/>
                <a:gd name="T30" fmla="*/ 277812 w 135"/>
                <a:gd name="T31" fmla="*/ 992187 h 145"/>
                <a:gd name="T32" fmla="*/ 254000 w 135"/>
                <a:gd name="T33" fmla="*/ 944562 h 145"/>
                <a:gd name="T34" fmla="*/ 174625 w 135"/>
                <a:gd name="T35" fmla="*/ 881062 h 145"/>
                <a:gd name="T36" fmla="*/ 103187 w 135"/>
                <a:gd name="T37" fmla="*/ 865187 h 145"/>
                <a:gd name="T38" fmla="*/ 15875 w 135"/>
                <a:gd name="T39" fmla="*/ 873125 h 145"/>
                <a:gd name="T40" fmla="*/ 31750 w 135"/>
                <a:gd name="T41" fmla="*/ 801687 h 145"/>
                <a:gd name="T42" fmla="*/ 0 w 135"/>
                <a:gd name="T43" fmla="*/ 754062 h 145"/>
                <a:gd name="T44" fmla="*/ 7937 w 135"/>
                <a:gd name="T45" fmla="*/ 563562 h 145"/>
                <a:gd name="T46" fmla="*/ 39687 w 135"/>
                <a:gd name="T47" fmla="*/ 468312 h 145"/>
                <a:gd name="T48" fmla="*/ 142875 w 135"/>
                <a:gd name="T49" fmla="*/ 444500 h 145"/>
                <a:gd name="T50" fmla="*/ 206375 w 135"/>
                <a:gd name="T51" fmla="*/ 388937 h 145"/>
                <a:gd name="T52" fmla="*/ 182562 w 135"/>
                <a:gd name="T53" fmla="*/ 277812 h 145"/>
                <a:gd name="T54" fmla="*/ 182562 w 135"/>
                <a:gd name="T55" fmla="*/ 190500 h 145"/>
                <a:gd name="T56" fmla="*/ 198437 w 135"/>
                <a:gd name="T57" fmla="*/ 150812 h 145"/>
                <a:gd name="T58" fmla="*/ 198437 w 135"/>
                <a:gd name="T59" fmla="*/ 103187 h 145"/>
                <a:gd name="T60" fmla="*/ 214312 w 135"/>
                <a:gd name="T61" fmla="*/ 71437 h 145"/>
                <a:gd name="T62" fmla="*/ 333375 w 135"/>
                <a:gd name="T63" fmla="*/ 71437 h 145"/>
                <a:gd name="T64" fmla="*/ 428625 w 135"/>
                <a:gd name="T65" fmla="*/ 71437 h 145"/>
                <a:gd name="T66" fmla="*/ 492125 w 135"/>
                <a:gd name="T67" fmla="*/ 63500 h 145"/>
                <a:gd name="T68" fmla="*/ 563562 w 135"/>
                <a:gd name="T69" fmla="*/ 55562 h 145"/>
                <a:gd name="T70" fmla="*/ 603250 w 135"/>
                <a:gd name="T71" fmla="*/ 23812 h 145"/>
                <a:gd name="T72" fmla="*/ 658812 w 135"/>
                <a:gd name="T73" fmla="*/ 79375 h 145"/>
                <a:gd name="T74" fmla="*/ 658812 w 135"/>
                <a:gd name="T75" fmla="*/ 134937 h 145"/>
                <a:gd name="T76" fmla="*/ 674687 w 135"/>
                <a:gd name="T77" fmla="*/ 198437 h 145"/>
                <a:gd name="T78" fmla="*/ 769937 w 135"/>
                <a:gd name="T79" fmla="*/ 190500 h 145"/>
                <a:gd name="T80" fmla="*/ 849312 w 135"/>
                <a:gd name="T81" fmla="*/ 158750 h 145"/>
                <a:gd name="T82" fmla="*/ 873125 w 135"/>
                <a:gd name="T83" fmla="*/ 222250 h 145"/>
                <a:gd name="T84" fmla="*/ 873125 w 135"/>
                <a:gd name="T85" fmla="*/ 317500 h 145"/>
                <a:gd name="T86" fmla="*/ 865187 w 135"/>
                <a:gd name="T87" fmla="*/ 365125 h 145"/>
                <a:gd name="T88" fmla="*/ 936625 w 135"/>
                <a:gd name="T89" fmla="*/ 428625 h 145"/>
                <a:gd name="T90" fmla="*/ 920750 w 135"/>
                <a:gd name="T91" fmla="*/ 515937 h 145"/>
                <a:gd name="T92" fmla="*/ 920750 w 135"/>
                <a:gd name="T93" fmla="*/ 547687 h 145"/>
                <a:gd name="T94" fmla="*/ 936625 w 135"/>
                <a:gd name="T95" fmla="*/ 611187 h 145"/>
                <a:gd name="T96" fmla="*/ 944562 w 135"/>
                <a:gd name="T97" fmla="*/ 650875 h 145"/>
                <a:gd name="T98" fmla="*/ 976312 w 135"/>
                <a:gd name="T99" fmla="*/ 690562 h 145"/>
                <a:gd name="T100" fmla="*/ 1016000 w 135"/>
                <a:gd name="T101" fmla="*/ 762000 h 145"/>
                <a:gd name="T102" fmla="*/ 1039812 w 135"/>
                <a:gd name="T103" fmla="*/ 809625 h 145"/>
                <a:gd name="T104" fmla="*/ 1055687 w 135"/>
                <a:gd name="T105" fmla="*/ 865187 h 145"/>
                <a:gd name="T106" fmla="*/ 1063625 w 135"/>
                <a:gd name="T107" fmla="*/ 904875 h 145"/>
                <a:gd name="T108" fmla="*/ 1008062 w 135"/>
                <a:gd name="T109" fmla="*/ 920750 h 145"/>
                <a:gd name="T110" fmla="*/ 960437 w 135"/>
                <a:gd name="T111" fmla="*/ 952500 h 145"/>
                <a:gd name="T112" fmla="*/ 968375 w 135"/>
                <a:gd name="T113" fmla="*/ 1047750 h 145"/>
                <a:gd name="T114" fmla="*/ 968375 w 135"/>
                <a:gd name="T115" fmla="*/ 1047750 h 145"/>
                <a:gd name="T116" fmla="*/ 968375 w 135"/>
                <a:gd name="T117" fmla="*/ 1047750 h 14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35"/>
                <a:gd name="T178" fmla="*/ 0 h 145"/>
                <a:gd name="T179" fmla="*/ 135 w 135"/>
                <a:gd name="T180" fmla="*/ 145 h 14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35" h="145">
                  <a:moveTo>
                    <a:pt x="122" y="132"/>
                  </a:moveTo>
                  <a:cubicBezTo>
                    <a:pt x="122" y="132"/>
                    <a:pt x="115" y="132"/>
                    <a:pt x="116" y="137"/>
                  </a:cubicBezTo>
                  <a:cubicBezTo>
                    <a:pt x="116" y="137"/>
                    <a:pt x="116" y="141"/>
                    <a:pt x="107" y="140"/>
                  </a:cubicBezTo>
                  <a:cubicBezTo>
                    <a:pt x="107" y="140"/>
                    <a:pt x="104" y="135"/>
                    <a:pt x="99" y="140"/>
                  </a:cubicBezTo>
                  <a:cubicBezTo>
                    <a:pt x="99" y="140"/>
                    <a:pt x="92" y="141"/>
                    <a:pt x="87" y="137"/>
                  </a:cubicBezTo>
                  <a:cubicBezTo>
                    <a:pt x="87" y="137"/>
                    <a:pt x="84" y="130"/>
                    <a:pt x="83" y="138"/>
                  </a:cubicBezTo>
                  <a:cubicBezTo>
                    <a:pt x="83" y="138"/>
                    <a:pt x="81" y="144"/>
                    <a:pt x="76" y="145"/>
                  </a:cubicBezTo>
                  <a:cubicBezTo>
                    <a:pt x="72" y="144"/>
                    <a:pt x="74" y="133"/>
                    <a:pt x="66" y="133"/>
                  </a:cubicBezTo>
                  <a:cubicBezTo>
                    <a:pt x="66" y="133"/>
                    <a:pt x="58" y="130"/>
                    <a:pt x="55" y="135"/>
                  </a:cubicBezTo>
                  <a:cubicBezTo>
                    <a:pt x="55" y="135"/>
                    <a:pt x="56" y="140"/>
                    <a:pt x="52" y="136"/>
                  </a:cubicBezTo>
                  <a:cubicBezTo>
                    <a:pt x="52" y="136"/>
                    <a:pt x="54" y="133"/>
                    <a:pt x="52" y="132"/>
                  </a:cubicBezTo>
                  <a:cubicBezTo>
                    <a:pt x="52" y="132"/>
                    <a:pt x="50" y="131"/>
                    <a:pt x="47" y="133"/>
                  </a:cubicBezTo>
                  <a:cubicBezTo>
                    <a:pt x="47" y="133"/>
                    <a:pt x="49" y="132"/>
                    <a:pt x="50" y="129"/>
                  </a:cubicBezTo>
                  <a:cubicBezTo>
                    <a:pt x="50" y="129"/>
                    <a:pt x="51" y="124"/>
                    <a:pt x="47" y="125"/>
                  </a:cubicBezTo>
                  <a:cubicBezTo>
                    <a:pt x="47" y="125"/>
                    <a:pt x="43" y="124"/>
                    <a:pt x="42" y="126"/>
                  </a:cubicBezTo>
                  <a:cubicBezTo>
                    <a:pt x="42" y="126"/>
                    <a:pt x="40" y="121"/>
                    <a:pt x="35" y="125"/>
                  </a:cubicBezTo>
                  <a:cubicBezTo>
                    <a:pt x="35" y="125"/>
                    <a:pt x="36" y="118"/>
                    <a:pt x="32" y="119"/>
                  </a:cubicBezTo>
                  <a:cubicBezTo>
                    <a:pt x="25" y="119"/>
                    <a:pt x="25" y="111"/>
                    <a:pt x="22" y="111"/>
                  </a:cubicBezTo>
                  <a:cubicBezTo>
                    <a:pt x="22" y="111"/>
                    <a:pt x="20" y="106"/>
                    <a:pt x="13" y="109"/>
                  </a:cubicBezTo>
                  <a:cubicBezTo>
                    <a:pt x="10" y="106"/>
                    <a:pt x="12" y="112"/>
                    <a:pt x="2" y="110"/>
                  </a:cubicBezTo>
                  <a:cubicBezTo>
                    <a:pt x="7" y="104"/>
                    <a:pt x="4" y="101"/>
                    <a:pt x="4" y="101"/>
                  </a:cubicBezTo>
                  <a:cubicBezTo>
                    <a:pt x="5" y="92"/>
                    <a:pt x="0" y="95"/>
                    <a:pt x="0" y="95"/>
                  </a:cubicBezTo>
                  <a:cubicBezTo>
                    <a:pt x="0" y="95"/>
                    <a:pt x="3" y="88"/>
                    <a:pt x="1" y="71"/>
                  </a:cubicBezTo>
                  <a:cubicBezTo>
                    <a:pt x="0" y="64"/>
                    <a:pt x="7" y="61"/>
                    <a:pt x="5" y="59"/>
                  </a:cubicBezTo>
                  <a:cubicBezTo>
                    <a:pt x="5" y="56"/>
                    <a:pt x="15" y="52"/>
                    <a:pt x="18" y="56"/>
                  </a:cubicBezTo>
                  <a:cubicBezTo>
                    <a:pt x="18" y="56"/>
                    <a:pt x="29" y="62"/>
                    <a:pt x="26" y="49"/>
                  </a:cubicBezTo>
                  <a:cubicBezTo>
                    <a:pt x="26" y="49"/>
                    <a:pt x="27" y="40"/>
                    <a:pt x="23" y="35"/>
                  </a:cubicBezTo>
                  <a:cubicBezTo>
                    <a:pt x="23" y="35"/>
                    <a:pt x="17" y="29"/>
                    <a:pt x="23" y="24"/>
                  </a:cubicBezTo>
                  <a:cubicBezTo>
                    <a:pt x="23" y="24"/>
                    <a:pt x="26" y="22"/>
                    <a:pt x="25" y="19"/>
                  </a:cubicBezTo>
                  <a:cubicBezTo>
                    <a:pt x="25" y="19"/>
                    <a:pt x="20" y="15"/>
                    <a:pt x="25" y="13"/>
                  </a:cubicBezTo>
                  <a:cubicBezTo>
                    <a:pt x="25" y="13"/>
                    <a:pt x="30" y="12"/>
                    <a:pt x="27" y="9"/>
                  </a:cubicBezTo>
                  <a:cubicBezTo>
                    <a:pt x="34" y="7"/>
                    <a:pt x="38" y="12"/>
                    <a:pt x="42" y="9"/>
                  </a:cubicBezTo>
                  <a:cubicBezTo>
                    <a:pt x="51" y="6"/>
                    <a:pt x="53" y="12"/>
                    <a:pt x="54" y="9"/>
                  </a:cubicBezTo>
                  <a:cubicBezTo>
                    <a:pt x="57" y="5"/>
                    <a:pt x="62" y="8"/>
                    <a:pt x="62" y="8"/>
                  </a:cubicBezTo>
                  <a:cubicBezTo>
                    <a:pt x="62" y="8"/>
                    <a:pt x="66" y="10"/>
                    <a:pt x="71" y="7"/>
                  </a:cubicBezTo>
                  <a:cubicBezTo>
                    <a:pt x="71" y="3"/>
                    <a:pt x="73" y="3"/>
                    <a:pt x="76" y="3"/>
                  </a:cubicBezTo>
                  <a:cubicBezTo>
                    <a:pt x="84" y="0"/>
                    <a:pt x="79" y="9"/>
                    <a:pt x="83" y="10"/>
                  </a:cubicBezTo>
                  <a:cubicBezTo>
                    <a:pt x="83" y="10"/>
                    <a:pt x="85" y="15"/>
                    <a:pt x="83" y="17"/>
                  </a:cubicBezTo>
                  <a:cubicBezTo>
                    <a:pt x="83" y="17"/>
                    <a:pt x="80" y="22"/>
                    <a:pt x="85" y="25"/>
                  </a:cubicBezTo>
                  <a:cubicBezTo>
                    <a:pt x="85" y="25"/>
                    <a:pt x="95" y="26"/>
                    <a:pt x="97" y="24"/>
                  </a:cubicBezTo>
                  <a:cubicBezTo>
                    <a:pt x="99" y="20"/>
                    <a:pt x="103" y="23"/>
                    <a:pt x="107" y="20"/>
                  </a:cubicBezTo>
                  <a:cubicBezTo>
                    <a:pt x="111" y="20"/>
                    <a:pt x="108" y="26"/>
                    <a:pt x="110" y="28"/>
                  </a:cubicBezTo>
                  <a:cubicBezTo>
                    <a:pt x="110" y="28"/>
                    <a:pt x="113" y="34"/>
                    <a:pt x="110" y="40"/>
                  </a:cubicBezTo>
                  <a:cubicBezTo>
                    <a:pt x="110" y="40"/>
                    <a:pt x="107" y="42"/>
                    <a:pt x="109" y="46"/>
                  </a:cubicBezTo>
                  <a:cubicBezTo>
                    <a:pt x="109" y="46"/>
                    <a:pt x="114" y="46"/>
                    <a:pt x="118" y="54"/>
                  </a:cubicBezTo>
                  <a:cubicBezTo>
                    <a:pt x="118" y="54"/>
                    <a:pt x="120" y="59"/>
                    <a:pt x="116" y="65"/>
                  </a:cubicBezTo>
                  <a:cubicBezTo>
                    <a:pt x="114" y="64"/>
                    <a:pt x="109" y="69"/>
                    <a:pt x="116" y="69"/>
                  </a:cubicBezTo>
                  <a:cubicBezTo>
                    <a:pt x="116" y="69"/>
                    <a:pt x="113" y="76"/>
                    <a:pt x="118" y="77"/>
                  </a:cubicBezTo>
                  <a:cubicBezTo>
                    <a:pt x="118" y="77"/>
                    <a:pt x="116" y="81"/>
                    <a:pt x="119" y="82"/>
                  </a:cubicBezTo>
                  <a:cubicBezTo>
                    <a:pt x="122" y="81"/>
                    <a:pt x="118" y="86"/>
                    <a:pt x="123" y="87"/>
                  </a:cubicBezTo>
                  <a:cubicBezTo>
                    <a:pt x="128" y="91"/>
                    <a:pt x="124" y="94"/>
                    <a:pt x="128" y="96"/>
                  </a:cubicBezTo>
                  <a:cubicBezTo>
                    <a:pt x="134" y="95"/>
                    <a:pt x="129" y="102"/>
                    <a:pt x="131" y="102"/>
                  </a:cubicBezTo>
                  <a:cubicBezTo>
                    <a:pt x="131" y="102"/>
                    <a:pt x="135" y="103"/>
                    <a:pt x="133" y="109"/>
                  </a:cubicBezTo>
                  <a:cubicBezTo>
                    <a:pt x="133" y="109"/>
                    <a:pt x="127" y="112"/>
                    <a:pt x="134" y="114"/>
                  </a:cubicBezTo>
                  <a:cubicBezTo>
                    <a:pt x="134" y="114"/>
                    <a:pt x="130" y="121"/>
                    <a:pt x="127" y="116"/>
                  </a:cubicBezTo>
                  <a:cubicBezTo>
                    <a:pt x="127" y="116"/>
                    <a:pt x="124" y="113"/>
                    <a:pt x="121" y="120"/>
                  </a:cubicBezTo>
                  <a:cubicBezTo>
                    <a:pt x="121" y="120"/>
                    <a:pt x="117" y="126"/>
                    <a:pt x="122" y="132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90" name="Freeform 1179">
              <a:extLst>
                <a:ext uri="{FF2B5EF4-FFF2-40B4-BE49-F238E27FC236}">
                  <a16:creationId xmlns:a16="http://schemas.microsoft.com/office/drawing/2014/main" id="{E3B4D5AD-2953-0FE1-78E9-F609BA8C0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4857" y="2822343"/>
              <a:ext cx="628575" cy="1165288"/>
            </a:xfrm>
            <a:custGeom>
              <a:avLst/>
              <a:gdLst>
                <a:gd name="T0" fmla="*/ 460375 w 89"/>
                <a:gd name="T1" fmla="*/ 39687 h 165"/>
                <a:gd name="T2" fmla="*/ 476250 w 89"/>
                <a:gd name="T3" fmla="*/ 103187 h 165"/>
                <a:gd name="T4" fmla="*/ 484187 w 89"/>
                <a:gd name="T5" fmla="*/ 150812 h 165"/>
                <a:gd name="T6" fmla="*/ 539750 w 89"/>
                <a:gd name="T7" fmla="*/ 214312 h 165"/>
                <a:gd name="T8" fmla="*/ 595312 w 89"/>
                <a:gd name="T9" fmla="*/ 230187 h 165"/>
                <a:gd name="T10" fmla="*/ 611187 w 89"/>
                <a:gd name="T11" fmla="*/ 301625 h 165"/>
                <a:gd name="T12" fmla="*/ 595312 w 89"/>
                <a:gd name="T13" fmla="*/ 373062 h 165"/>
                <a:gd name="T14" fmla="*/ 571500 w 89"/>
                <a:gd name="T15" fmla="*/ 428625 h 165"/>
                <a:gd name="T16" fmla="*/ 611187 w 89"/>
                <a:gd name="T17" fmla="*/ 500062 h 165"/>
                <a:gd name="T18" fmla="*/ 682625 w 89"/>
                <a:gd name="T19" fmla="*/ 523875 h 165"/>
                <a:gd name="T20" fmla="*/ 666750 w 89"/>
                <a:gd name="T21" fmla="*/ 555625 h 165"/>
                <a:gd name="T22" fmla="*/ 666750 w 89"/>
                <a:gd name="T23" fmla="*/ 603250 h 165"/>
                <a:gd name="T24" fmla="*/ 650875 w 89"/>
                <a:gd name="T25" fmla="*/ 642937 h 165"/>
                <a:gd name="T26" fmla="*/ 650875 w 89"/>
                <a:gd name="T27" fmla="*/ 730250 h 165"/>
                <a:gd name="T28" fmla="*/ 674687 w 89"/>
                <a:gd name="T29" fmla="*/ 841375 h 165"/>
                <a:gd name="T30" fmla="*/ 611187 w 89"/>
                <a:gd name="T31" fmla="*/ 896937 h 165"/>
                <a:gd name="T32" fmla="*/ 508000 w 89"/>
                <a:gd name="T33" fmla="*/ 920750 h 165"/>
                <a:gd name="T34" fmla="*/ 476250 w 89"/>
                <a:gd name="T35" fmla="*/ 1016000 h 165"/>
                <a:gd name="T36" fmla="*/ 468312 w 89"/>
                <a:gd name="T37" fmla="*/ 1198562 h 165"/>
                <a:gd name="T38" fmla="*/ 412750 w 89"/>
                <a:gd name="T39" fmla="*/ 1206500 h 165"/>
                <a:gd name="T40" fmla="*/ 325437 w 89"/>
                <a:gd name="T41" fmla="*/ 1238250 h 165"/>
                <a:gd name="T42" fmla="*/ 269875 w 89"/>
                <a:gd name="T43" fmla="*/ 1230312 h 165"/>
                <a:gd name="T44" fmla="*/ 230187 w 89"/>
                <a:gd name="T45" fmla="*/ 1214437 h 165"/>
                <a:gd name="T46" fmla="*/ 158750 w 89"/>
                <a:gd name="T47" fmla="*/ 1230312 h 165"/>
                <a:gd name="T48" fmla="*/ 158750 w 89"/>
                <a:gd name="T49" fmla="*/ 1277937 h 165"/>
                <a:gd name="T50" fmla="*/ 103187 w 89"/>
                <a:gd name="T51" fmla="*/ 1238250 h 165"/>
                <a:gd name="T52" fmla="*/ 103187 w 89"/>
                <a:gd name="T53" fmla="*/ 1238250 h 165"/>
                <a:gd name="T54" fmla="*/ 47625 w 89"/>
                <a:gd name="T55" fmla="*/ 1238250 h 165"/>
                <a:gd name="T56" fmla="*/ 47625 w 89"/>
                <a:gd name="T57" fmla="*/ 1238250 h 165"/>
                <a:gd name="T58" fmla="*/ 31750 w 89"/>
                <a:gd name="T59" fmla="*/ 1182687 h 165"/>
                <a:gd name="T60" fmla="*/ 7937 w 89"/>
                <a:gd name="T61" fmla="*/ 1055687 h 165"/>
                <a:gd name="T62" fmla="*/ 7937 w 89"/>
                <a:gd name="T63" fmla="*/ 912812 h 165"/>
                <a:gd name="T64" fmla="*/ 23812 w 89"/>
                <a:gd name="T65" fmla="*/ 793750 h 165"/>
                <a:gd name="T66" fmla="*/ 15875 w 89"/>
                <a:gd name="T67" fmla="*/ 674687 h 165"/>
                <a:gd name="T68" fmla="*/ 23812 w 89"/>
                <a:gd name="T69" fmla="*/ 619125 h 165"/>
                <a:gd name="T70" fmla="*/ 39687 w 89"/>
                <a:gd name="T71" fmla="*/ 539750 h 165"/>
                <a:gd name="T72" fmla="*/ 47625 w 89"/>
                <a:gd name="T73" fmla="*/ 500062 h 165"/>
                <a:gd name="T74" fmla="*/ 39687 w 89"/>
                <a:gd name="T75" fmla="*/ 468312 h 165"/>
                <a:gd name="T76" fmla="*/ 55562 w 89"/>
                <a:gd name="T77" fmla="*/ 349250 h 165"/>
                <a:gd name="T78" fmla="*/ 79375 w 89"/>
                <a:gd name="T79" fmla="*/ 246062 h 165"/>
                <a:gd name="T80" fmla="*/ 103187 w 89"/>
                <a:gd name="T81" fmla="*/ 230187 h 165"/>
                <a:gd name="T82" fmla="*/ 142875 w 89"/>
                <a:gd name="T83" fmla="*/ 206375 h 165"/>
                <a:gd name="T84" fmla="*/ 206375 w 89"/>
                <a:gd name="T85" fmla="*/ 166687 h 165"/>
                <a:gd name="T86" fmla="*/ 269875 w 89"/>
                <a:gd name="T87" fmla="*/ 95250 h 165"/>
                <a:gd name="T88" fmla="*/ 341312 w 89"/>
                <a:gd name="T89" fmla="*/ 47625 h 165"/>
                <a:gd name="T90" fmla="*/ 388937 w 89"/>
                <a:gd name="T91" fmla="*/ 31750 h 165"/>
                <a:gd name="T92" fmla="*/ 460375 w 89"/>
                <a:gd name="T93" fmla="*/ 39687 h 165"/>
                <a:gd name="T94" fmla="*/ 460375 w 89"/>
                <a:gd name="T95" fmla="*/ 39687 h 165"/>
                <a:gd name="T96" fmla="*/ 460375 w 89"/>
                <a:gd name="T97" fmla="*/ 39687 h 16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9"/>
                <a:gd name="T148" fmla="*/ 0 h 165"/>
                <a:gd name="T149" fmla="*/ 89 w 89"/>
                <a:gd name="T150" fmla="*/ 165 h 16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9" h="165">
                  <a:moveTo>
                    <a:pt x="58" y="5"/>
                  </a:moveTo>
                  <a:cubicBezTo>
                    <a:pt x="58" y="9"/>
                    <a:pt x="63" y="8"/>
                    <a:pt x="60" y="13"/>
                  </a:cubicBezTo>
                  <a:cubicBezTo>
                    <a:pt x="60" y="13"/>
                    <a:pt x="56" y="16"/>
                    <a:pt x="61" y="19"/>
                  </a:cubicBezTo>
                  <a:cubicBezTo>
                    <a:pt x="66" y="23"/>
                    <a:pt x="66" y="27"/>
                    <a:pt x="68" y="27"/>
                  </a:cubicBezTo>
                  <a:cubicBezTo>
                    <a:pt x="68" y="27"/>
                    <a:pt x="72" y="33"/>
                    <a:pt x="75" y="29"/>
                  </a:cubicBezTo>
                  <a:cubicBezTo>
                    <a:pt x="75" y="29"/>
                    <a:pt x="77" y="30"/>
                    <a:pt x="77" y="38"/>
                  </a:cubicBezTo>
                  <a:cubicBezTo>
                    <a:pt x="74" y="43"/>
                    <a:pt x="80" y="45"/>
                    <a:pt x="75" y="47"/>
                  </a:cubicBezTo>
                  <a:cubicBezTo>
                    <a:pt x="75" y="47"/>
                    <a:pt x="71" y="47"/>
                    <a:pt x="72" y="54"/>
                  </a:cubicBezTo>
                  <a:cubicBezTo>
                    <a:pt x="72" y="54"/>
                    <a:pt x="72" y="58"/>
                    <a:pt x="77" y="63"/>
                  </a:cubicBezTo>
                  <a:cubicBezTo>
                    <a:pt x="77" y="63"/>
                    <a:pt x="84" y="63"/>
                    <a:pt x="86" y="66"/>
                  </a:cubicBezTo>
                  <a:cubicBezTo>
                    <a:pt x="89" y="69"/>
                    <a:pt x="84" y="70"/>
                    <a:pt x="84" y="70"/>
                  </a:cubicBezTo>
                  <a:cubicBezTo>
                    <a:pt x="79" y="72"/>
                    <a:pt x="84" y="76"/>
                    <a:pt x="84" y="76"/>
                  </a:cubicBezTo>
                  <a:cubicBezTo>
                    <a:pt x="85" y="79"/>
                    <a:pt x="82" y="81"/>
                    <a:pt x="82" y="81"/>
                  </a:cubicBezTo>
                  <a:cubicBezTo>
                    <a:pt x="76" y="86"/>
                    <a:pt x="82" y="92"/>
                    <a:pt x="82" y="92"/>
                  </a:cubicBezTo>
                  <a:cubicBezTo>
                    <a:pt x="86" y="97"/>
                    <a:pt x="85" y="106"/>
                    <a:pt x="85" y="106"/>
                  </a:cubicBezTo>
                  <a:cubicBezTo>
                    <a:pt x="88" y="119"/>
                    <a:pt x="77" y="113"/>
                    <a:pt x="77" y="113"/>
                  </a:cubicBezTo>
                  <a:cubicBezTo>
                    <a:pt x="74" y="109"/>
                    <a:pt x="64" y="113"/>
                    <a:pt x="64" y="116"/>
                  </a:cubicBezTo>
                  <a:cubicBezTo>
                    <a:pt x="66" y="118"/>
                    <a:pt x="59" y="121"/>
                    <a:pt x="60" y="128"/>
                  </a:cubicBezTo>
                  <a:cubicBezTo>
                    <a:pt x="62" y="145"/>
                    <a:pt x="59" y="151"/>
                    <a:pt x="59" y="151"/>
                  </a:cubicBezTo>
                  <a:cubicBezTo>
                    <a:pt x="56" y="154"/>
                    <a:pt x="52" y="152"/>
                    <a:pt x="52" y="152"/>
                  </a:cubicBezTo>
                  <a:cubicBezTo>
                    <a:pt x="47" y="157"/>
                    <a:pt x="41" y="156"/>
                    <a:pt x="41" y="156"/>
                  </a:cubicBezTo>
                  <a:cubicBezTo>
                    <a:pt x="39" y="153"/>
                    <a:pt x="34" y="155"/>
                    <a:pt x="34" y="155"/>
                  </a:cubicBezTo>
                  <a:cubicBezTo>
                    <a:pt x="30" y="159"/>
                    <a:pt x="29" y="153"/>
                    <a:pt x="29" y="153"/>
                  </a:cubicBezTo>
                  <a:cubicBezTo>
                    <a:pt x="24" y="153"/>
                    <a:pt x="20" y="155"/>
                    <a:pt x="20" y="155"/>
                  </a:cubicBezTo>
                  <a:cubicBezTo>
                    <a:pt x="23" y="158"/>
                    <a:pt x="20" y="161"/>
                    <a:pt x="20" y="161"/>
                  </a:cubicBezTo>
                  <a:cubicBezTo>
                    <a:pt x="15" y="165"/>
                    <a:pt x="13" y="156"/>
                    <a:pt x="13" y="156"/>
                  </a:cubicBezTo>
                  <a:lnTo>
                    <a:pt x="6" y="156"/>
                  </a:lnTo>
                  <a:cubicBezTo>
                    <a:pt x="7" y="151"/>
                    <a:pt x="4" y="149"/>
                    <a:pt x="4" y="149"/>
                  </a:cubicBezTo>
                  <a:cubicBezTo>
                    <a:pt x="0" y="145"/>
                    <a:pt x="1" y="133"/>
                    <a:pt x="1" y="133"/>
                  </a:cubicBezTo>
                  <a:cubicBezTo>
                    <a:pt x="0" y="126"/>
                    <a:pt x="1" y="115"/>
                    <a:pt x="1" y="115"/>
                  </a:cubicBezTo>
                  <a:cubicBezTo>
                    <a:pt x="4" y="112"/>
                    <a:pt x="0" y="106"/>
                    <a:pt x="3" y="100"/>
                  </a:cubicBezTo>
                  <a:cubicBezTo>
                    <a:pt x="6" y="93"/>
                    <a:pt x="2" y="85"/>
                    <a:pt x="2" y="85"/>
                  </a:cubicBezTo>
                  <a:cubicBezTo>
                    <a:pt x="0" y="80"/>
                    <a:pt x="3" y="78"/>
                    <a:pt x="3" y="78"/>
                  </a:cubicBezTo>
                  <a:cubicBezTo>
                    <a:pt x="3" y="78"/>
                    <a:pt x="5" y="75"/>
                    <a:pt x="5" y="68"/>
                  </a:cubicBezTo>
                  <a:cubicBezTo>
                    <a:pt x="4" y="67"/>
                    <a:pt x="6" y="63"/>
                    <a:pt x="6" y="63"/>
                  </a:cubicBezTo>
                  <a:cubicBezTo>
                    <a:pt x="8" y="60"/>
                    <a:pt x="5" y="59"/>
                    <a:pt x="5" y="59"/>
                  </a:cubicBezTo>
                  <a:cubicBezTo>
                    <a:pt x="1" y="48"/>
                    <a:pt x="7" y="44"/>
                    <a:pt x="7" y="44"/>
                  </a:cubicBezTo>
                  <a:cubicBezTo>
                    <a:pt x="7" y="34"/>
                    <a:pt x="10" y="38"/>
                    <a:pt x="10" y="31"/>
                  </a:cubicBezTo>
                  <a:cubicBezTo>
                    <a:pt x="12" y="31"/>
                    <a:pt x="13" y="29"/>
                    <a:pt x="13" y="29"/>
                  </a:cubicBezTo>
                  <a:cubicBezTo>
                    <a:pt x="16" y="22"/>
                    <a:pt x="18" y="26"/>
                    <a:pt x="18" y="26"/>
                  </a:cubicBezTo>
                  <a:cubicBezTo>
                    <a:pt x="22" y="27"/>
                    <a:pt x="26" y="21"/>
                    <a:pt x="26" y="21"/>
                  </a:cubicBezTo>
                  <a:cubicBezTo>
                    <a:pt x="33" y="16"/>
                    <a:pt x="34" y="12"/>
                    <a:pt x="34" y="12"/>
                  </a:cubicBezTo>
                  <a:cubicBezTo>
                    <a:pt x="38" y="5"/>
                    <a:pt x="43" y="6"/>
                    <a:pt x="43" y="6"/>
                  </a:cubicBezTo>
                  <a:cubicBezTo>
                    <a:pt x="47" y="7"/>
                    <a:pt x="49" y="4"/>
                    <a:pt x="49" y="4"/>
                  </a:cubicBezTo>
                  <a:cubicBezTo>
                    <a:pt x="52" y="0"/>
                    <a:pt x="54" y="6"/>
                    <a:pt x="58" y="5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91" name="Freeform 1180">
              <a:extLst>
                <a:ext uri="{FF2B5EF4-FFF2-40B4-BE49-F238E27FC236}">
                  <a16:creationId xmlns:a16="http://schemas.microsoft.com/office/drawing/2014/main" id="{6D6C9630-4622-2F46-131C-A3CB02641A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6346" y="3818135"/>
              <a:ext cx="974645" cy="494364"/>
            </a:xfrm>
            <a:custGeom>
              <a:avLst/>
              <a:gdLst>
                <a:gd name="T0" fmla="*/ 1031875 w 138"/>
                <a:gd name="T1" fmla="*/ 87313 h 70"/>
                <a:gd name="T2" fmla="*/ 1071563 w 138"/>
                <a:gd name="T3" fmla="*/ 134938 h 70"/>
                <a:gd name="T4" fmla="*/ 1055688 w 138"/>
                <a:gd name="T5" fmla="*/ 206375 h 70"/>
                <a:gd name="T6" fmla="*/ 992188 w 138"/>
                <a:gd name="T7" fmla="*/ 198438 h 70"/>
                <a:gd name="T8" fmla="*/ 928688 w 138"/>
                <a:gd name="T9" fmla="*/ 214313 h 70"/>
                <a:gd name="T10" fmla="*/ 849313 w 138"/>
                <a:gd name="T11" fmla="*/ 222250 h 70"/>
                <a:gd name="T12" fmla="*/ 793750 w 138"/>
                <a:gd name="T13" fmla="*/ 230188 h 70"/>
                <a:gd name="T14" fmla="*/ 762000 w 138"/>
                <a:gd name="T15" fmla="*/ 254000 h 70"/>
                <a:gd name="T16" fmla="*/ 730250 w 138"/>
                <a:gd name="T17" fmla="*/ 285750 h 70"/>
                <a:gd name="T18" fmla="*/ 706438 w 138"/>
                <a:gd name="T19" fmla="*/ 293688 h 70"/>
                <a:gd name="T20" fmla="*/ 603250 w 138"/>
                <a:gd name="T21" fmla="*/ 317500 h 70"/>
                <a:gd name="T22" fmla="*/ 579438 w 138"/>
                <a:gd name="T23" fmla="*/ 381000 h 70"/>
                <a:gd name="T24" fmla="*/ 444500 w 138"/>
                <a:gd name="T25" fmla="*/ 436563 h 70"/>
                <a:gd name="T26" fmla="*/ 444500 w 138"/>
                <a:gd name="T27" fmla="*/ 436563 h 70"/>
                <a:gd name="T28" fmla="*/ 261938 w 138"/>
                <a:gd name="T29" fmla="*/ 452438 h 70"/>
                <a:gd name="T30" fmla="*/ 261938 w 138"/>
                <a:gd name="T31" fmla="*/ 452438 h 70"/>
                <a:gd name="T32" fmla="*/ 119063 w 138"/>
                <a:gd name="T33" fmla="*/ 508000 h 70"/>
                <a:gd name="T34" fmla="*/ 0 w 138"/>
                <a:gd name="T35" fmla="*/ 555625 h 70"/>
                <a:gd name="T36" fmla="*/ 23813 w 138"/>
                <a:gd name="T37" fmla="*/ 460375 h 70"/>
                <a:gd name="T38" fmla="*/ 47625 w 138"/>
                <a:gd name="T39" fmla="*/ 333375 h 70"/>
                <a:gd name="T40" fmla="*/ 119063 w 138"/>
                <a:gd name="T41" fmla="*/ 269875 h 70"/>
                <a:gd name="T42" fmla="*/ 142875 w 138"/>
                <a:gd name="T43" fmla="*/ 254000 h 70"/>
                <a:gd name="T44" fmla="*/ 261938 w 138"/>
                <a:gd name="T45" fmla="*/ 174625 h 70"/>
                <a:gd name="T46" fmla="*/ 317500 w 138"/>
                <a:gd name="T47" fmla="*/ 134938 h 70"/>
                <a:gd name="T48" fmla="*/ 317500 w 138"/>
                <a:gd name="T49" fmla="*/ 79375 h 70"/>
                <a:gd name="T50" fmla="*/ 333375 w 138"/>
                <a:gd name="T51" fmla="*/ 7938 h 70"/>
                <a:gd name="T52" fmla="*/ 365125 w 138"/>
                <a:gd name="T53" fmla="*/ 23813 h 70"/>
                <a:gd name="T54" fmla="*/ 396875 w 138"/>
                <a:gd name="T55" fmla="*/ 31750 h 70"/>
                <a:gd name="T56" fmla="*/ 436563 w 138"/>
                <a:gd name="T57" fmla="*/ 55563 h 70"/>
                <a:gd name="T58" fmla="*/ 468313 w 138"/>
                <a:gd name="T59" fmla="*/ 63500 h 70"/>
                <a:gd name="T60" fmla="*/ 523875 w 138"/>
                <a:gd name="T61" fmla="*/ 87313 h 70"/>
                <a:gd name="T62" fmla="*/ 571500 w 138"/>
                <a:gd name="T63" fmla="*/ 111125 h 70"/>
                <a:gd name="T64" fmla="*/ 619125 w 138"/>
                <a:gd name="T65" fmla="*/ 119063 h 70"/>
                <a:gd name="T66" fmla="*/ 619125 w 138"/>
                <a:gd name="T67" fmla="*/ 119063 h 70"/>
                <a:gd name="T68" fmla="*/ 674688 w 138"/>
                <a:gd name="T69" fmla="*/ 119063 h 70"/>
                <a:gd name="T70" fmla="*/ 674688 w 138"/>
                <a:gd name="T71" fmla="*/ 119063 h 70"/>
                <a:gd name="T72" fmla="*/ 730250 w 138"/>
                <a:gd name="T73" fmla="*/ 158750 h 70"/>
                <a:gd name="T74" fmla="*/ 730250 w 138"/>
                <a:gd name="T75" fmla="*/ 111125 h 70"/>
                <a:gd name="T76" fmla="*/ 801688 w 138"/>
                <a:gd name="T77" fmla="*/ 95250 h 70"/>
                <a:gd name="T78" fmla="*/ 841375 w 138"/>
                <a:gd name="T79" fmla="*/ 111125 h 70"/>
                <a:gd name="T80" fmla="*/ 896938 w 138"/>
                <a:gd name="T81" fmla="*/ 119063 h 70"/>
                <a:gd name="T82" fmla="*/ 984250 w 138"/>
                <a:gd name="T83" fmla="*/ 87313 h 70"/>
                <a:gd name="T84" fmla="*/ 1031875 w 138"/>
                <a:gd name="T85" fmla="*/ 87313 h 70"/>
                <a:gd name="T86" fmla="*/ 1031875 w 138"/>
                <a:gd name="T87" fmla="*/ 87313 h 70"/>
                <a:gd name="T88" fmla="*/ 1031875 w 138"/>
                <a:gd name="T89" fmla="*/ 87313 h 7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38"/>
                <a:gd name="T136" fmla="*/ 0 h 70"/>
                <a:gd name="T137" fmla="*/ 138 w 138"/>
                <a:gd name="T138" fmla="*/ 70 h 7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38" h="70">
                  <a:moveTo>
                    <a:pt x="130" y="11"/>
                  </a:moveTo>
                  <a:cubicBezTo>
                    <a:pt x="130" y="11"/>
                    <a:pt x="136" y="8"/>
                    <a:pt x="135" y="17"/>
                  </a:cubicBezTo>
                  <a:cubicBezTo>
                    <a:pt x="135" y="17"/>
                    <a:pt x="138" y="20"/>
                    <a:pt x="133" y="26"/>
                  </a:cubicBezTo>
                  <a:cubicBezTo>
                    <a:pt x="133" y="26"/>
                    <a:pt x="132" y="21"/>
                    <a:pt x="125" y="25"/>
                  </a:cubicBezTo>
                  <a:cubicBezTo>
                    <a:pt x="125" y="25"/>
                    <a:pt x="123" y="31"/>
                    <a:pt x="117" y="27"/>
                  </a:cubicBezTo>
                  <a:cubicBezTo>
                    <a:pt x="113" y="23"/>
                    <a:pt x="108" y="31"/>
                    <a:pt x="107" y="28"/>
                  </a:cubicBezTo>
                  <a:cubicBezTo>
                    <a:pt x="107" y="28"/>
                    <a:pt x="100" y="24"/>
                    <a:pt x="100" y="29"/>
                  </a:cubicBezTo>
                  <a:cubicBezTo>
                    <a:pt x="100" y="29"/>
                    <a:pt x="99" y="34"/>
                    <a:pt x="96" y="32"/>
                  </a:cubicBezTo>
                  <a:cubicBezTo>
                    <a:pt x="96" y="32"/>
                    <a:pt x="96" y="27"/>
                    <a:pt x="92" y="36"/>
                  </a:cubicBezTo>
                  <a:cubicBezTo>
                    <a:pt x="92" y="36"/>
                    <a:pt x="92" y="34"/>
                    <a:pt x="89" y="37"/>
                  </a:cubicBezTo>
                  <a:cubicBezTo>
                    <a:pt x="89" y="37"/>
                    <a:pt x="83" y="37"/>
                    <a:pt x="76" y="40"/>
                  </a:cubicBezTo>
                  <a:cubicBezTo>
                    <a:pt x="76" y="40"/>
                    <a:pt x="76" y="43"/>
                    <a:pt x="73" y="48"/>
                  </a:cubicBezTo>
                  <a:cubicBezTo>
                    <a:pt x="67" y="56"/>
                    <a:pt x="67" y="54"/>
                    <a:pt x="56" y="55"/>
                  </a:cubicBezTo>
                  <a:lnTo>
                    <a:pt x="33" y="57"/>
                  </a:lnTo>
                  <a:cubicBezTo>
                    <a:pt x="33" y="57"/>
                    <a:pt x="20" y="53"/>
                    <a:pt x="15" y="64"/>
                  </a:cubicBezTo>
                  <a:cubicBezTo>
                    <a:pt x="15" y="64"/>
                    <a:pt x="12" y="70"/>
                    <a:pt x="0" y="70"/>
                  </a:cubicBezTo>
                  <a:cubicBezTo>
                    <a:pt x="6" y="62"/>
                    <a:pt x="3" y="58"/>
                    <a:pt x="3" y="58"/>
                  </a:cubicBezTo>
                  <a:cubicBezTo>
                    <a:pt x="0" y="49"/>
                    <a:pt x="6" y="42"/>
                    <a:pt x="6" y="42"/>
                  </a:cubicBezTo>
                  <a:cubicBezTo>
                    <a:pt x="13" y="40"/>
                    <a:pt x="15" y="34"/>
                    <a:pt x="15" y="34"/>
                  </a:cubicBezTo>
                  <a:cubicBezTo>
                    <a:pt x="16" y="35"/>
                    <a:pt x="18" y="32"/>
                    <a:pt x="18" y="32"/>
                  </a:cubicBezTo>
                  <a:cubicBezTo>
                    <a:pt x="26" y="20"/>
                    <a:pt x="33" y="22"/>
                    <a:pt x="33" y="22"/>
                  </a:cubicBezTo>
                  <a:cubicBezTo>
                    <a:pt x="41" y="23"/>
                    <a:pt x="40" y="17"/>
                    <a:pt x="40" y="17"/>
                  </a:cubicBezTo>
                  <a:cubicBezTo>
                    <a:pt x="41" y="12"/>
                    <a:pt x="40" y="10"/>
                    <a:pt x="40" y="10"/>
                  </a:cubicBezTo>
                  <a:cubicBezTo>
                    <a:pt x="37" y="3"/>
                    <a:pt x="42" y="1"/>
                    <a:pt x="42" y="1"/>
                  </a:cubicBezTo>
                  <a:cubicBezTo>
                    <a:pt x="42" y="1"/>
                    <a:pt x="46" y="1"/>
                    <a:pt x="46" y="3"/>
                  </a:cubicBezTo>
                  <a:cubicBezTo>
                    <a:pt x="46" y="3"/>
                    <a:pt x="47" y="7"/>
                    <a:pt x="50" y="4"/>
                  </a:cubicBezTo>
                  <a:cubicBezTo>
                    <a:pt x="50" y="4"/>
                    <a:pt x="53" y="0"/>
                    <a:pt x="55" y="7"/>
                  </a:cubicBezTo>
                  <a:cubicBezTo>
                    <a:pt x="55" y="7"/>
                    <a:pt x="52" y="15"/>
                    <a:pt x="59" y="8"/>
                  </a:cubicBezTo>
                  <a:cubicBezTo>
                    <a:pt x="59" y="8"/>
                    <a:pt x="64" y="3"/>
                    <a:pt x="66" y="11"/>
                  </a:cubicBezTo>
                  <a:cubicBezTo>
                    <a:pt x="66" y="11"/>
                    <a:pt x="67" y="15"/>
                    <a:pt x="72" y="14"/>
                  </a:cubicBezTo>
                  <a:cubicBezTo>
                    <a:pt x="72" y="14"/>
                    <a:pt x="75" y="14"/>
                    <a:pt x="78" y="15"/>
                  </a:cubicBezTo>
                  <a:lnTo>
                    <a:pt x="85" y="15"/>
                  </a:lnTo>
                  <a:cubicBezTo>
                    <a:pt x="85" y="15"/>
                    <a:pt x="87" y="24"/>
                    <a:pt x="92" y="20"/>
                  </a:cubicBezTo>
                  <a:cubicBezTo>
                    <a:pt x="92" y="20"/>
                    <a:pt x="95" y="17"/>
                    <a:pt x="92" y="14"/>
                  </a:cubicBezTo>
                  <a:cubicBezTo>
                    <a:pt x="92" y="14"/>
                    <a:pt x="96" y="12"/>
                    <a:pt x="101" y="12"/>
                  </a:cubicBezTo>
                  <a:cubicBezTo>
                    <a:pt x="101" y="12"/>
                    <a:pt x="102" y="18"/>
                    <a:pt x="106" y="14"/>
                  </a:cubicBezTo>
                  <a:cubicBezTo>
                    <a:pt x="106" y="14"/>
                    <a:pt x="111" y="12"/>
                    <a:pt x="113" y="15"/>
                  </a:cubicBezTo>
                  <a:cubicBezTo>
                    <a:pt x="113" y="15"/>
                    <a:pt x="119" y="16"/>
                    <a:pt x="124" y="11"/>
                  </a:cubicBezTo>
                  <a:cubicBezTo>
                    <a:pt x="124" y="11"/>
                    <a:pt x="128" y="13"/>
                    <a:pt x="130" y="11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92" name="Freeform 1181">
              <a:extLst>
                <a:ext uri="{FF2B5EF4-FFF2-40B4-BE49-F238E27FC236}">
                  <a16:creationId xmlns:a16="http://schemas.microsoft.com/office/drawing/2014/main" id="{56ABF4C5-81E8-5FD8-E78D-69F8DAE2C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889" y="3477244"/>
              <a:ext cx="882831" cy="713298"/>
            </a:xfrm>
            <a:custGeom>
              <a:avLst/>
              <a:gdLst>
                <a:gd name="T0" fmla="*/ 579437 w 125"/>
                <a:gd name="T1" fmla="*/ 285750 h 101"/>
                <a:gd name="T2" fmla="*/ 523875 w 125"/>
                <a:gd name="T3" fmla="*/ 277812 h 101"/>
                <a:gd name="T4" fmla="*/ 523875 w 125"/>
                <a:gd name="T5" fmla="*/ 277812 h 101"/>
                <a:gd name="T6" fmla="*/ 476250 w 125"/>
                <a:gd name="T7" fmla="*/ 246062 h 101"/>
                <a:gd name="T8" fmla="*/ 428625 w 125"/>
                <a:gd name="T9" fmla="*/ 214312 h 101"/>
                <a:gd name="T10" fmla="*/ 388937 w 125"/>
                <a:gd name="T11" fmla="*/ 182562 h 101"/>
                <a:gd name="T12" fmla="*/ 349250 w 125"/>
                <a:gd name="T13" fmla="*/ 150812 h 101"/>
                <a:gd name="T14" fmla="*/ 333375 w 125"/>
                <a:gd name="T15" fmla="*/ 55562 h 101"/>
                <a:gd name="T16" fmla="*/ 333375 w 125"/>
                <a:gd name="T17" fmla="*/ 55562 h 101"/>
                <a:gd name="T18" fmla="*/ 269875 w 125"/>
                <a:gd name="T19" fmla="*/ 39687 h 101"/>
                <a:gd name="T20" fmla="*/ 269875 w 125"/>
                <a:gd name="T21" fmla="*/ 39687 h 101"/>
                <a:gd name="T22" fmla="*/ 214312 w 125"/>
                <a:gd name="T23" fmla="*/ 15875 h 101"/>
                <a:gd name="T24" fmla="*/ 206375 w 125"/>
                <a:gd name="T25" fmla="*/ 39687 h 101"/>
                <a:gd name="T26" fmla="*/ 150812 w 125"/>
                <a:gd name="T27" fmla="*/ 103187 h 101"/>
                <a:gd name="T28" fmla="*/ 119062 w 125"/>
                <a:gd name="T29" fmla="*/ 182562 h 101"/>
                <a:gd name="T30" fmla="*/ 23812 w 125"/>
                <a:gd name="T31" fmla="*/ 285750 h 101"/>
                <a:gd name="T32" fmla="*/ 0 w 125"/>
                <a:gd name="T33" fmla="*/ 396875 h 101"/>
                <a:gd name="T34" fmla="*/ 47625 w 125"/>
                <a:gd name="T35" fmla="*/ 436562 h 101"/>
                <a:gd name="T36" fmla="*/ 71437 w 125"/>
                <a:gd name="T37" fmla="*/ 476250 h 101"/>
                <a:gd name="T38" fmla="*/ 103187 w 125"/>
                <a:gd name="T39" fmla="*/ 508000 h 101"/>
                <a:gd name="T40" fmla="*/ 158750 w 125"/>
                <a:gd name="T41" fmla="*/ 563562 h 101"/>
                <a:gd name="T42" fmla="*/ 206375 w 125"/>
                <a:gd name="T43" fmla="*/ 611187 h 101"/>
                <a:gd name="T44" fmla="*/ 254000 w 125"/>
                <a:gd name="T45" fmla="*/ 658812 h 101"/>
                <a:gd name="T46" fmla="*/ 254000 w 125"/>
                <a:gd name="T47" fmla="*/ 714375 h 101"/>
                <a:gd name="T48" fmla="*/ 349250 w 125"/>
                <a:gd name="T49" fmla="*/ 682625 h 101"/>
                <a:gd name="T50" fmla="*/ 436562 w 125"/>
                <a:gd name="T51" fmla="*/ 658812 h 101"/>
                <a:gd name="T52" fmla="*/ 523875 w 125"/>
                <a:gd name="T53" fmla="*/ 706437 h 101"/>
                <a:gd name="T54" fmla="*/ 603250 w 125"/>
                <a:gd name="T55" fmla="*/ 730250 h 101"/>
                <a:gd name="T56" fmla="*/ 706437 w 125"/>
                <a:gd name="T57" fmla="*/ 762000 h 101"/>
                <a:gd name="T58" fmla="*/ 841375 w 125"/>
                <a:gd name="T59" fmla="*/ 785812 h 101"/>
                <a:gd name="T60" fmla="*/ 952500 w 125"/>
                <a:gd name="T61" fmla="*/ 785812 h 101"/>
                <a:gd name="T62" fmla="*/ 952500 w 125"/>
                <a:gd name="T63" fmla="*/ 690562 h 101"/>
                <a:gd name="T64" fmla="*/ 936625 w 125"/>
                <a:gd name="T65" fmla="*/ 627062 h 101"/>
                <a:gd name="T66" fmla="*/ 881062 w 125"/>
                <a:gd name="T67" fmla="*/ 555625 h 101"/>
                <a:gd name="T68" fmla="*/ 841375 w 125"/>
                <a:gd name="T69" fmla="*/ 539750 h 101"/>
                <a:gd name="T70" fmla="*/ 785812 w 125"/>
                <a:gd name="T71" fmla="*/ 500062 h 101"/>
                <a:gd name="T72" fmla="*/ 777875 w 125"/>
                <a:gd name="T73" fmla="*/ 428625 h 101"/>
                <a:gd name="T74" fmla="*/ 730250 w 125"/>
                <a:gd name="T75" fmla="*/ 452437 h 101"/>
                <a:gd name="T76" fmla="*/ 706437 w 125"/>
                <a:gd name="T77" fmla="*/ 420687 h 101"/>
                <a:gd name="T78" fmla="*/ 682625 w 125"/>
                <a:gd name="T79" fmla="*/ 396875 h 101"/>
                <a:gd name="T80" fmla="*/ 619125 w 125"/>
                <a:gd name="T81" fmla="*/ 341312 h 101"/>
                <a:gd name="T82" fmla="*/ 579437 w 125"/>
                <a:gd name="T83" fmla="*/ 285750 h 101"/>
                <a:gd name="T84" fmla="*/ 579437 w 125"/>
                <a:gd name="T85" fmla="*/ 285750 h 101"/>
                <a:gd name="T86" fmla="*/ 579437 w 125"/>
                <a:gd name="T87" fmla="*/ 285750 h 10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25"/>
                <a:gd name="T133" fmla="*/ 0 h 101"/>
                <a:gd name="T134" fmla="*/ 125 w 125"/>
                <a:gd name="T135" fmla="*/ 101 h 101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25" h="101">
                  <a:moveTo>
                    <a:pt x="73" y="36"/>
                  </a:moveTo>
                  <a:lnTo>
                    <a:pt x="66" y="35"/>
                  </a:lnTo>
                  <a:cubicBezTo>
                    <a:pt x="66" y="35"/>
                    <a:pt x="65" y="31"/>
                    <a:pt x="60" y="31"/>
                  </a:cubicBezTo>
                  <a:cubicBezTo>
                    <a:pt x="60" y="31"/>
                    <a:pt x="55" y="32"/>
                    <a:pt x="54" y="27"/>
                  </a:cubicBezTo>
                  <a:cubicBezTo>
                    <a:pt x="54" y="27"/>
                    <a:pt x="54" y="20"/>
                    <a:pt x="49" y="23"/>
                  </a:cubicBezTo>
                  <a:cubicBezTo>
                    <a:pt x="49" y="23"/>
                    <a:pt x="44" y="22"/>
                    <a:pt x="44" y="19"/>
                  </a:cubicBezTo>
                  <a:cubicBezTo>
                    <a:pt x="44" y="19"/>
                    <a:pt x="41" y="18"/>
                    <a:pt x="42" y="7"/>
                  </a:cubicBezTo>
                  <a:lnTo>
                    <a:pt x="34" y="5"/>
                  </a:lnTo>
                  <a:cubicBezTo>
                    <a:pt x="30" y="0"/>
                    <a:pt x="28" y="0"/>
                    <a:pt x="27" y="2"/>
                  </a:cubicBezTo>
                  <a:cubicBezTo>
                    <a:pt x="26" y="3"/>
                    <a:pt x="26" y="5"/>
                    <a:pt x="26" y="5"/>
                  </a:cubicBezTo>
                  <a:cubicBezTo>
                    <a:pt x="19" y="8"/>
                    <a:pt x="19" y="13"/>
                    <a:pt x="19" y="13"/>
                  </a:cubicBezTo>
                  <a:cubicBezTo>
                    <a:pt x="15" y="17"/>
                    <a:pt x="15" y="23"/>
                    <a:pt x="15" y="23"/>
                  </a:cubicBezTo>
                  <a:cubicBezTo>
                    <a:pt x="15" y="23"/>
                    <a:pt x="12" y="32"/>
                    <a:pt x="3" y="36"/>
                  </a:cubicBezTo>
                  <a:cubicBezTo>
                    <a:pt x="0" y="41"/>
                    <a:pt x="0" y="50"/>
                    <a:pt x="0" y="50"/>
                  </a:cubicBezTo>
                  <a:cubicBezTo>
                    <a:pt x="7" y="48"/>
                    <a:pt x="6" y="55"/>
                    <a:pt x="6" y="55"/>
                  </a:cubicBezTo>
                  <a:cubicBezTo>
                    <a:pt x="10" y="56"/>
                    <a:pt x="9" y="60"/>
                    <a:pt x="9" y="60"/>
                  </a:cubicBezTo>
                  <a:cubicBezTo>
                    <a:pt x="8" y="65"/>
                    <a:pt x="13" y="64"/>
                    <a:pt x="13" y="64"/>
                  </a:cubicBezTo>
                  <a:cubicBezTo>
                    <a:pt x="19" y="63"/>
                    <a:pt x="15" y="69"/>
                    <a:pt x="20" y="71"/>
                  </a:cubicBezTo>
                  <a:cubicBezTo>
                    <a:pt x="19" y="80"/>
                    <a:pt x="26" y="77"/>
                    <a:pt x="26" y="77"/>
                  </a:cubicBezTo>
                  <a:cubicBezTo>
                    <a:pt x="32" y="74"/>
                    <a:pt x="35" y="83"/>
                    <a:pt x="32" y="83"/>
                  </a:cubicBezTo>
                  <a:cubicBezTo>
                    <a:pt x="31" y="89"/>
                    <a:pt x="32" y="90"/>
                    <a:pt x="32" y="90"/>
                  </a:cubicBezTo>
                  <a:cubicBezTo>
                    <a:pt x="37" y="90"/>
                    <a:pt x="36" y="83"/>
                    <a:pt x="44" y="86"/>
                  </a:cubicBezTo>
                  <a:cubicBezTo>
                    <a:pt x="48" y="74"/>
                    <a:pt x="55" y="83"/>
                    <a:pt x="55" y="83"/>
                  </a:cubicBezTo>
                  <a:cubicBezTo>
                    <a:pt x="59" y="91"/>
                    <a:pt x="66" y="89"/>
                    <a:pt x="66" y="89"/>
                  </a:cubicBezTo>
                  <a:cubicBezTo>
                    <a:pt x="70" y="87"/>
                    <a:pt x="76" y="92"/>
                    <a:pt x="76" y="92"/>
                  </a:cubicBezTo>
                  <a:cubicBezTo>
                    <a:pt x="80" y="91"/>
                    <a:pt x="83" y="97"/>
                    <a:pt x="89" y="96"/>
                  </a:cubicBezTo>
                  <a:cubicBezTo>
                    <a:pt x="93" y="95"/>
                    <a:pt x="98" y="101"/>
                    <a:pt x="106" y="99"/>
                  </a:cubicBezTo>
                  <a:cubicBezTo>
                    <a:pt x="113" y="97"/>
                    <a:pt x="117" y="97"/>
                    <a:pt x="120" y="99"/>
                  </a:cubicBezTo>
                  <a:cubicBezTo>
                    <a:pt x="125" y="90"/>
                    <a:pt x="120" y="87"/>
                    <a:pt x="120" y="87"/>
                  </a:cubicBezTo>
                  <a:cubicBezTo>
                    <a:pt x="116" y="85"/>
                    <a:pt x="121" y="81"/>
                    <a:pt x="118" y="79"/>
                  </a:cubicBezTo>
                  <a:cubicBezTo>
                    <a:pt x="115" y="71"/>
                    <a:pt x="111" y="70"/>
                    <a:pt x="111" y="70"/>
                  </a:cubicBezTo>
                  <a:cubicBezTo>
                    <a:pt x="108" y="63"/>
                    <a:pt x="106" y="68"/>
                    <a:pt x="106" y="68"/>
                  </a:cubicBezTo>
                  <a:cubicBezTo>
                    <a:pt x="95" y="70"/>
                    <a:pt x="99" y="63"/>
                    <a:pt x="99" y="63"/>
                  </a:cubicBezTo>
                  <a:cubicBezTo>
                    <a:pt x="101" y="51"/>
                    <a:pt x="98" y="54"/>
                    <a:pt x="98" y="54"/>
                  </a:cubicBezTo>
                  <a:cubicBezTo>
                    <a:pt x="93" y="54"/>
                    <a:pt x="92" y="57"/>
                    <a:pt x="92" y="57"/>
                  </a:cubicBezTo>
                  <a:cubicBezTo>
                    <a:pt x="86" y="58"/>
                    <a:pt x="89" y="53"/>
                    <a:pt x="89" y="53"/>
                  </a:cubicBezTo>
                  <a:cubicBezTo>
                    <a:pt x="89" y="50"/>
                    <a:pt x="86" y="50"/>
                    <a:pt x="86" y="50"/>
                  </a:cubicBezTo>
                  <a:cubicBezTo>
                    <a:pt x="82" y="49"/>
                    <a:pt x="85" y="42"/>
                    <a:pt x="78" y="43"/>
                  </a:cubicBezTo>
                  <a:cubicBezTo>
                    <a:pt x="78" y="39"/>
                    <a:pt x="73" y="36"/>
                    <a:pt x="73" y="36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93" name="Freeform 1190">
              <a:extLst>
                <a:ext uri="{FF2B5EF4-FFF2-40B4-BE49-F238E27FC236}">
                  <a16:creationId xmlns:a16="http://schemas.microsoft.com/office/drawing/2014/main" id="{FFCD8605-9EDE-F6E4-3ED4-23395DFFA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0472" y="2970653"/>
              <a:ext cx="565013" cy="953419"/>
            </a:xfrm>
            <a:custGeom>
              <a:avLst/>
              <a:gdLst>
                <a:gd name="T0" fmla="*/ 317500 w 80"/>
                <a:gd name="T1" fmla="*/ 968375 h 135"/>
                <a:gd name="T2" fmla="*/ 349250 w 80"/>
                <a:gd name="T3" fmla="*/ 976312 h 135"/>
                <a:gd name="T4" fmla="*/ 381000 w 80"/>
                <a:gd name="T5" fmla="*/ 984250 h 135"/>
                <a:gd name="T6" fmla="*/ 420688 w 80"/>
                <a:gd name="T7" fmla="*/ 1008062 h 135"/>
                <a:gd name="T8" fmla="*/ 452438 w 80"/>
                <a:gd name="T9" fmla="*/ 1016000 h 135"/>
                <a:gd name="T10" fmla="*/ 508000 w 80"/>
                <a:gd name="T11" fmla="*/ 1039812 h 135"/>
                <a:gd name="T12" fmla="*/ 555625 w 80"/>
                <a:gd name="T13" fmla="*/ 1063625 h 135"/>
                <a:gd name="T14" fmla="*/ 603250 w 80"/>
                <a:gd name="T15" fmla="*/ 1071562 h 135"/>
                <a:gd name="T16" fmla="*/ 587375 w 80"/>
                <a:gd name="T17" fmla="*/ 1016000 h 135"/>
                <a:gd name="T18" fmla="*/ 563563 w 80"/>
                <a:gd name="T19" fmla="*/ 889000 h 135"/>
                <a:gd name="T20" fmla="*/ 563563 w 80"/>
                <a:gd name="T21" fmla="*/ 746125 h 135"/>
                <a:gd name="T22" fmla="*/ 579438 w 80"/>
                <a:gd name="T23" fmla="*/ 627062 h 135"/>
                <a:gd name="T24" fmla="*/ 571500 w 80"/>
                <a:gd name="T25" fmla="*/ 508000 h 135"/>
                <a:gd name="T26" fmla="*/ 579438 w 80"/>
                <a:gd name="T27" fmla="*/ 452437 h 135"/>
                <a:gd name="T28" fmla="*/ 595313 w 80"/>
                <a:gd name="T29" fmla="*/ 373062 h 135"/>
                <a:gd name="T30" fmla="*/ 603250 w 80"/>
                <a:gd name="T31" fmla="*/ 333375 h 135"/>
                <a:gd name="T32" fmla="*/ 595313 w 80"/>
                <a:gd name="T33" fmla="*/ 301625 h 135"/>
                <a:gd name="T34" fmla="*/ 611188 w 80"/>
                <a:gd name="T35" fmla="*/ 182562 h 135"/>
                <a:gd name="T36" fmla="*/ 635000 w 80"/>
                <a:gd name="T37" fmla="*/ 79375 h 135"/>
                <a:gd name="T38" fmla="*/ 595313 w 80"/>
                <a:gd name="T39" fmla="*/ 31750 h 135"/>
                <a:gd name="T40" fmla="*/ 531813 w 80"/>
                <a:gd name="T41" fmla="*/ 15875 h 135"/>
                <a:gd name="T42" fmla="*/ 484188 w 80"/>
                <a:gd name="T43" fmla="*/ 39687 h 135"/>
                <a:gd name="T44" fmla="*/ 404813 w 80"/>
                <a:gd name="T45" fmla="*/ 63500 h 135"/>
                <a:gd name="T46" fmla="*/ 317500 w 80"/>
                <a:gd name="T47" fmla="*/ 79375 h 135"/>
                <a:gd name="T48" fmla="*/ 277813 w 80"/>
                <a:gd name="T49" fmla="*/ 150812 h 135"/>
                <a:gd name="T50" fmla="*/ 277813 w 80"/>
                <a:gd name="T51" fmla="*/ 214312 h 135"/>
                <a:gd name="T52" fmla="*/ 230188 w 80"/>
                <a:gd name="T53" fmla="*/ 246062 h 135"/>
                <a:gd name="T54" fmla="*/ 150813 w 80"/>
                <a:gd name="T55" fmla="*/ 285750 h 135"/>
                <a:gd name="T56" fmla="*/ 127000 w 80"/>
                <a:gd name="T57" fmla="*/ 309562 h 135"/>
                <a:gd name="T58" fmla="*/ 79375 w 80"/>
                <a:gd name="T59" fmla="*/ 373062 h 135"/>
                <a:gd name="T60" fmla="*/ 7938 w 80"/>
                <a:gd name="T61" fmla="*/ 404812 h 135"/>
                <a:gd name="T62" fmla="*/ 0 w 80"/>
                <a:gd name="T63" fmla="*/ 436562 h 135"/>
                <a:gd name="T64" fmla="*/ 31750 w 80"/>
                <a:gd name="T65" fmla="*/ 571500 h 135"/>
                <a:gd name="T66" fmla="*/ 39688 w 80"/>
                <a:gd name="T67" fmla="*/ 619125 h 135"/>
                <a:gd name="T68" fmla="*/ 23813 w 80"/>
                <a:gd name="T69" fmla="*/ 666750 h 135"/>
                <a:gd name="T70" fmla="*/ 79375 w 80"/>
                <a:gd name="T71" fmla="*/ 690562 h 135"/>
                <a:gd name="T72" fmla="*/ 47625 w 80"/>
                <a:gd name="T73" fmla="*/ 714375 h 135"/>
                <a:gd name="T74" fmla="*/ 95250 w 80"/>
                <a:gd name="T75" fmla="*/ 769937 h 135"/>
                <a:gd name="T76" fmla="*/ 119063 w 80"/>
                <a:gd name="T77" fmla="*/ 793750 h 135"/>
                <a:gd name="T78" fmla="*/ 150813 w 80"/>
                <a:gd name="T79" fmla="*/ 817562 h 135"/>
                <a:gd name="T80" fmla="*/ 174625 w 80"/>
                <a:gd name="T81" fmla="*/ 849312 h 135"/>
                <a:gd name="T82" fmla="*/ 222250 w 80"/>
                <a:gd name="T83" fmla="*/ 849312 h 135"/>
                <a:gd name="T84" fmla="*/ 269875 w 80"/>
                <a:gd name="T85" fmla="*/ 881062 h 135"/>
                <a:gd name="T86" fmla="*/ 317500 w 80"/>
                <a:gd name="T87" fmla="*/ 968375 h 135"/>
                <a:gd name="T88" fmla="*/ 317500 w 80"/>
                <a:gd name="T89" fmla="*/ 968375 h 135"/>
                <a:gd name="T90" fmla="*/ 317500 w 80"/>
                <a:gd name="T91" fmla="*/ 968375 h 13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0"/>
                <a:gd name="T139" fmla="*/ 0 h 135"/>
                <a:gd name="T140" fmla="*/ 80 w 80"/>
                <a:gd name="T141" fmla="*/ 135 h 13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0" h="135">
                  <a:moveTo>
                    <a:pt x="40" y="122"/>
                  </a:moveTo>
                  <a:cubicBezTo>
                    <a:pt x="40" y="122"/>
                    <a:pt x="44" y="121"/>
                    <a:pt x="44" y="123"/>
                  </a:cubicBezTo>
                  <a:cubicBezTo>
                    <a:pt x="44" y="123"/>
                    <a:pt x="45" y="127"/>
                    <a:pt x="48" y="124"/>
                  </a:cubicBezTo>
                  <a:cubicBezTo>
                    <a:pt x="48" y="124"/>
                    <a:pt x="51" y="120"/>
                    <a:pt x="53" y="127"/>
                  </a:cubicBezTo>
                  <a:cubicBezTo>
                    <a:pt x="53" y="127"/>
                    <a:pt x="50" y="135"/>
                    <a:pt x="57" y="128"/>
                  </a:cubicBezTo>
                  <a:cubicBezTo>
                    <a:pt x="57" y="128"/>
                    <a:pt x="62" y="123"/>
                    <a:pt x="64" y="131"/>
                  </a:cubicBezTo>
                  <a:cubicBezTo>
                    <a:pt x="64" y="131"/>
                    <a:pt x="65" y="135"/>
                    <a:pt x="70" y="134"/>
                  </a:cubicBezTo>
                  <a:cubicBezTo>
                    <a:pt x="70" y="134"/>
                    <a:pt x="73" y="134"/>
                    <a:pt x="76" y="135"/>
                  </a:cubicBezTo>
                  <a:cubicBezTo>
                    <a:pt x="77" y="130"/>
                    <a:pt x="74" y="128"/>
                    <a:pt x="74" y="128"/>
                  </a:cubicBezTo>
                  <a:cubicBezTo>
                    <a:pt x="70" y="124"/>
                    <a:pt x="71" y="112"/>
                    <a:pt x="71" y="112"/>
                  </a:cubicBezTo>
                  <a:cubicBezTo>
                    <a:pt x="70" y="105"/>
                    <a:pt x="71" y="94"/>
                    <a:pt x="71" y="94"/>
                  </a:cubicBezTo>
                  <a:cubicBezTo>
                    <a:pt x="74" y="91"/>
                    <a:pt x="70" y="85"/>
                    <a:pt x="73" y="79"/>
                  </a:cubicBezTo>
                  <a:cubicBezTo>
                    <a:pt x="76" y="72"/>
                    <a:pt x="72" y="64"/>
                    <a:pt x="72" y="64"/>
                  </a:cubicBezTo>
                  <a:cubicBezTo>
                    <a:pt x="70" y="59"/>
                    <a:pt x="73" y="57"/>
                    <a:pt x="73" y="57"/>
                  </a:cubicBezTo>
                  <a:cubicBezTo>
                    <a:pt x="73" y="57"/>
                    <a:pt x="75" y="54"/>
                    <a:pt x="75" y="47"/>
                  </a:cubicBezTo>
                  <a:cubicBezTo>
                    <a:pt x="74" y="46"/>
                    <a:pt x="76" y="42"/>
                    <a:pt x="76" y="42"/>
                  </a:cubicBezTo>
                  <a:cubicBezTo>
                    <a:pt x="78" y="39"/>
                    <a:pt x="75" y="38"/>
                    <a:pt x="75" y="38"/>
                  </a:cubicBezTo>
                  <a:cubicBezTo>
                    <a:pt x="71" y="27"/>
                    <a:pt x="77" y="23"/>
                    <a:pt x="77" y="23"/>
                  </a:cubicBezTo>
                  <a:cubicBezTo>
                    <a:pt x="77" y="13"/>
                    <a:pt x="80" y="17"/>
                    <a:pt x="80" y="10"/>
                  </a:cubicBezTo>
                  <a:cubicBezTo>
                    <a:pt x="77" y="9"/>
                    <a:pt x="79" y="0"/>
                    <a:pt x="75" y="4"/>
                  </a:cubicBezTo>
                  <a:cubicBezTo>
                    <a:pt x="72" y="1"/>
                    <a:pt x="67" y="2"/>
                    <a:pt x="67" y="2"/>
                  </a:cubicBezTo>
                  <a:cubicBezTo>
                    <a:pt x="63" y="1"/>
                    <a:pt x="61" y="5"/>
                    <a:pt x="61" y="5"/>
                  </a:cubicBezTo>
                  <a:cubicBezTo>
                    <a:pt x="58" y="8"/>
                    <a:pt x="51" y="8"/>
                    <a:pt x="51" y="8"/>
                  </a:cubicBezTo>
                  <a:cubicBezTo>
                    <a:pt x="46" y="11"/>
                    <a:pt x="41" y="3"/>
                    <a:pt x="40" y="10"/>
                  </a:cubicBezTo>
                  <a:cubicBezTo>
                    <a:pt x="41" y="13"/>
                    <a:pt x="35" y="19"/>
                    <a:pt x="35" y="19"/>
                  </a:cubicBezTo>
                  <a:cubicBezTo>
                    <a:pt x="39" y="24"/>
                    <a:pt x="35" y="27"/>
                    <a:pt x="35" y="27"/>
                  </a:cubicBezTo>
                  <a:cubicBezTo>
                    <a:pt x="35" y="30"/>
                    <a:pt x="29" y="31"/>
                    <a:pt x="29" y="31"/>
                  </a:cubicBezTo>
                  <a:cubicBezTo>
                    <a:pt x="16" y="30"/>
                    <a:pt x="19" y="36"/>
                    <a:pt x="19" y="36"/>
                  </a:cubicBezTo>
                  <a:cubicBezTo>
                    <a:pt x="22" y="39"/>
                    <a:pt x="16" y="39"/>
                    <a:pt x="16" y="39"/>
                  </a:cubicBezTo>
                  <a:cubicBezTo>
                    <a:pt x="12" y="48"/>
                    <a:pt x="10" y="47"/>
                    <a:pt x="10" y="47"/>
                  </a:cubicBezTo>
                  <a:cubicBezTo>
                    <a:pt x="8" y="50"/>
                    <a:pt x="3" y="47"/>
                    <a:pt x="1" y="51"/>
                  </a:cubicBezTo>
                  <a:cubicBezTo>
                    <a:pt x="0" y="51"/>
                    <a:pt x="0" y="55"/>
                    <a:pt x="0" y="55"/>
                  </a:cubicBezTo>
                  <a:cubicBezTo>
                    <a:pt x="0" y="55"/>
                    <a:pt x="4" y="63"/>
                    <a:pt x="4" y="72"/>
                  </a:cubicBezTo>
                  <a:cubicBezTo>
                    <a:pt x="4" y="72"/>
                    <a:pt x="7" y="77"/>
                    <a:pt x="5" y="78"/>
                  </a:cubicBezTo>
                  <a:cubicBezTo>
                    <a:pt x="5" y="78"/>
                    <a:pt x="3" y="81"/>
                    <a:pt x="3" y="84"/>
                  </a:cubicBezTo>
                  <a:cubicBezTo>
                    <a:pt x="3" y="84"/>
                    <a:pt x="10" y="84"/>
                    <a:pt x="10" y="87"/>
                  </a:cubicBezTo>
                  <a:cubicBezTo>
                    <a:pt x="10" y="87"/>
                    <a:pt x="12" y="90"/>
                    <a:pt x="6" y="90"/>
                  </a:cubicBezTo>
                  <a:cubicBezTo>
                    <a:pt x="13" y="91"/>
                    <a:pt x="9" y="96"/>
                    <a:pt x="12" y="97"/>
                  </a:cubicBezTo>
                  <a:cubicBezTo>
                    <a:pt x="12" y="97"/>
                    <a:pt x="16" y="93"/>
                    <a:pt x="15" y="100"/>
                  </a:cubicBezTo>
                  <a:cubicBezTo>
                    <a:pt x="15" y="100"/>
                    <a:pt x="14" y="109"/>
                    <a:pt x="19" y="103"/>
                  </a:cubicBezTo>
                  <a:cubicBezTo>
                    <a:pt x="19" y="103"/>
                    <a:pt x="22" y="97"/>
                    <a:pt x="22" y="107"/>
                  </a:cubicBezTo>
                  <a:cubicBezTo>
                    <a:pt x="22" y="107"/>
                    <a:pt x="19" y="115"/>
                    <a:pt x="28" y="107"/>
                  </a:cubicBezTo>
                  <a:cubicBezTo>
                    <a:pt x="28" y="107"/>
                    <a:pt x="33" y="105"/>
                    <a:pt x="34" y="111"/>
                  </a:cubicBezTo>
                  <a:cubicBezTo>
                    <a:pt x="34" y="111"/>
                    <a:pt x="42" y="113"/>
                    <a:pt x="40" y="122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94" name="Freeform 1191">
              <a:extLst>
                <a:ext uri="{FF2B5EF4-FFF2-40B4-BE49-F238E27FC236}">
                  <a16:creationId xmlns:a16="http://schemas.microsoft.com/office/drawing/2014/main" id="{31F2B772-CE34-0B4E-89D1-B3F2BBE72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462" y="3323770"/>
              <a:ext cx="741579" cy="988730"/>
            </a:xfrm>
            <a:custGeom>
              <a:avLst/>
              <a:gdLst>
                <a:gd name="T0" fmla="*/ 0 w 105"/>
                <a:gd name="T1" fmla="*/ 452438 h 140"/>
                <a:gd name="T2" fmla="*/ 7937 w 105"/>
                <a:gd name="T3" fmla="*/ 365125 h 140"/>
                <a:gd name="T4" fmla="*/ 31750 w 105"/>
                <a:gd name="T5" fmla="*/ 301625 h 140"/>
                <a:gd name="T6" fmla="*/ 71437 w 105"/>
                <a:gd name="T7" fmla="*/ 269875 h 140"/>
                <a:gd name="T8" fmla="*/ 127000 w 105"/>
                <a:gd name="T9" fmla="*/ 238125 h 140"/>
                <a:gd name="T10" fmla="*/ 206375 w 105"/>
                <a:gd name="T11" fmla="*/ 230188 h 140"/>
                <a:gd name="T12" fmla="*/ 309562 w 105"/>
                <a:gd name="T13" fmla="*/ 222250 h 140"/>
                <a:gd name="T14" fmla="*/ 388937 w 105"/>
                <a:gd name="T15" fmla="*/ 198438 h 140"/>
                <a:gd name="T16" fmla="*/ 341312 w 105"/>
                <a:gd name="T17" fmla="*/ 190500 h 140"/>
                <a:gd name="T18" fmla="*/ 341312 w 105"/>
                <a:gd name="T19" fmla="*/ 134938 h 140"/>
                <a:gd name="T20" fmla="*/ 373062 w 105"/>
                <a:gd name="T21" fmla="*/ 71438 h 140"/>
                <a:gd name="T22" fmla="*/ 412750 w 105"/>
                <a:gd name="T23" fmla="*/ 23813 h 140"/>
                <a:gd name="T24" fmla="*/ 468312 w 105"/>
                <a:gd name="T25" fmla="*/ 23813 h 140"/>
                <a:gd name="T26" fmla="*/ 508000 w 105"/>
                <a:gd name="T27" fmla="*/ 39688 h 140"/>
                <a:gd name="T28" fmla="*/ 539750 w 105"/>
                <a:gd name="T29" fmla="*/ 174625 h 140"/>
                <a:gd name="T30" fmla="*/ 547687 w 105"/>
                <a:gd name="T31" fmla="*/ 222250 h 140"/>
                <a:gd name="T32" fmla="*/ 531812 w 105"/>
                <a:gd name="T33" fmla="*/ 269875 h 140"/>
                <a:gd name="T34" fmla="*/ 587375 w 105"/>
                <a:gd name="T35" fmla="*/ 293688 h 140"/>
                <a:gd name="T36" fmla="*/ 555625 w 105"/>
                <a:gd name="T37" fmla="*/ 317500 h 140"/>
                <a:gd name="T38" fmla="*/ 603250 w 105"/>
                <a:gd name="T39" fmla="*/ 373063 h 140"/>
                <a:gd name="T40" fmla="*/ 627062 w 105"/>
                <a:gd name="T41" fmla="*/ 396875 h 140"/>
                <a:gd name="T42" fmla="*/ 658812 w 105"/>
                <a:gd name="T43" fmla="*/ 420688 h 140"/>
                <a:gd name="T44" fmla="*/ 682625 w 105"/>
                <a:gd name="T45" fmla="*/ 452438 h 140"/>
                <a:gd name="T46" fmla="*/ 730250 w 105"/>
                <a:gd name="T47" fmla="*/ 452438 h 140"/>
                <a:gd name="T48" fmla="*/ 777875 w 105"/>
                <a:gd name="T49" fmla="*/ 484188 h 140"/>
                <a:gd name="T50" fmla="*/ 825500 w 105"/>
                <a:gd name="T51" fmla="*/ 563563 h 140"/>
                <a:gd name="T52" fmla="*/ 809625 w 105"/>
                <a:gd name="T53" fmla="*/ 635000 h 140"/>
                <a:gd name="T54" fmla="*/ 809625 w 105"/>
                <a:gd name="T55" fmla="*/ 690563 h 140"/>
                <a:gd name="T56" fmla="*/ 754062 w 105"/>
                <a:gd name="T57" fmla="*/ 730250 h 140"/>
                <a:gd name="T58" fmla="*/ 635000 w 105"/>
                <a:gd name="T59" fmla="*/ 809625 h 140"/>
                <a:gd name="T60" fmla="*/ 611187 w 105"/>
                <a:gd name="T61" fmla="*/ 825500 h 140"/>
                <a:gd name="T62" fmla="*/ 539750 w 105"/>
                <a:gd name="T63" fmla="*/ 889000 h 140"/>
                <a:gd name="T64" fmla="*/ 515937 w 105"/>
                <a:gd name="T65" fmla="*/ 1016000 h 140"/>
                <a:gd name="T66" fmla="*/ 492125 w 105"/>
                <a:gd name="T67" fmla="*/ 1111250 h 140"/>
                <a:gd name="T68" fmla="*/ 412750 w 105"/>
                <a:gd name="T69" fmla="*/ 1031875 h 140"/>
                <a:gd name="T70" fmla="*/ 373062 w 105"/>
                <a:gd name="T71" fmla="*/ 960438 h 140"/>
                <a:gd name="T72" fmla="*/ 373062 w 105"/>
                <a:gd name="T73" fmla="*/ 865188 h 140"/>
                <a:gd name="T74" fmla="*/ 357187 w 105"/>
                <a:gd name="T75" fmla="*/ 801688 h 140"/>
                <a:gd name="T76" fmla="*/ 301625 w 105"/>
                <a:gd name="T77" fmla="*/ 730250 h 140"/>
                <a:gd name="T78" fmla="*/ 261937 w 105"/>
                <a:gd name="T79" fmla="*/ 714375 h 140"/>
                <a:gd name="T80" fmla="*/ 206375 w 105"/>
                <a:gd name="T81" fmla="*/ 674688 h 140"/>
                <a:gd name="T82" fmla="*/ 198437 w 105"/>
                <a:gd name="T83" fmla="*/ 603250 h 140"/>
                <a:gd name="T84" fmla="*/ 150812 w 105"/>
                <a:gd name="T85" fmla="*/ 627063 h 140"/>
                <a:gd name="T86" fmla="*/ 127000 w 105"/>
                <a:gd name="T87" fmla="*/ 595313 h 140"/>
                <a:gd name="T88" fmla="*/ 103187 w 105"/>
                <a:gd name="T89" fmla="*/ 571500 h 140"/>
                <a:gd name="T90" fmla="*/ 39687 w 105"/>
                <a:gd name="T91" fmla="*/ 515938 h 140"/>
                <a:gd name="T92" fmla="*/ 0 w 105"/>
                <a:gd name="T93" fmla="*/ 452438 h 140"/>
                <a:gd name="T94" fmla="*/ 0 w 105"/>
                <a:gd name="T95" fmla="*/ 452438 h 140"/>
                <a:gd name="T96" fmla="*/ 0 w 105"/>
                <a:gd name="T97" fmla="*/ 452438 h 14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05"/>
                <a:gd name="T148" fmla="*/ 0 h 140"/>
                <a:gd name="T149" fmla="*/ 105 w 105"/>
                <a:gd name="T150" fmla="*/ 140 h 14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05" h="140">
                  <a:moveTo>
                    <a:pt x="0" y="57"/>
                  </a:moveTo>
                  <a:cubicBezTo>
                    <a:pt x="2" y="50"/>
                    <a:pt x="1" y="46"/>
                    <a:pt x="1" y="46"/>
                  </a:cubicBezTo>
                  <a:cubicBezTo>
                    <a:pt x="0" y="39"/>
                    <a:pt x="4" y="38"/>
                    <a:pt x="4" y="38"/>
                  </a:cubicBezTo>
                  <a:cubicBezTo>
                    <a:pt x="8" y="37"/>
                    <a:pt x="9" y="34"/>
                    <a:pt x="9" y="34"/>
                  </a:cubicBezTo>
                  <a:cubicBezTo>
                    <a:pt x="8" y="27"/>
                    <a:pt x="16" y="30"/>
                    <a:pt x="16" y="30"/>
                  </a:cubicBezTo>
                  <a:cubicBezTo>
                    <a:pt x="25" y="32"/>
                    <a:pt x="26" y="29"/>
                    <a:pt x="26" y="29"/>
                  </a:cubicBezTo>
                  <a:cubicBezTo>
                    <a:pt x="30" y="27"/>
                    <a:pt x="39" y="28"/>
                    <a:pt x="39" y="28"/>
                  </a:cubicBezTo>
                  <a:cubicBezTo>
                    <a:pt x="49" y="28"/>
                    <a:pt x="49" y="25"/>
                    <a:pt x="49" y="25"/>
                  </a:cubicBezTo>
                  <a:cubicBezTo>
                    <a:pt x="48" y="23"/>
                    <a:pt x="43" y="24"/>
                    <a:pt x="43" y="24"/>
                  </a:cubicBezTo>
                  <a:cubicBezTo>
                    <a:pt x="42" y="21"/>
                    <a:pt x="43" y="17"/>
                    <a:pt x="43" y="17"/>
                  </a:cubicBezTo>
                  <a:cubicBezTo>
                    <a:pt x="49" y="16"/>
                    <a:pt x="47" y="9"/>
                    <a:pt x="47" y="9"/>
                  </a:cubicBezTo>
                  <a:cubicBezTo>
                    <a:pt x="46" y="2"/>
                    <a:pt x="52" y="3"/>
                    <a:pt x="52" y="3"/>
                  </a:cubicBezTo>
                  <a:cubicBezTo>
                    <a:pt x="54" y="0"/>
                    <a:pt x="59" y="3"/>
                    <a:pt x="59" y="3"/>
                  </a:cubicBezTo>
                  <a:cubicBezTo>
                    <a:pt x="60" y="6"/>
                    <a:pt x="64" y="5"/>
                    <a:pt x="64" y="5"/>
                  </a:cubicBezTo>
                  <a:cubicBezTo>
                    <a:pt x="64" y="5"/>
                    <a:pt x="68" y="13"/>
                    <a:pt x="68" y="22"/>
                  </a:cubicBezTo>
                  <a:cubicBezTo>
                    <a:pt x="68" y="22"/>
                    <a:pt x="71" y="27"/>
                    <a:pt x="69" y="28"/>
                  </a:cubicBezTo>
                  <a:cubicBezTo>
                    <a:pt x="69" y="28"/>
                    <a:pt x="67" y="31"/>
                    <a:pt x="67" y="34"/>
                  </a:cubicBezTo>
                  <a:cubicBezTo>
                    <a:pt x="67" y="34"/>
                    <a:pt x="74" y="34"/>
                    <a:pt x="74" y="37"/>
                  </a:cubicBezTo>
                  <a:cubicBezTo>
                    <a:pt x="74" y="37"/>
                    <a:pt x="76" y="40"/>
                    <a:pt x="70" y="40"/>
                  </a:cubicBezTo>
                  <a:cubicBezTo>
                    <a:pt x="77" y="41"/>
                    <a:pt x="73" y="46"/>
                    <a:pt x="76" y="47"/>
                  </a:cubicBezTo>
                  <a:cubicBezTo>
                    <a:pt x="76" y="47"/>
                    <a:pt x="80" y="43"/>
                    <a:pt x="79" y="50"/>
                  </a:cubicBezTo>
                  <a:cubicBezTo>
                    <a:pt x="79" y="50"/>
                    <a:pt x="78" y="59"/>
                    <a:pt x="83" y="53"/>
                  </a:cubicBezTo>
                  <a:cubicBezTo>
                    <a:pt x="83" y="53"/>
                    <a:pt x="86" y="47"/>
                    <a:pt x="86" y="57"/>
                  </a:cubicBezTo>
                  <a:cubicBezTo>
                    <a:pt x="86" y="57"/>
                    <a:pt x="83" y="65"/>
                    <a:pt x="92" y="57"/>
                  </a:cubicBezTo>
                  <a:cubicBezTo>
                    <a:pt x="92" y="57"/>
                    <a:pt x="97" y="55"/>
                    <a:pt x="98" y="61"/>
                  </a:cubicBezTo>
                  <a:cubicBezTo>
                    <a:pt x="98" y="61"/>
                    <a:pt x="105" y="62"/>
                    <a:pt x="104" y="71"/>
                  </a:cubicBezTo>
                  <a:cubicBezTo>
                    <a:pt x="104" y="71"/>
                    <a:pt x="99" y="73"/>
                    <a:pt x="102" y="80"/>
                  </a:cubicBezTo>
                  <a:cubicBezTo>
                    <a:pt x="102" y="80"/>
                    <a:pt x="103" y="82"/>
                    <a:pt x="102" y="87"/>
                  </a:cubicBezTo>
                  <a:cubicBezTo>
                    <a:pt x="102" y="87"/>
                    <a:pt x="103" y="93"/>
                    <a:pt x="95" y="92"/>
                  </a:cubicBezTo>
                  <a:cubicBezTo>
                    <a:pt x="95" y="92"/>
                    <a:pt x="88" y="90"/>
                    <a:pt x="80" y="102"/>
                  </a:cubicBezTo>
                  <a:cubicBezTo>
                    <a:pt x="80" y="102"/>
                    <a:pt x="78" y="105"/>
                    <a:pt x="77" y="104"/>
                  </a:cubicBezTo>
                  <a:cubicBezTo>
                    <a:pt x="77" y="104"/>
                    <a:pt x="75" y="110"/>
                    <a:pt x="68" y="112"/>
                  </a:cubicBezTo>
                  <a:cubicBezTo>
                    <a:pt x="68" y="112"/>
                    <a:pt x="62" y="119"/>
                    <a:pt x="65" y="128"/>
                  </a:cubicBezTo>
                  <a:cubicBezTo>
                    <a:pt x="65" y="128"/>
                    <a:pt x="68" y="132"/>
                    <a:pt x="62" y="140"/>
                  </a:cubicBezTo>
                  <a:cubicBezTo>
                    <a:pt x="62" y="140"/>
                    <a:pt x="58" y="129"/>
                    <a:pt x="52" y="130"/>
                  </a:cubicBezTo>
                  <a:cubicBezTo>
                    <a:pt x="52" y="130"/>
                    <a:pt x="53" y="123"/>
                    <a:pt x="47" y="121"/>
                  </a:cubicBezTo>
                  <a:cubicBezTo>
                    <a:pt x="53" y="112"/>
                    <a:pt x="47" y="109"/>
                    <a:pt x="47" y="109"/>
                  </a:cubicBezTo>
                  <a:cubicBezTo>
                    <a:pt x="43" y="107"/>
                    <a:pt x="48" y="103"/>
                    <a:pt x="45" y="101"/>
                  </a:cubicBezTo>
                  <a:cubicBezTo>
                    <a:pt x="42" y="93"/>
                    <a:pt x="38" y="92"/>
                    <a:pt x="38" y="92"/>
                  </a:cubicBezTo>
                  <a:cubicBezTo>
                    <a:pt x="35" y="85"/>
                    <a:pt x="33" y="90"/>
                    <a:pt x="33" y="90"/>
                  </a:cubicBezTo>
                  <a:cubicBezTo>
                    <a:pt x="22" y="92"/>
                    <a:pt x="26" y="85"/>
                    <a:pt x="26" y="85"/>
                  </a:cubicBezTo>
                  <a:cubicBezTo>
                    <a:pt x="28" y="73"/>
                    <a:pt x="25" y="76"/>
                    <a:pt x="25" y="76"/>
                  </a:cubicBezTo>
                  <a:cubicBezTo>
                    <a:pt x="20" y="76"/>
                    <a:pt x="19" y="79"/>
                    <a:pt x="19" y="79"/>
                  </a:cubicBezTo>
                  <a:cubicBezTo>
                    <a:pt x="13" y="80"/>
                    <a:pt x="16" y="75"/>
                    <a:pt x="16" y="75"/>
                  </a:cubicBezTo>
                  <a:cubicBezTo>
                    <a:pt x="16" y="72"/>
                    <a:pt x="13" y="72"/>
                    <a:pt x="13" y="72"/>
                  </a:cubicBezTo>
                  <a:cubicBezTo>
                    <a:pt x="9" y="71"/>
                    <a:pt x="12" y="64"/>
                    <a:pt x="5" y="65"/>
                  </a:cubicBezTo>
                  <a:cubicBezTo>
                    <a:pt x="5" y="61"/>
                    <a:pt x="0" y="57"/>
                    <a:pt x="0" y="57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95" name="Freeform 1192">
              <a:extLst>
                <a:ext uri="{FF2B5EF4-FFF2-40B4-BE49-F238E27FC236}">
                  <a16:creationId xmlns:a16="http://schemas.microsoft.com/office/drawing/2014/main" id="{574AD44F-E650-6745-556B-E80F5C7EF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831" y="2730534"/>
              <a:ext cx="1024085" cy="995793"/>
            </a:xfrm>
            <a:custGeom>
              <a:avLst/>
              <a:gdLst>
                <a:gd name="T0" fmla="*/ 87312 w 145"/>
                <a:gd name="T1" fmla="*/ 896937 h 141"/>
                <a:gd name="T2" fmla="*/ 63500 w 145"/>
                <a:gd name="T3" fmla="*/ 833437 h 141"/>
                <a:gd name="T4" fmla="*/ 47625 w 145"/>
                <a:gd name="T5" fmla="*/ 762000 h 141"/>
                <a:gd name="T6" fmla="*/ 55562 w 145"/>
                <a:gd name="T7" fmla="*/ 666750 h 141"/>
                <a:gd name="T8" fmla="*/ 47625 w 145"/>
                <a:gd name="T9" fmla="*/ 603250 h 141"/>
                <a:gd name="T10" fmla="*/ 158750 w 145"/>
                <a:gd name="T11" fmla="*/ 452437 h 141"/>
                <a:gd name="T12" fmla="*/ 492125 w 145"/>
                <a:gd name="T13" fmla="*/ 150812 h 141"/>
                <a:gd name="T14" fmla="*/ 571500 w 145"/>
                <a:gd name="T15" fmla="*/ 111125 h 141"/>
                <a:gd name="T16" fmla="*/ 635000 w 145"/>
                <a:gd name="T17" fmla="*/ 79375 h 141"/>
                <a:gd name="T18" fmla="*/ 674687 w 145"/>
                <a:gd name="T19" fmla="*/ 47625 h 141"/>
                <a:gd name="T20" fmla="*/ 674687 w 145"/>
                <a:gd name="T21" fmla="*/ 0 h 141"/>
                <a:gd name="T22" fmla="*/ 738187 w 145"/>
                <a:gd name="T23" fmla="*/ 31750 h 141"/>
                <a:gd name="T24" fmla="*/ 785812 w 145"/>
                <a:gd name="T25" fmla="*/ 47625 h 141"/>
                <a:gd name="T26" fmla="*/ 817562 w 145"/>
                <a:gd name="T27" fmla="*/ 71437 h 141"/>
                <a:gd name="T28" fmla="*/ 793750 w 145"/>
                <a:gd name="T29" fmla="*/ 119062 h 141"/>
                <a:gd name="T30" fmla="*/ 817562 w 145"/>
                <a:gd name="T31" fmla="*/ 134937 h 141"/>
                <a:gd name="T32" fmla="*/ 865187 w 145"/>
                <a:gd name="T33" fmla="*/ 166687 h 141"/>
                <a:gd name="T34" fmla="*/ 920750 w 145"/>
                <a:gd name="T35" fmla="*/ 198437 h 141"/>
                <a:gd name="T36" fmla="*/ 992187 w 145"/>
                <a:gd name="T37" fmla="*/ 198437 h 141"/>
                <a:gd name="T38" fmla="*/ 1016000 w 145"/>
                <a:gd name="T39" fmla="*/ 230187 h 141"/>
                <a:gd name="T40" fmla="*/ 1071562 w 145"/>
                <a:gd name="T41" fmla="*/ 246062 h 141"/>
                <a:gd name="T42" fmla="*/ 1055687 w 145"/>
                <a:gd name="T43" fmla="*/ 285750 h 141"/>
                <a:gd name="T44" fmla="*/ 1063625 w 145"/>
                <a:gd name="T45" fmla="*/ 365125 h 141"/>
                <a:gd name="T46" fmla="*/ 1063625 w 145"/>
                <a:gd name="T47" fmla="*/ 365125 h 141"/>
                <a:gd name="T48" fmla="*/ 1119187 w 145"/>
                <a:gd name="T49" fmla="*/ 420687 h 141"/>
                <a:gd name="T50" fmla="*/ 1119187 w 145"/>
                <a:gd name="T51" fmla="*/ 420687 h 141"/>
                <a:gd name="T52" fmla="*/ 1119187 w 145"/>
                <a:gd name="T53" fmla="*/ 484187 h 141"/>
                <a:gd name="T54" fmla="*/ 1071562 w 145"/>
                <a:gd name="T55" fmla="*/ 515937 h 141"/>
                <a:gd name="T56" fmla="*/ 992187 w 145"/>
                <a:gd name="T57" fmla="*/ 555625 h 141"/>
                <a:gd name="T58" fmla="*/ 968375 w 145"/>
                <a:gd name="T59" fmla="*/ 579437 h 141"/>
                <a:gd name="T60" fmla="*/ 920750 w 145"/>
                <a:gd name="T61" fmla="*/ 642937 h 141"/>
                <a:gd name="T62" fmla="*/ 849312 w 145"/>
                <a:gd name="T63" fmla="*/ 674687 h 141"/>
                <a:gd name="T64" fmla="*/ 841375 w 145"/>
                <a:gd name="T65" fmla="*/ 706437 h 141"/>
                <a:gd name="T66" fmla="*/ 801687 w 145"/>
                <a:gd name="T67" fmla="*/ 690562 h 141"/>
                <a:gd name="T68" fmla="*/ 746125 w 145"/>
                <a:gd name="T69" fmla="*/ 690562 h 141"/>
                <a:gd name="T70" fmla="*/ 706437 w 145"/>
                <a:gd name="T71" fmla="*/ 738187 h 141"/>
                <a:gd name="T72" fmla="*/ 674687 w 145"/>
                <a:gd name="T73" fmla="*/ 801687 h 141"/>
                <a:gd name="T74" fmla="*/ 674687 w 145"/>
                <a:gd name="T75" fmla="*/ 857250 h 141"/>
                <a:gd name="T76" fmla="*/ 722312 w 145"/>
                <a:gd name="T77" fmla="*/ 865187 h 141"/>
                <a:gd name="T78" fmla="*/ 642937 w 145"/>
                <a:gd name="T79" fmla="*/ 889000 h 141"/>
                <a:gd name="T80" fmla="*/ 539750 w 145"/>
                <a:gd name="T81" fmla="*/ 896937 h 141"/>
                <a:gd name="T82" fmla="*/ 460375 w 145"/>
                <a:gd name="T83" fmla="*/ 904875 h 141"/>
                <a:gd name="T84" fmla="*/ 404812 w 145"/>
                <a:gd name="T85" fmla="*/ 936625 h 141"/>
                <a:gd name="T86" fmla="*/ 365125 w 145"/>
                <a:gd name="T87" fmla="*/ 968375 h 141"/>
                <a:gd name="T88" fmla="*/ 341312 w 145"/>
                <a:gd name="T89" fmla="*/ 1031875 h 141"/>
                <a:gd name="T90" fmla="*/ 333375 w 145"/>
                <a:gd name="T91" fmla="*/ 1119187 h 141"/>
                <a:gd name="T92" fmla="*/ 333375 w 145"/>
                <a:gd name="T93" fmla="*/ 1119187 h 141"/>
                <a:gd name="T94" fmla="*/ 277812 w 145"/>
                <a:gd name="T95" fmla="*/ 1119187 h 141"/>
                <a:gd name="T96" fmla="*/ 277812 w 145"/>
                <a:gd name="T97" fmla="*/ 1119187 h 141"/>
                <a:gd name="T98" fmla="*/ 230187 w 145"/>
                <a:gd name="T99" fmla="*/ 1087437 h 141"/>
                <a:gd name="T100" fmla="*/ 182562 w 145"/>
                <a:gd name="T101" fmla="*/ 1055687 h 141"/>
                <a:gd name="T102" fmla="*/ 142875 w 145"/>
                <a:gd name="T103" fmla="*/ 1023937 h 141"/>
                <a:gd name="T104" fmla="*/ 103187 w 145"/>
                <a:gd name="T105" fmla="*/ 992187 h 141"/>
                <a:gd name="T106" fmla="*/ 87312 w 145"/>
                <a:gd name="T107" fmla="*/ 896937 h 141"/>
                <a:gd name="T108" fmla="*/ 87312 w 145"/>
                <a:gd name="T109" fmla="*/ 896937 h 141"/>
                <a:gd name="T110" fmla="*/ 87312 w 145"/>
                <a:gd name="T111" fmla="*/ 896937 h 14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5"/>
                <a:gd name="T169" fmla="*/ 0 h 141"/>
                <a:gd name="T170" fmla="*/ 145 w 145"/>
                <a:gd name="T171" fmla="*/ 141 h 14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5" h="141">
                  <a:moveTo>
                    <a:pt x="11" y="113"/>
                  </a:moveTo>
                  <a:cubicBezTo>
                    <a:pt x="11" y="113"/>
                    <a:pt x="13" y="108"/>
                    <a:pt x="8" y="105"/>
                  </a:cubicBezTo>
                  <a:cubicBezTo>
                    <a:pt x="8" y="105"/>
                    <a:pt x="2" y="103"/>
                    <a:pt x="6" y="96"/>
                  </a:cubicBezTo>
                  <a:cubicBezTo>
                    <a:pt x="6" y="96"/>
                    <a:pt x="9" y="93"/>
                    <a:pt x="7" y="84"/>
                  </a:cubicBezTo>
                  <a:cubicBezTo>
                    <a:pt x="7" y="84"/>
                    <a:pt x="5" y="84"/>
                    <a:pt x="6" y="76"/>
                  </a:cubicBezTo>
                  <a:cubicBezTo>
                    <a:pt x="6" y="76"/>
                    <a:pt x="0" y="75"/>
                    <a:pt x="20" y="57"/>
                  </a:cubicBezTo>
                  <a:cubicBezTo>
                    <a:pt x="20" y="57"/>
                    <a:pt x="41" y="31"/>
                    <a:pt x="62" y="19"/>
                  </a:cubicBezTo>
                  <a:cubicBezTo>
                    <a:pt x="62" y="19"/>
                    <a:pt x="61" y="13"/>
                    <a:pt x="72" y="14"/>
                  </a:cubicBezTo>
                  <a:cubicBezTo>
                    <a:pt x="72" y="14"/>
                    <a:pt x="81" y="15"/>
                    <a:pt x="80" y="10"/>
                  </a:cubicBezTo>
                  <a:cubicBezTo>
                    <a:pt x="80" y="10"/>
                    <a:pt x="78" y="5"/>
                    <a:pt x="85" y="6"/>
                  </a:cubicBezTo>
                  <a:cubicBezTo>
                    <a:pt x="85" y="6"/>
                    <a:pt x="85" y="3"/>
                    <a:pt x="85" y="0"/>
                  </a:cubicBezTo>
                  <a:cubicBezTo>
                    <a:pt x="89" y="5"/>
                    <a:pt x="93" y="4"/>
                    <a:pt x="93" y="4"/>
                  </a:cubicBezTo>
                  <a:cubicBezTo>
                    <a:pt x="97" y="3"/>
                    <a:pt x="99" y="6"/>
                    <a:pt x="99" y="6"/>
                  </a:cubicBezTo>
                  <a:cubicBezTo>
                    <a:pt x="103" y="6"/>
                    <a:pt x="103" y="9"/>
                    <a:pt x="103" y="9"/>
                  </a:cubicBezTo>
                  <a:cubicBezTo>
                    <a:pt x="104" y="12"/>
                    <a:pt x="97" y="13"/>
                    <a:pt x="100" y="15"/>
                  </a:cubicBezTo>
                  <a:cubicBezTo>
                    <a:pt x="101" y="19"/>
                    <a:pt x="103" y="17"/>
                    <a:pt x="103" y="17"/>
                  </a:cubicBezTo>
                  <a:cubicBezTo>
                    <a:pt x="108" y="18"/>
                    <a:pt x="109" y="21"/>
                    <a:pt x="109" y="21"/>
                  </a:cubicBezTo>
                  <a:cubicBezTo>
                    <a:pt x="111" y="27"/>
                    <a:pt x="116" y="25"/>
                    <a:pt x="116" y="25"/>
                  </a:cubicBezTo>
                  <a:cubicBezTo>
                    <a:pt x="120" y="23"/>
                    <a:pt x="125" y="25"/>
                    <a:pt x="125" y="25"/>
                  </a:cubicBezTo>
                  <a:cubicBezTo>
                    <a:pt x="129" y="26"/>
                    <a:pt x="128" y="29"/>
                    <a:pt x="128" y="29"/>
                  </a:cubicBezTo>
                  <a:cubicBezTo>
                    <a:pt x="127" y="32"/>
                    <a:pt x="135" y="31"/>
                    <a:pt x="135" y="31"/>
                  </a:cubicBezTo>
                  <a:cubicBezTo>
                    <a:pt x="136" y="33"/>
                    <a:pt x="133" y="36"/>
                    <a:pt x="133" y="36"/>
                  </a:cubicBezTo>
                  <a:cubicBezTo>
                    <a:pt x="132" y="43"/>
                    <a:pt x="134" y="46"/>
                    <a:pt x="134" y="46"/>
                  </a:cubicBezTo>
                  <a:lnTo>
                    <a:pt x="141" y="53"/>
                  </a:lnTo>
                  <a:cubicBezTo>
                    <a:pt x="145" y="58"/>
                    <a:pt x="141" y="61"/>
                    <a:pt x="141" y="61"/>
                  </a:cubicBezTo>
                  <a:cubicBezTo>
                    <a:pt x="141" y="64"/>
                    <a:pt x="135" y="65"/>
                    <a:pt x="135" y="65"/>
                  </a:cubicBezTo>
                  <a:cubicBezTo>
                    <a:pt x="122" y="64"/>
                    <a:pt x="125" y="70"/>
                    <a:pt x="125" y="70"/>
                  </a:cubicBezTo>
                  <a:cubicBezTo>
                    <a:pt x="128" y="73"/>
                    <a:pt x="122" y="73"/>
                    <a:pt x="122" y="73"/>
                  </a:cubicBezTo>
                  <a:cubicBezTo>
                    <a:pt x="118" y="82"/>
                    <a:pt x="116" y="81"/>
                    <a:pt x="116" y="81"/>
                  </a:cubicBezTo>
                  <a:cubicBezTo>
                    <a:pt x="114" y="84"/>
                    <a:pt x="109" y="81"/>
                    <a:pt x="107" y="85"/>
                  </a:cubicBezTo>
                  <a:cubicBezTo>
                    <a:pt x="106" y="85"/>
                    <a:pt x="106" y="89"/>
                    <a:pt x="106" y="89"/>
                  </a:cubicBezTo>
                  <a:cubicBezTo>
                    <a:pt x="106" y="89"/>
                    <a:pt x="102" y="90"/>
                    <a:pt x="101" y="87"/>
                  </a:cubicBezTo>
                  <a:cubicBezTo>
                    <a:pt x="101" y="87"/>
                    <a:pt x="96" y="84"/>
                    <a:pt x="94" y="87"/>
                  </a:cubicBezTo>
                  <a:cubicBezTo>
                    <a:pt x="94" y="87"/>
                    <a:pt x="88" y="86"/>
                    <a:pt x="89" y="93"/>
                  </a:cubicBezTo>
                  <a:cubicBezTo>
                    <a:pt x="89" y="93"/>
                    <a:pt x="91" y="100"/>
                    <a:pt x="85" y="101"/>
                  </a:cubicBezTo>
                  <a:cubicBezTo>
                    <a:pt x="85" y="101"/>
                    <a:pt x="84" y="105"/>
                    <a:pt x="85" y="108"/>
                  </a:cubicBezTo>
                  <a:cubicBezTo>
                    <a:pt x="85" y="108"/>
                    <a:pt x="90" y="107"/>
                    <a:pt x="91" y="109"/>
                  </a:cubicBezTo>
                  <a:cubicBezTo>
                    <a:pt x="91" y="109"/>
                    <a:pt x="91" y="112"/>
                    <a:pt x="81" y="112"/>
                  </a:cubicBezTo>
                  <a:cubicBezTo>
                    <a:pt x="81" y="112"/>
                    <a:pt x="72" y="111"/>
                    <a:pt x="68" y="113"/>
                  </a:cubicBezTo>
                  <a:cubicBezTo>
                    <a:pt x="68" y="113"/>
                    <a:pt x="67" y="116"/>
                    <a:pt x="58" y="114"/>
                  </a:cubicBezTo>
                  <a:cubicBezTo>
                    <a:pt x="58" y="114"/>
                    <a:pt x="50" y="111"/>
                    <a:pt x="51" y="118"/>
                  </a:cubicBezTo>
                  <a:cubicBezTo>
                    <a:pt x="51" y="118"/>
                    <a:pt x="50" y="121"/>
                    <a:pt x="46" y="122"/>
                  </a:cubicBezTo>
                  <a:cubicBezTo>
                    <a:pt x="46" y="122"/>
                    <a:pt x="42" y="123"/>
                    <a:pt x="43" y="130"/>
                  </a:cubicBezTo>
                  <a:cubicBezTo>
                    <a:pt x="43" y="130"/>
                    <a:pt x="45" y="134"/>
                    <a:pt x="42" y="141"/>
                  </a:cubicBezTo>
                  <a:lnTo>
                    <a:pt x="35" y="141"/>
                  </a:lnTo>
                  <a:cubicBezTo>
                    <a:pt x="35" y="141"/>
                    <a:pt x="34" y="137"/>
                    <a:pt x="29" y="137"/>
                  </a:cubicBezTo>
                  <a:cubicBezTo>
                    <a:pt x="29" y="137"/>
                    <a:pt x="24" y="138"/>
                    <a:pt x="23" y="133"/>
                  </a:cubicBezTo>
                  <a:cubicBezTo>
                    <a:pt x="23" y="133"/>
                    <a:pt x="23" y="126"/>
                    <a:pt x="18" y="129"/>
                  </a:cubicBezTo>
                  <a:cubicBezTo>
                    <a:pt x="18" y="129"/>
                    <a:pt x="13" y="128"/>
                    <a:pt x="13" y="125"/>
                  </a:cubicBezTo>
                  <a:cubicBezTo>
                    <a:pt x="13" y="125"/>
                    <a:pt x="10" y="124"/>
                    <a:pt x="11" y="113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96" name="Freeform 1193">
              <a:extLst>
                <a:ext uri="{FF2B5EF4-FFF2-40B4-BE49-F238E27FC236}">
                  <a16:creationId xmlns:a16="http://schemas.microsoft.com/office/drawing/2014/main" id="{E89FDE63-A576-1623-DE4D-DC779A16E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7966" y="2024299"/>
              <a:ext cx="840457" cy="911042"/>
            </a:xfrm>
            <a:custGeom>
              <a:avLst/>
              <a:gdLst>
                <a:gd name="T0" fmla="*/ 150812 w 119"/>
                <a:gd name="T1" fmla="*/ 793750 h 129"/>
                <a:gd name="T2" fmla="*/ 119062 w 119"/>
                <a:gd name="T3" fmla="*/ 690562 h 129"/>
                <a:gd name="T4" fmla="*/ 119062 w 119"/>
                <a:gd name="T5" fmla="*/ 650875 h 129"/>
                <a:gd name="T6" fmla="*/ 174625 w 119"/>
                <a:gd name="T7" fmla="*/ 650875 h 129"/>
                <a:gd name="T8" fmla="*/ 95250 w 119"/>
                <a:gd name="T9" fmla="*/ 500062 h 129"/>
                <a:gd name="T10" fmla="*/ 63500 w 119"/>
                <a:gd name="T11" fmla="*/ 428625 h 129"/>
                <a:gd name="T12" fmla="*/ 23812 w 119"/>
                <a:gd name="T13" fmla="*/ 357187 h 129"/>
                <a:gd name="T14" fmla="*/ 39687 w 119"/>
                <a:gd name="T15" fmla="*/ 293687 h 129"/>
                <a:gd name="T16" fmla="*/ 39687 w 119"/>
                <a:gd name="T17" fmla="*/ 293687 h 129"/>
                <a:gd name="T18" fmla="*/ 15875 w 119"/>
                <a:gd name="T19" fmla="*/ 214312 h 129"/>
                <a:gd name="T20" fmla="*/ 15875 w 119"/>
                <a:gd name="T21" fmla="*/ 214312 h 129"/>
                <a:gd name="T22" fmla="*/ 55562 w 119"/>
                <a:gd name="T23" fmla="*/ 158750 h 129"/>
                <a:gd name="T24" fmla="*/ 142875 w 119"/>
                <a:gd name="T25" fmla="*/ 174625 h 129"/>
                <a:gd name="T26" fmla="*/ 198437 w 119"/>
                <a:gd name="T27" fmla="*/ 166687 h 129"/>
                <a:gd name="T28" fmla="*/ 277812 w 119"/>
                <a:gd name="T29" fmla="*/ 111125 h 129"/>
                <a:gd name="T30" fmla="*/ 309562 w 119"/>
                <a:gd name="T31" fmla="*/ 47625 h 129"/>
                <a:gd name="T32" fmla="*/ 428625 w 119"/>
                <a:gd name="T33" fmla="*/ 31750 h 129"/>
                <a:gd name="T34" fmla="*/ 595312 w 119"/>
                <a:gd name="T35" fmla="*/ 23812 h 129"/>
                <a:gd name="T36" fmla="*/ 690562 w 119"/>
                <a:gd name="T37" fmla="*/ 39687 h 129"/>
                <a:gd name="T38" fmla="*/ 754062 w 119"/>
                <a:gd name="T39" fmla="*/ 47625 h 129"/>
                <a:gd name="T40" fmla="*/ 762000 w 119"/>
                <a:gd name="T41" fmla="*/ 87312 h 129"/>
                <a:gd name="T42" fmla="*/ 754062 w 119"/>
                <a:gd name="T43" fmla="*/ 134937 h 129"/>
                <a:gd name="T44" fmla="*/ 730250 w 119"/>
                <a:gd name="T45" fmla="*/ 182562 h 129"/>
                <a:gd name="T46" fmla="*/ 746125 w 119"/>
                <a:gd name="T47" fmla="*/ 246062 h 129"/>
                <a:gd name="T48" fmla="*/ 746125 w 119"/>
                <a:gd name="T49" fmla="*/ 285750 h 129"/>
                <a:gd name="T50" fmla="*/ 730250 w 119"/>
                <a:gd name="T51" fmla="*/ 381000 h 129"/>
                <a:gd name="T52" fmla="*/ 769937 w 119"/>
                <a:gd name="T53" fmla="*/ 388937 h 129"/>
                <a:gd name="T54" fmla="*/ 833437 w 119"/>
                <a:gd name="T55" fmla="*/ 420687 h 129"/>
                <a:gd name="T56" fmla="*/ 873125 w 119"/>
                <a:gd name="T57" fmla="*/ 484187 h 129"/>
                <a:gd name="T58" fmla="*/ 896937 w 119"/>
                <a:gd name="T59" fmla="*/ 547687 h 129"/>
                <a:gd name="T60" fmla="*/ 865187 w 119"/>
                <a:gd name="T61" fmla="*/ 587375 h 129"/>
                <a:gd name="T62" fmla="*/ 912812 w 119"/>
                <a:gd name="T63" fmla="*/ 627062 h 129"/>
                <a:gd name="T64" fmla="*/ 865187 w 119"/>
                <a:gd name="T65" fmla="*/ 658812 h 129"/>
                <a:gd name="T66" fmla="*/ 873125 w 119"/>
                <a:gd name="T67" fmla="*/ 706437 h 129"/>
                <a:gd name="T68" fmla="*/ 833437 w 119"/>
                <a:gd name="T69" fmla="*/ 746125 h 129"/>
                <a:gd name="T70" fmla="*/ 825500 w 119"/>
                <a:gd name="T71" fmla="*/ 793750 h 129"/>
                <a:gd name="T72" fmla="*/ 777875 w 119"/>
                <a:gd name="T73" fmla="*/ 833437 h 129"/>
                <a:gd name="T74" fmla="*/ 730250 w 119"/>
                <a:gd name="T75" fmla="*/ 801687 h 129"/>
                <a:gd name="T76" fmla="*/ 666750 w 119"/>
                <a:gd name="T77" fmla="*/ 817562 h 129"/>
                <a:gd name="T78" fmla="*/ 611187 w 119"/>
                <a:gd name="T79" fmla="*/ 833437 h 129"/>
                <a:gd name="T80" fmla="*/ 571500 w 119"/>
                <a:gd name="T81" fmla="*/ 873125 h 129"/>
                <a:gd name="T82" fmla="*/ 523875 w 119"/>
                <a:gd name="T83" fmla="*/ 944562 h 129"/>
                <a:gd name="T84" fmla="*/ 523875 w 119"/>
                <a:gd name="T85" fmla="*/ 992187 h 129"/>
                <a:gd name="T86" fmla="*/ 500062 w 119"/>
                <a:gd name="T87" fmla="*/ 1023937 h 129"/>
                <a:gd name="T88" fmla="*/ 468312 w 119"/>
                <a:gd name="T89" fmla="*/ 992187 h 129"/>
                <a:gd name="T90" fmla="*/ 396875 w 119"/>
                <a:gd name="T91" fmla="*/ 992187 h 129"/>
                <a:gd name="T92" fmla="*/ 341312 w 119"/>
                <a:gd name="T93" fmla="*/ 960437 h 129"/>
                <a:gd name="T94" fmla="*/ 293687 w 119"/>
                <a:gd name="T95" fmla="*/ 928687 h 129"/>
                <a:gd name="T96" fmla="*/ 269875 w 119"/>
                <a:gd name="T97" fmla="*/ 912812 h 129"/>
                <a:gd name="T98" fmla="*/ 293687 w 119"/>
                <a:gd name="T99" fmla="*/ 865187 h 129"/>
                <a:gd name="T100" fmla="*/ 261937 w 119"/>
                <a:gd name="T101" fmla="*/ 841375 h 129"/>
                <a:gd name="T102" fmla="*/ 214312 w 119"/>
                <a:gd name="T103" fmla="*/ 825500 h 129"/>
                <a:gd name="T104" fmla="*/ 150812 w 119"/>
                <a:gd name="T105" fmla="*/ 793750 h 129"/>
                <a:gd name="T106" fmla="*/ 150812 w 119"/>
                <a:gd name="T107" fmla="*/ 793750 h 129"/>
                <a:gd name="T108" fmla="*/ 150812 w 119"/>
                <a:gd name="T109" fmla="*/ 793750 h 12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19"/>
                <a:gd name="T166" fmla="*/ 0 h 129"/>
                <a:gd name="T167" fmla="*/ 119 w 119"/>
                <a:gd name="T168" fmla="*/ 129 h 12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19" h="129">
                  <a:moveTo>
                    <a:pt x="19" y="100"/>
                  </a:moveTo>
                  <a:cubicBezTo>
                    <a:pt x="19" y="96"/>
                    <a:pt x="18" y="92"/>
                    <a:pt x="15" y="87"/>
                  </a:cubicBezTo>
                  <a:cubicBezTo>
                    <a:pt x="15" y="87"/>
                    <a:pt x="10" y="84"/>
                    <a:pt x="15" y="82"/>
                  </a:cubicBezTo>
                  <a:cubicBezTo>
                    <a:pt x="15" y="82"/>
                    <a:pt x="18" y="81"/>
                    <a:pt x="22" y="82"/>
                  </a:cubicBezTo>
                  <a:cubicBezTo>
                    <a:pt x="22" y="78"/>
                    <a:pt x="13" y="78"/>
                    <a:pt x="12" y="63"/>
                  </a:cubicBezTo>
                  <a:cubicBezTo>
                    <a:pt x="10" y="61"/>
                    <a:pt x="13" y="54"/>
                    <a:pt x="8" y="54"/>
                  </a:cubicBezTo>
                  <a:cubicBezTo>
                    <a:pt x="3" y="53"/>
                    <a:pt x="6" y="46"/>
                    <a:pt x="3" y="45"/>
                  </a:cubicBezTo>
                  <a:cubicBezTo>
                    <a:pt x="3" y="45"/>
                    <a:pt x="0" y="44"/>
                    <a:pt x="5" y="37"/>
                  </a:cubicBezTo>
                  <a:lnTo>
                    <a:pt x="2" y="27"/>
                  </a:lnTo>
                  <a:cubicBezTo>
                    <a:pt x="2" y="27"/>
                    <a:pt x="2" y="19"/>
                    <a:pt x="7" y="20"/>
                  </a:cubicBezTo>
                  <a:cubicBezTo>
                    <a:pt x="7" y="20"/>
                    <a:pt x="16" y="19"/>
                    <a:pt x="18" y="22"/>
                  </a:cubicBezTo>
                  <a:cubicBezTo>
                    <a:pt x="18" y="22"/>
                    <a:pt x="15" y="29"/>
                    <a:pt x="25" y="21"/>
                  </a:cubicBezTo>
                  <a:cubicBezTo>
                    <a:pt x="25" y="21"/>
                    <a:pt x="32" y="18"/>
                    <a:pt x="35" y="14"/>
                  </a:cubicBezTo>
                  <a:cubicBezTo>
                    <a:pt x="35" y="14"/>
                    <a:pt x="36" y="9"/>
                    <a:pt x="39" y="6"/>
                  </a:cubicBezTo>
                  <a:cubicBezTo>
                    <a:pt x="39" y="6"/>
                    <a:pt x="40" y="1"/>
                    <a:pt x="54" y="4"/>
                  </a:cubicBezTo>
                  <a:cubicBezTo>
                    <a:pt x="54" y="4"/>
                    <a:pt x="69" y="6"/>
                    <a:pt x="75" y="3"/>
                  </a:cubicBezTo>
                  <a:cubicBezTo>
                    <a:pt x="86" y="0"/>
                    <a:pt x="83" y="4"/>
                    <a:pt x="87" y="5"/>
                  </a:cubicBezTo>
                  <a:cubicBezTo>
                    <a:pt x="87" y="5"/>
                    <a:pt x="90" y="6"/>
                    <a:pt x="95" y="6"/>
                  </a:cubicBezTo>
                  <a:cubicBezTo>
                    <a:pt x="95" y="10"/>
                    <a:pt x="96" y="11"/>
                    <a:pt x="96" y="11"/>
                  </a:cubicBezTo>
                  <a:cubicBezTo>
                    <a:pt x="100" y="11"/>
                    <a:pt x="99" y="18"/>
                    <a:pt x="95" y="17"/>
                  </a:cubicBezTo>
                  <a:cubicBezTo>
                    <a:pt x="93" y="19"/>
                    <a:pt x="92" y="23"/>
                    <a:pt x="92" y="23"/>
                  </a:cubicBezTo>
                  <a:cubicBezTo>
                    <a:pt x="91" y="29"/>
                    <a:pt x="94" y="31"/>
                    <a:pt x="94" y="31"/>
                  </a:cubicBezTo>
                  <a:cubicBezTo>
                    <a:pt x="97" y="34"/>
                    <a:pt x="94" y="36"/>
                    <a:pt x="94" y="36"/>
                  </a:cubicBezTo>
                  <a:cubicBezTo>
                    <a:pt x="94" y="46"/>
                    <a:pt x="92" y="48"/>
                    <a:pt x="92" y="48"/>
                  </a:cubicBezTo>
                  <a:cubicBezTo>
                    <a:pt x="93" y="55"/>
                    <a:pt x="97" y="49"/>
                    <a:pt x="97" y="49"/>
                  </a:cubicBezTo>
                  <a:cubicBezTo>
                    <a:pt x="104" y="47"/>
                    <a:pt x="105" y="53"/>
                    <a:pt x="105" y="53"/>
                  </a:cubicBezTo>
                  <a:cubicBezTo>
                    <a:pt x="107" y="60"/>
                    <a:pt x="110" y="61"/>
                    <a:pt x="110" y="61"/>
                  </a:cubicBezTo>
                  <a:cubicBezTo>
                    <a:pt x="119" y="69"/>
                    <a:pt x="113" y="69"/>
                    <a:pt x="113" y="69"/>
                  </a:cubicBezTo>
                  <a:cubicBezTo>
                    <a:pt x="109" y="70"/>
                    <a:pt x="109" y="74"/>
                    <a:pt x="109" y="74"/>
                  </a:cubicBezTo>
                  <a:cubicBezTo>
                    <a:pt x="117" y="74"/>
                    <a:pt x="115" y="79"/>
                    <a:pt x="115" y="79"/>
                  </a:cubicBezTo>
                  <a:cubicBezTo>
                    <a:pt x="116" y="83"/>
                    <a:pt x="109" y="81"/>
                    <a:pt x="109" y="83"/>
                  </a:cubicBezTo>
                  <a:cubicBezTo>
                    <a:pt x="115" y="87"/>
                    <a:pt x="110" y="89"/>
                    <a:pt x="110" y="89"/>
                  </a:cubicBezTo>
                  <a:cubicBezTo>
                    <a:pt x="110" y="92"/>
                    <a:pt x="105" y="94"/>
                    <a:pt x="105" y="94"/>
                  </a:cubicBezTo>
                  <a:cubicBezTo>
                    <a:pt x="102" y="96"/>
                    <a:pt x="104" y="100"/>
                    <a:pt x="104" y="100"/>
                  </a:cubicBezTo>
                  <a:cubicBezTo>
                    <a:pt x="104" y="110"/>
                    <a:pt x="98" y="105"/>
                    <a:pt x="98" y="105"/>
                  </a:cubicBezTo>
                  <a:cubicBezTo>
                    <a:pt x="95" y="105"/>
                    <a:pt x="95" y="101"/>
                    <a:pt x="92" y="101"/>
                  </a:cubicBezTo>
                  <a:cubicBezTo>
                    <a:pt x="89" y="100"/>
                    <a:pt x="89" y="103"/>
                    <a:pt x="84" y="103"/>
                  </a:cubicBezTo>
                  <a:cubicBezTo>
                    <a:pt x="78" y="102"/>
                    <a:pt x="77" y="105"/>
                    <a:pt x="77" y="105"/>
                  </a:cubicBezTo>
                  <a:cubicBezTo>
                    <a:pt x="75" y="107"/>
                    <a:pt x="76" y="112"/>
                    <a:pt x="72" y="110"/>
                  </a:cubicBezTo>
                  <a:cubicBezTo>
                    <a:pt x="65" y="109"/>
                    <a:pt x="66" y="119"/>
                    <a:pt x="66" y="119"/>
                  </a:cubicBezTo>
                  <a:cubicBezTo>
                    <a:pt x="71" y="123"/>
                    <a:pt x="66" y="125"/>
                    <a:pt x="66" y="125"/>
                  </a:cubicBezTo>
                  <a:cubicBezTo>
                    <a:pt x="65" y="128"/>
                    <a:pt x="63" y="129"/>
                    <a:pt x="63" y="129"/>
                  </a:cubicBezTo>
                  <a:cubicBezTo>
                    <a:pt x="63" y="129"/>
                    <a:pt x="63" y="126"/>
                    <a:pt x="59" y="125"/>
                  </a:cubicBezTo>
                  <a:cubicBezTo>
                    <a:pt x="59" y="125"/>
                    <a:pt x="54" y="123"/>
                    <a:pt x="50" y="125"/>
                  </a:cubicBezTo>
                  <a:cubicBezTo>
                    <a:pt x="50" y="125"/>
                    <a:pt x="45" y="127"/>
                    <a:pt x="43" y="121"/>
                  </a:cubicBezTo>
                  <a:cubicBezTo>
                    <a:pt x="43" y="121"/>
                    <a:pt x="42" y="118"/>
                    <a:pt x="37" y="117"/>
                  </a:cubicBezTo>
                  <a:cubicBezTo>
                    <a:pt x="37" y="117"/>
                    <a:pt x="35" y="119"/>
                    <a:pt x="34" y="115"/>
                  </a:cubicBezTo>
                  <a:cubicBezTo>
                    <a:pt x="31" y="113"/>
                    <a:pt x="38" y="112"/>
                    <a:pt x="37" y="109"/>
                  </a:cubicBezTo>
                  <a:cubicBezTo>
                    <a:pt x="37" y="109"/>
                    <a:pt x="37" y="106"/>
                    <a:pt x="33" y="106"/>
                  </a:cubicBezTo>
                  <a:cubicBezTo>
                    <a:pt x="33" y="106"/>
                    <a:pt x="31" y="103"/>
                    <a:pt x="27" y="104"/>
                  </a:cubicBezTo>
                  <a:cubicBezTo>
                    <a:pt x="27" y="104"/>
                    <a:pt x="23" y="105"/>
                    <a:pt x="19" y="100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97" name="Freeform 1194">
              <a:extLst>
                <a:ext uri="{FF2B5EF4-FFF2-40B4-BE49-F238E27FC236}">
                  <a16:creationId xmlns:a16="http://schemas.microsoft.com/office/drawing/2014/main" id="{B5613A30-4B05-D89C-FFAE-A2C5901AE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788" y="2052548"/>
              <a:ext cx="967583" cy="1052291"/>
            </a:xfrm>
            <a:custGeom>
              <a:avLst/>
              <a:gdLst>
                <a:gd name="T0" fmla="*/ 277812 w 137"/>
                <a:gd name="T1" fmla="*/ 55562 h 149"/>
                <a:gd name="T2" fmla="*/ 246062 w 137"/>
                <a:gd name="T3" fmla="*/ 150812 h 149"/>
                <a:gd name="T4" fmla="*/ 261937 w 137"/>
                <a:gd name="T5" fmla="*/ 254000 h 149"/>
                <a:gd name="T6" fmla="*/ 285750 w 137"/>
                <a:gd name="T7" fmla="*/ 357187 h 149"/>
                <a:gd name="T8" fmla="*/ 388937 w 137"/>
                <a:gd name="T9" fmla="*/ 452437 h 149"/>
                <a:gd name="T10" fmla="*/ 381000 w 137"/>
                <a:gd name="T11" fmla="*/ 555625 h 149"/>
                <a:gd name="T12" fmla="*/ 381000 w 137"/>
                <a:gd name="T13" fmla="*/ 627062 h 149"/>
                <a:gd name="T14" fmla="*/ 349250 w 137"/>
                <a:gd name="T15" fmla="*/ 714375 h 149"/>
                <a:gd name="T16" fmla="*/ 293687 w 137"/>
                <a:gd name="T17" fmla="*/ 801687 h 149"/>
                <a:gd name="T18" fmla="*/ 182562 w 137"/>
                <a:gd name="T19" fmla="*/ 785812 h 149"/>
                <a:gd name="T20" fmla="*/ 87312 w 137"/>
                <a:gd name="T21" fmla="*/ 841375 h 149"/>
                <a:gd name="T22" fmla="*/ 39687 w 137"/>
                <a:gd name="T23" fmla="*/ 960437 h 149"/>
                <a:gd name="T24" fmla="*/ 63500 w 137"/>
                <a:gd name="T25" fmla="*/ 1008062 h 149"/>
                <a:gd name="T26" fmla="*/ 55562 w 137"/>
                <a:gd name="T27" fmla="*/ 1127125 h 149"/>
                <a:gd name="T28" fmla="*/ 111125 w 137"/>
                <a:gd name="T29" fmla="*/ 1182687 h 149"/>
                <a:gd name="T30" fmla="*/ 150812 w 137"/>
                <a:gd name="T31" fmla="*/ 1111250 h 149"/>
                <a:gd name="T32" fmla="*/ 317500 w 137"/>
                <a:gd name="T33" fmla="*/ 1071562 h 149"/>
                <a:gd name="T34" fmla="*/ 428625 w 137"/>
                <a:gd name="T35" fmla="*/ 1063625 h 149"/>
                <a:gd name="T36" fmla="*/ 492125 w 137"/>
                <a:gd name="T37" fmla="*/ 1095375 h 149"/>
                <a:gd name="T38" fmla="*/ 595312 w 137"/>
                <a:gd name="T39" fmla="*/ 1031875 h 149"/>
                <a:gd name="T40" fmla="*/ 730250 w 137"/>
                <a:gd name="T41" fmla="*/ 912812 h 149"/>
                <a:gd name="T42" fmla="*/ 841375 w 137"/>
                <a:gd name="T43" fmla="*/ 904875 h 149"/>
                <a:gd name="T44" fmla="*/ 857250 w 137"/>
                <a:gd name="T45" fmla="*/ 825500 h 149"/>
                <a:gd name="T46" fmla="*/ 865187 w 137"/>
                <a:gd name="T47" fmla="*/ 698500 h 149"/>
                <a:gd name="T48" fmla="*/ 912812 w 137"/>
                <a:gd name="T49" fmla="*/ 563562 h 149"/>
                <a:gd name="T50" fmla="*/ 944562 w 137"/>
                <a:gd name="T51" fmla="*/ 508000 h 149"/>
                <a:gd name="T52" fmla="*/ 960437 w 137"/>
                <a:gd name="T53" fmla="*/ 444500 h 149"/>
                <a:gd name="T54" fmla="*/ 984250 w 137"/>
                <a:gd name="T55" fmla="*/ 357187 h 149"/>
                <a:gd name="T56" fmla="*/ 1031875 w 137"/>
                <a:gd name="T57" fmla="*/ 341312 h 149"/>
                <a:gd name="T58" fmla="*/ 1079500 w 137"/>
                <a:gd name="T59" fmla="*/ 285750 h 149"/>
                <a:gd name="T60" fmla="*/ 904875 w 137"/>
                <a:gd name="T61" fmla="*/ 238125 h 149"/>
                <a:gd name="T62" fmla="*/ 881062 w 137"/>
                <a:gd name="T63" fmla="*/ 174625 h 149"/>
                <a:gd name="T64" fmla="*/ 849312 w 137"/>
                <a:gd name="T65" fmla="*/ 150812 h 149"/>
                <a:gd name="T66" fmla="*/ 785812 w 137"/>
                <a:gd name="T67" fmla="*/ 150812 h 149"/>
                <a:gd name="T68" fmla="*/ 611187 w 137"/>
                <a:gd name="T69" fmla="*/ 95250 h 149"/>
                <a:gd name="T70" fmla="*/ 500062 w 137"/>
                <a:gd name="T71" fmla="*/ 55562 h 149"/>
                <a:gd name="T72" fmla="*/ 357187 w 137"/>
                <a:gd name="T73" fmla="*/ 15875 h 149"/>
                <a:gd name="T74" fmla="*/ 269875 w 137"/>
                <a:gd name="T75" fmla="*/ 15875 h 14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7"/>
                <a:gd name="T115" fmla="*/ 0 h 149"/>
                <a:gd name="T116" fmla="*/ 137 w 137"/>
                <a:gd name="T117" fmla="*/ 149 h 14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7" h="149">
                  <a:moveTo>
                    <a:pt x="34" y="2"/>
                  </a:moveTo>
                  <a:cubicBezTo>
                    <a:pt x="34" y="5"/>
                    <a:pt x="35" y="7"/>
                    <a:pt x="35" y="7"/>
                  </a:cubicBezTo>
                  <a:cubicBezTo>
                    <a:pt x="39" y="7"/>
                    <a:pt x="38" y="14"/>
                    <a:pt x="34" y="13"/>
                  </a:cubicBezTo>
                  <a:cubicBezTo>
                    <a:pt x="32" y="15"/>
                    <a:pt x="31" y="19"/>
                    <a:pt x="31" y="19"/>
                  </a:cubicBezTo>
                  <a:cubicBezTo>
                    <a:pt x="30" y="25"/>
                    <a:pt x="33" y="27"/>
                    <a:pt x="33" y="27"/>
                  </a:cubicBezTo>
                  <a:cubicBezTo>
                    <a:pt x="36" y="30"/>
                    <a:pt x="33" y="32"/>
                    <a:pt x="33" y="32"/>
                  </a:cubicBezTo>
                  <a:cubicBezTo>
                    <a:pt x="33" y="42"/>
                    <a:pt x="31" y="44"/>
                    <a:pt x="31" y="44"/>
                  </a:cubicBezTo>
                  <a:cubicBezTo>
                    <a:pt x="32" y="51"/>
                    <a:pt x="36" y="45"/>
                    <a:pt x="36" y="45"/>
                  </a:cubicBezTo>
                  <a:cubicBezTo>
                    <a:pt x="43" y="43"/>
                    <a:pt x="44" y="49"/>
                    <a:pt x="44" y="49"/>
                  </a:cubicBezTo>
                  <a:cubicBezTo>
                    <a:pt x="46" y="56"/>
                    <a:pt x="49" y="57"/>
                    <a:pt x="49" y="57"/>
                  </a:cubicBezTo>
                  <a:cubicBezTo>
                    <a:pt x="58" y="65"/>
                    <a:pt x="52" y="65"/>
                    <a:pt x="52" y="65"/>
                  </a:cubicBezTo>
                  <a:cubicBezTo>
                    <a:pt x="48" y="66"/>
                    <a:pt x="48" y="70"/>
                    <a:pt x="48" y="70"/>
                  </a:cubicBezTo>
                  <a:cubicBezTo>
                    <a:pt x="56" y="70"/>
                    <a:pt x="54" y="75"/>
                    <a:pt x="54" y="75"/>
                  </a:cubicBezTo>
                  <a:cubicBezTo>
                    <a:pt x="55" y="79"/>
                    <a:pt x="48" y="77"/>
                    <a:pt x="48" y="79"/>
                  </a:cubicBezTo>
                  <a:cubicBezTo>
                    <a:pt x="54" y="83"/>
                    <a:pt x="49" y="85"/>
                    <a:pt x="49" y="85"/>
                  </a:cubicBezTo>
                  <a:cubicBezTo>
                    <a:pt x="49" y="88"/>
                    <a:pt x="44" y="90"/>
                    <a:pt x="44" y="90"/>
                  </a:cubicBezTo>
                  <a:cubicBezTo>
                    <a:pt x="41" y="92"/>
                    <a:pt x="43" y="96"/>
                    <a:pt x="43" y="96"/>
                  </a:cubicBezTo>
                  <a:cubicBezTo>
                    <a:pt x="43" y="106"/>
                    <a:pt x="37" y="101"/>
                    <a:pt x="37" y="101"/>
                  </a:cubicBezTo>
                  <a:cubicBezTo>
                    <a:pt x="34" y="101"/>
                    <a:pt x="34" y="97"/>
                    <a:pt x="31" y="97"/>
                  </a:cubicBezTo>
                  <a:cubicBezTo>
                    <a:pt x="28" y="96"/>
                    <a:pt x="28" y="99"/>
                    <a:pt x="23" y="99"/>
                  </a:cubicBezTo>
                  <a:cubicBezTo>
                    <a:pt x="17" y="98"/>
                    <a:pt x="16" y="101"/>
                    <a:pt x="16" y="101"/>
                  </a:cubicBezTo>
                  <a:cubicBezTo>
                    <a:pt x="14" y="103"/>
                    <a:pt x="15" y="108"/>
                    <a:pt x="11" y="106"/>
                  </a:cubicBezTo>
                  <a:cubicBezTo>
                    <a:pt x="4" y="105"/>
                    <a:pt x="5" y="115"/>
                    <a:pt x="5" y="115"/>
                  </a:cubicBezTo>
                  <a:cubicBezTo>
                    <a:pt x="10" y="119"/>
                    <a:pt x="5" y="121"/>
                    <a:pt x="5" y="121"/>
                  </a:cubicBezTo>
                  <a:cubicBezTo>
                    <a:pt x="4" y="124"/>
                    <a:pt x="2" y="125"/>
                    <a:pt x="2" y="125"/>
                  </a:cubicBezTo>
                  <a:cubicBezTo>
                    <a:pt x="0" y="128"/>
                    <a:pt x="8" y="127"/>
                    <a:pt x="8" y="127"/>
                  </a:cubicBezTo>
                  <a:cubicBezTo>
                    <a:pt x="9" y="129"/>
                    <a:pt x="6" y="132"/>
                    <a:pt x="6" y="132"/>
                  </a:cubicBezTo>
                  <a:cubicBezTo>
                    <a:pt x="5" y="139"/>
                    <a:pt x="7" y="142"/>
                    <a:pt x="7" y="142"/>
                  </a:cubicBezTo>
                  <a:lnTo>
                    <a:pt x="14" y="149"/>
                  </a:lnTo>
                  <a:cubicBezTo>
                    <a:pt x="14" y="149"/>
                    <a:pt x="20" y="143"/>
                    <a:pt x="19" y="140"/>
                  </a:cubicBezTo>
                  <a:cubicBezTo>
                    <a:pt x="20" y="133"/>
                    <a:pt x="25" y="141"/>
                    <a:pt x="30" y="138"/>
                  </a:cubicBezTo>
                  <a:cubicBezTo>
                    <a:pt x="30" y="138"/>
                    <a:pt x="37" y="138"/>
                    <a:pt x="40" y="135"/>
                  </a:cubicBezTo>
                  <a:cubicBezTo>
                    <a:pt x="40" y="135"/>
                    <a:pt x="42" y="131"/>
                    <a:pt x="46" y="132"/>
                  </a:cubicBezTo>
                  <a:cubicBezTo>
                    <a:pt x="46" y="132"/>
                    <a:pt x="51" y="131"/>
                    <a:pt x="54" y="134"/>
                  </a:cubicBezTo>
                  <a:cubicBezTo>
                    <a:pt x="58" y="130"/>
                    <a:pt x="56" y="139"/>
                    <a:pt x="58" y="140"/>
                  </a:cubicBezTo>
                  <a:cubicBezTo>
                    <a:pt x="61" y="140"/>
                    <a:pt x="62" y="138"/>
                    <a:pt x="62" y="138"/>
                  </a:cubicBezTo>
                  <a:cubicBezTo>
                    <a:pt x="65" y="131"/>
                    <a:pt x="67" y="135"/>
                    <a:pt x="67" y="135"/>
                  </a:cubicBezTo>
                  <a:cubicBezTo>
                    <a:pt x="71" y="136"/>
                    <a:pt x="75" y="130"/>
                    <a:pt x="75" y="130"/>
                  </a:cubicBezTo>
                  <a:cubicBezTo>
                    <a:pt x="82" y="125"/>
                    <a:pt x="83" y="121"/>
                    <a:pt x="83" y="121"/>
                  </a:cubicBezTo>
                  <a:cubicBezTo>
                    <a:pt x="87" y="114"/>
                    <a:pt x="92" y="115"/>
                    <a:pt x="92" y="115"/>
                  </a:cubicBezTo>
                  <a:cubicBezTo>
                    <a:pt x="96" y="116"/>
                    <a:pt x="98" y="113"/>
                    <a:pt x="98" y="113"/>
                  </a:cubicBezTo>
                  <a:cubicBezTo>
                    <a:pt x="101" y="109"/>
                    <a:pt x="102" y="115"/>
                    <a:pt x="106" y="114"/>
                  </a:cubicBezTo>
                  <a:cubicBezTo>
                    <a:pt x="109" y="113"/>
                    <a:pt x="107" y="110"/>
                    <a:pt x="107" y="110"/>
                  </a:cubicBezTo>
                  <a:cubicBezTo>
                    <a:pt x="104" y="105"/>
                    <a:pt x="108" y="104"/>
                    <a:pt x="108" y="104"/>
                  </a:cubicBezTo>
                  <a:cubicBezTo>
                    <a:pt x="111" y="99"/>
                    <a:pt x="109" y="96"/>
                    <a:pt x="109" y="96"/>
                  </a:cubicBezTo>
                  <a:cubicBezTo>
                    <a:pt x="107" y="93"/>
                    <a:pt x="110" y="92"/>
                    <a:pt x="109" y="88"/>
                  </a:cubicBezTo>
                  <a:cubicBezTo>
                    <a:pt x="109" y="82"/>
                    <a:pt x="106" y="77"/>
                    <a:pt x="110" y="77"/>
                  </a:cubicBezTo>
                  <a:cubicBezTo>
                    <a:pt x="114" y="76"/>
                    <a:pt x="115" y="71"/>
                    <a:pt x="115" y="71"/>
                  </a:cubicBezTo>
                  <a:lnTo>
                    <a:pt x="119" y="64"/>
                  </a:lnTo>
                  <a:cubicBezTo>
                    <a:pt x="123" y="64"/>
                    <a:pt x="121" y="56"/>
                    <a:pt x="121" y="56"/>
                  </a:cubicBezTo>
                  <a:cubicBezTo>
                    <a:pt x="126" y="53"/>
                    <a:pt x="123" y="52"/>
                    <a:pt x="123" y="52"/>
                  </a:cubicBezTo>
                  <a:cubicBezTo>
                    <a:pt x="121" y="47"/>
                    <a:pt x="124" y="45"/>
                    <a:pt x="124" y="45"/>
                  </a:cubicBezTo>
                  <a:cubicBezTo>
                    <a:pt x="124" y="48"/>
                    <a:pt x="124" y="49"/>
                    <a:pt x="128" y="50"/>
                  </a:cubicBezTo>
                  <a:cubicBezTo>
                    <a:pt x="127" y="46"/>
                    <a:pt x="130" y="43"/>
                    <a:pt x="130" y="43"/>
                  </a:cubicBezTo>
                  <a:cubicBezTo>
                    <a:pt x="132" y="39"/>
                    <a:pt x="134" y="42"/>
                    <a:pt x="134" y="42"/>
                  </a:cubicBezTo>
                  <a:cubicBezTo>
                    <a:pt x="133" y="39"/>
                    <a:pt x="136" y="36"/>
                    <a:pt x="136" y="36"/>
                  </a:cubicBezTo>
                  <a:cubicBezTo>
                    <a:pt x="137" y="29"/>
                    <a:pt x="124" y="29"/>
                    <a:pt x="124" y="32"/>
                  </a:cubicBezTo>
                  <a:cubicBezTo>
                    <a:pt x="113" y="33"/>
                    <a:pt x="114" y="30"/>
                    <a:pt x="114" y="30"/>
                  </a:cubicBezTo>
                  <a:cubicBezTo>
                    <a:pt x="118" y="27"/>
                    <a:pt x="113" y="27"/>
                    <a:pt x="113" y="27"/>
                  </a:cubicBezTo>
                  <a:cubicBezTo>
                    <a:pt x="110" y="25"/>
                    <a:pt x="111" y="22"/>
                    <a:pt x="111" y="22"/>
                  </a:cubicBezTo>
                  <a:cubicBezTo>
                    <a:pt x="112" y="19"/>
                    <a:pt x="107" y="19"/>
                    <a:pt x="107" y="19"/>
                  </a:cubicBezTo>
                  <a:lnTo>
                    <a:pt x="99" y="19"/>
                  </a:lnTo>
                  <a:cubicBezTo>
                    <a:pt x="93" y="19"/>
                    <a:pt x="92" y="13"/>
                    <a:pt x="81" y="13"/>
                  </a:cubicBezTo>
                  <a:cubicBezTo>
                    <a:pt x="76" y="14"/>
                    <a:pt x="77" y="12"/>
                    <a:pt x="77" y="12"/>
                  </a:cubicBezTo>
                  <a:cubicBezTo>
                    <a:pt x="76" y="8"/>
                    <a:pt x="69" y="9"/>
                    <a:pt x="69" y="9"/>
                  </a:cubicBezTo>
                  <a:cubicBezTo>
                    <a:pt x="63" y="10"/>
                    <a:pt x="63" y="7"/>
                    <a:pt x="63" y="7"/>
                  </a:cubicBezTo>
                  <a:cubicBezTo>
                    <a:pt x="62" y="3"/>
                    <a:pt x="55" y="4"/>
                    <a:pt x="55" y="4"/>
                  </a:cubicBezTo>
                  <a:cubicBezTo>
                    <a:pt x="47" y="4"/>
                    <a:pt x="48" y="0"/>
                    <a:pt x="45" y="2"/>
                  </a:cubicBezTo>
                  <a:cubicBezTo>
                    <a:pt x="41" y="2"/>
                    <a:pt x="37" y="2"/>
                    <a:pt x="34" y="2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  <p:sp>
          <p:nvSpPr>
            <p:cNvPr id="98" name="Freeform 1195">
              <a:extLst>
                <a:ext uri="{FF2B5EF4-FFF2-40B4-BE49-F238E27FC236}">
                  <a16:creationId xmlns:a16="http://schemas.microsoft.com/office/drawing/2014/main" id="{053B2DF8-EAF6-E802-F1B2-68EF869F2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3304" y="2250294"/>
              <a:ext cx="889894" cy="1158224"/>
            </a:xfrm>
            <a:custGeom>
              <a:avLst/>
              <a:gdLst>
                <a:gd name="T0" fmla="*/ 285750 w 126"/>
                <a:gd name="T1" fmla="*/ 63500 h 164"/>
                <a:gd name="T2" fmla="*/ 420688 w 126"/>
                <a:gd name="T3" fmla="*/ 39688 h 164"/>
                <a:gd name="T4" fmla="*/ 484188 w 126"/>
                <a:gd name="T5" fmla="*/ 63500 h 164"/>
                <a:gd name="T6" fmla="*/ 571500 w 126"/>
                <a:gd name="T7" fmla="*/ 71438 h 164"/>
                <a:gd name="T8" fmla="*/ 642938 w 126"/>
                <a:gd name="T9" fmla="*/ 166688 h 164"/>
                <a:gd name="T10" fmla="*/ 793750 w 126"/>
                <a:gd name="T11" fmla="*/ 47625 h 164"/>
                <a:gd name="T12" fmla="*/ 865188 w 126"/>
                <a:gd name="T13" fmla="*/ 198438 h 164"/>
                <a:gd name="T14" fmla="*/ 825500 w 126"/>
                <a:gd name="T15" fmla="*/ 285750 h 164"/>
                <a:gd name="T16" fmla="*/ 833438 w 126"/>
                <a:gd name="T17" fmla="*/ 357188 h 164"/>
                <a:gd name="T18" fmla="*/ 873125 w 126"/>
                <a:gd name="T19" fmla="*/ 468313 h 164"/>
                <a:gd name="T20" fmla="*/ 912813 w 126"/>
                <a:gd name="T21" fmla="*/ 650875 h 164"/>
                <a:gd name="T22" fmla="*/ 912813 w 126"/>
                <a:gd name="T23" fmla="*/ 793750 h 164"/>
                <a:gd name="T24" fmla="*/ 976313 w 126"/>
                <a:gd name="T25" fmla="*/ 936625 h 164"/>
                <a:gd name="T26" fmla="*/ 984250 w 126"/>
                <a:gd name="T27" fmla="*/ 1071563 h 164"/>
                <a:gd name="T28" fmla="*/ 873125 w 126"/>
                <a:gd name="T29" fmla="*/ 1166813 h 164"/>
                <a:gd name="T30" fmla="*/ 881063 w 126"/>
                <a:gd name="T31" fmla="*/ 1254125 h 164"/>
                <a:gd name="T32" fmla="*/ 706438 w 126"/>
                <a:gd name="T33" fmla="*/ 1293813 h 164"/>
                <a:gd name="T34" fmla="*/ 690563 w 126"/>
                <a:gd name="T35" fmla="*/ 1174750 h 164"/>
                <a:gd name="T36" fmla="*/ 595313 w 126"/>
                <a:gd name="T37" fmla="*/ 1150938 h 164"/>
                <a:gd name="T38" fmla="*/ 460375 w 126"/>
                <a:gd name="T39" fmla="*/ 1166813 h 164"/>
                <a:gd name="T40" fmla="*/ 246063 w 126"/>
                <a:gd name="T41" fmla="*/ 1166813 h 164"/>
                <a:gd name="T42" fmla="*/ 134938 w 126"/>
                <a:gd name="T43" fmla="*/ 1071563 h 164"/>
                <a:gd name="T44" fmla="*/ 174625 w 126"/>
                <a:gd name="T45" fmla="*/ 944563 h 164"/>
                <a:gd name="T46" fmla="*/ 103188 w 126"/>
                <a:gd name="T47" fmla="*/ 857250 h 164"/>
                <a:gd name="T48" fmla="*/ 39688 w 126"/>
                <a:gd name="T49" fmla="*/ 746125 h 164"/>
                <a:gd name="T50" fmla="*/ 23813 w 126"/>
                <a:gd name="T51" fmla="*/ 650875 h 164"/>
                <a:gd name="T52" fmla="*/ 39688 w 126"/>
                <a:gd name="T53" fmla="*/ 539750 h 164"/>
                <a:gd name="T54" fmla="*/ 47625 w 126"/>
                <a:gd name="T55" fmla="*/ 388938 h 164"/>
                <a:gd name="T56" fmla="*/ 87313 w 126"/>
                <a:gd name="T57" fmla="*/ 341313 h 164"/>
                <a:gd name="T58" fmla="*/ 119063 w 126"/>
                <a:gd name="T59" fmla="*/ 285750 h 164"/>
                <a:gd name="T60" fmla="*/ 150813 w 126"/>
                <a:gd name="T61" fmla="*/ 190500 h 164"/>
                <a:gd name="T62" fmla="*/ 190500 w 126"/>
                <a:gd name="T63" fmla="*/ 174625 h 164"/>
                <a:gd name="T64" fmla="*/ 238125 w 126"/>
                <a:gd name="T65" fmla="*/ 111125 h 164"/>
                <a:gd name="T66" fmla="*/ 238125 w 126"/>
                <a:gd name="T67" fmla="*/ 111125 h 16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26"/>
                <a:gd name="T103" fmla="*/ 0 h 164"/>
                <a:gd name="T104" fmla="*/ 126 w 126"/>
                <a:gd name="T105" fmla="*/ 164 h 16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26" h="164">
                  <a:moveTo>
                    <a:pt x="30" y="14"/>
                  </a:moveTo>
                  <a:cubicBezTo>
                    <a:pt x="30" y="14"/>
                    <a:pt x="36" y="17"/>
                    <a:pt x="36" y="8"/>
                  </a:cubicBezTo>
                  <a:cubicBezTo>
                    <a:pt x="36" y="8"/>
                    <a:pt x="37" y="0"/>
                    <a:pt x="42" y="6"/>
                  </a:cubicBezTo>
                  <a:cubicBezTo>
                    <a:pt x="42" y="6"/>
                    <a:pt x="47" y="11"/>
                    <a:pt x="53" y="5"/>
                  </a:cubicBezTo>
                  <a:cubicBezTo>
                    <a:pt x="53" y="5"/>
                    <a:pt x="52" y="3"/>
                    <a:pt x="58" y="0"/>
                  </a:cubicBezTo>
                  <a:cubicBezTo>
                    <a:pt x="60" y="2"/>
                    <a:pt x="57" y="7"/>
                    <a:pt x="61" y="8"/>
                  </a:cubicBezTo>
                  <a:cubicBezTo>
                    <a:pt x="61" y="8"/>
                    <a:pt x="61" y="12"/>
                    <a:pt x="65" y="10"/>
                  </a:cubicBezTo>
                  <a:cubicBezTo>
                    <a:pt x="65" y="10"/>
                    <a:pt x="66" y="6"/>
                    <a:pt x="72" y="9"/>
                  </a:cubicBezTo>
                  <a:cubicBezTo>
                    <a:pt x="72" y="9"/>
                    <a:pt x="75" y="8"/>
                    <a:pt x="75" y="13"/>
                  </a:cubicBezTo>
                  <a:cubicBezTo>
                    <a:pt x="75" y="13"/>
                    <a:pt x="73" y="18"/>
                    <a:pt x="81" y="21"/>
                  </a:cubicBezTo>
                  <a:cubicBezTo>
                    <a:pt x="81" y="21"/>
                    <a:pt x="81" y="9"/>
                    <a:pt x="92" y="9"/>
                  </a:cubicBezTo>
                  <a:cubicBezTo>
                    <a:pt x="92" y="9"/>
                    <a:pt x="97" y="2"/>
                    <a:pt x="100" y="6"/>
                  </a:cubicBezTo>
                  <a:cubicBezTo>
                    <a:pt x="100" y="6"/>
                    <a:pt x="104" y="10"/>
                    <a:pt x="104" y="15"/>
                  </a:cubicBezTo>
                  <a:cubicBezTo>
                    <a:pt x="104" y="15"/>
                    <a:pt x="105" y="24"/>
                    <a:pt x="109" y="25"/>
                  </a:cubicBezTo>
                  <a:cubicBezTo>
                    <a:pt x="109" y="25"/>
                    <a:pt x="114" y="34"/>
                    <a:pt x="104" y="36"/>
                  </a:cubicBezTo>
                  <a:lnTo>
                    <a:pt x="105" y="45"/>
                  </a:lnTo>
                  <a:cubicBezTo>
                    <a:pt x="105" y="45"/>
                    <a:pt x="110" y="42"/>
                    <a:pt x="114" y="50"/>
                  </a:cubicBezTo>
                  <a:cubicBezTo>
                    <a:pt x="113" y="57"/>
                    <a:pt x="109" y="57"/>
                    <a:pt x="110" y="59"/>
                  </a:cubicBezTo>
                  <a:cubicBezTo>
                    <a:pt x="110" y="59"/>
                    <a:pt x="116" y="62"/>
                    <a:pt x="115" y="72"/>
                  </a:cubicBezTo>
                  <a:cubicBezTo>
                    <a:pt x="115" y="72"/>
                    <a:pt x="120" y="74"/>
                    <a:pt x="115" y="82"/>
                  </a:cubicBezTo>
                  <a:cubicBezTo>
                    <a:pt x="115" y="82"/>
                    <a:pt x="112" y="84"/>
                    <a:pt x="114" y="92"/>
                  </a:cubicBezTo>
                  <a:cubicBezTo>
                    <a:pt x="113" y="97"/>
                    <a:pt x="109" y="98"/>
                    <a:pt x="115" y="100"/>
                  </a:cubicBezTo>
                  <a:cubicBezTo>
                    <a:pt x="115" y="100"/>
                    <a:pt x="119" y="100"/>
                    <a:pt x="119" y="108"/>
                  </a:cubicBezTo>
                  <a:cubicBezTo>
                    <a:pt x="119" y="108"/>
                    <a:pt x="124" y="109"/>
                    <a:pt x="123" y="118"/>
                  </a:cubicBezTo>
                  <a:cubicBezTo>
                    <a:pt x="123" y="118"/>
                    <a:pt x="126" y="122"/>
                    <a:pt x="122" y="125"/>
                  </a:cubicBezTo>
                  <a:cubicBezTo>
                    <a:pt x="122" y="125"/>
                    <a:pt x="120" y="132"/>
                    <a:pt x="124" y="135"/>
                  </a:cubicBezTo>
                  <a:cubicBezTo>
                    <a:pt x="124" y="135"/>
                    <a:pt x="126" y="137"/>
                    <a:pt x="118" y="143"/>
                  </a:cubicBezTo>
                  <a:cubicBezTo>
                    <a:pt x="118" y="143"/>
                    <a:pt x="115" y="146"/>
                    <a:pt x="110" y="147"/>
                  </a:cubicBezTo>
                  <a:cubicBezTo>
                    <a:pt x="110" y="147"/>
                    <a:pt x="109" y="149"/>
                    <a:pt x="110" y="153"/>
                  </a:cubicBezTo>
                  <a:cubicBezTo>
                    <a:pt x="110" y="153"/>
                    <a:pt x="113" y="155"/>
                    <a:pt x="111" y="158"/>
                  </a:cubicBezTo>
                  <a:cubicBezTo>
                    <a:pt x="108" y="161"/>
                    <a:pt x="103" y="158"/>
                    <a:pt x="101" y="162"/>
                  </a:cubicBezTo>
                  <a:cubicBezTo>
                    <a:pt x="99" y="164"/>
                    <a:pt x="89" y="163"/>
                    <a:pt x="89" y="163"/>
                  </a:cubicBezTo>
                  <a:cubicBezTo>
                    <a:pt x="84" y="160"/>
                    <a:pt x="87" y="155"/>
                    <a:pt x="87" y="155"/>
                  </a:cubicBezTo>
                  <a:cubicBezTo>
                    <a:pt x="89" y="153"/>
                    <a:pt x="87" y="148"/>
                    <a:pt x="87" y="148"/>
                  </a:cubicBezTo>
                  <a:cubicBezTo>
                    <a:pt x="83" y="147"/>
                    <a:pt x="88" y="138"/>
                    <a:pt x="80" y="141"/>
                  </a:cubicBezTo>
                  <a:cubicBezTo>
                    <a:pt x="77" y="141"/>
                    <a:pt x="75" y="141"/>
                    <a:pt x="75" y="145"/>
                  </a:cubicBezTo>
                  <a:cubicBezTo>
                    <a:pt x="70" y="148"/>
                    <a:pt x="66" y="146"/>
                    <a:pt x="66" y="146"/>
                  </a:cubicBezTo>
                  <a:cubicBezTo>
                    <a:pt x="66" y="146"/>
                    <a:pt x="61" y="143"/>
                    <a:pt x="58" y="147"/>
                  </a:cubicBezTo>
                  <a:cubicBezTo>
                    <a:pt x="57" y="150"/>
                    <a:pt x="55" y="144"/>
                    <a:pt x="46" y="147"/>
                  </a:cubicBezTo>
                  <a:cubicBezTo>
                    <a:pt x="42" y="150"/>
                    <a:pt x="38" y="145"/>
                    <a:pt x="31" y="147"/>
                  </a:cubicBezTo>
                  <a:cubicBezTo>
                    <a:pt x="29" y="144"/>
                    <a:pt x="22" y="144"/>
                    <a:pt x="22" y="144"/>
                  </a:cubicBezTo>
                  <a:cubicBezTo>
                    <a:pt x="17" y="139"/>
                    <a:pt x="17" y="135"/>
                    <a:pt x="17" y="135"/>
                  </a:cubicBezTo>
                  <a:cubicBezTo>
                    <a:pt x="16" y="128"/>
                    <a:pt x="20" y="128"/>
                    <a:pt x="20" y="128"/>
                  </a:cubicBezTo>
                  <a:cubicBezTo>
                    <a:pt x="25" y="126"/>
                    <a:pt x="19" y="124"/>
                    <a:pt x="22" y="119"/>
                  </a:cubicBezTo>
                  <a:cubicBezTo>
                    <a:pt x="22" y="111"/>
                    <a:pt x="20" y="110"/>
                    <a:pt x="20" y="110"/>
                  </a:cubicBezTo>
                  <a:cubicBezTo>
                    <a:pt x="17" y="114"/>
                    <a:pt x="13" y="108"/>
                    <a:pt x="13" y="108"/>
                  </a:cubicBezTo>
                  <a:cubicBezTo>
                    <a:pt x="10" y="108"/>
                    <a:pt x="11" y="104"/>
                    <a:pt x="6" y="100"/>
                  </a:cubicBezTo>
                  <a:cubicBezTo>
                    <a:pt x="1" y="97"/>
                    <a:pt x="5" y="94"/>
                    <a:pt x="5" y="94"/>
                  </a:cubicBezTo>
                  <a:cubicBezTo>
                    <a:pt x="8" y="89"/>
                    <a:pt x="3" y="90"/>
                    <a:pt x="3" y="86"/>
                  </a:cubicBezTo>
                  <a:cubicBezTo>
                    <a:pt x="6" y="86"/>
                    <a:pt x="3" y="82"/>
                    <a:pt x="3" y="82"/>
                  </a:cubicBezTo>
                  <a:cubicBezTo>
                    <a:pt x="0" y="77"/>
                    <a:pt x="4" y="76"/>
                    <a:pt x="4" y="76"/>
                  </a:cubicBezTo>
                  <a:cubicBezTo>
                    <a:pt x="7" y="71"/>
                    <a:pt x="5" y="68"/>
                    <a:pt x="5" y="68"/>
                  </a:cubicBezTo>
                  <a:cubicBezTo>
                    <a:pt x="3" y="65"/>
                    <a:pt x="6" y="64"/>
                    <a:pt x="5" y="60"/>
                  </a:cubicBezTo>
                  <a:cubicBezTo>
                    <a:pt x="5" y="54"/>
                    <a:pt x="2" y="49"/>
                    <a:pt x="6" y="49"/>
                  </a:cubicBezTo>
                  <a:cubicBezTo>
                    <a:pt x="10" y="48"/>
                    <a:pt x="11" y="43"/>
                    <a:pt x="11" y="43"/>
                  </a:cubicBezTo>
                  <a:lnTo>
                    <a:pt x="15" y="36"/>
                  </a:lnTo>
                  <a:cubicBezTo>
                    <a:pt x="19" y="36"/>
                    <a:pt x="17" y="28"/>
                    <a:pt x="17" y="28"/>
                  </a:cubicBezTo>
                  <a:cubicBezTo>
                    <a:pt x="22" y="25"/>
                    <a:pt x="19" y="24"/>
                    <a:pt x="19" y="24"/>
                  </a:cubicBezTo>
                  <a:cubicBezTo>
                    <a:pt x="17" y="19"/>
                    <a:pt x="20" y="17"/>
                    <a:pt x="20" y="17"/>
                  </a:cubicBezTo>
                  <a:cubicBezTo>
                    <a:pt x="20" y="20"/>
                    <a:pt x="20" y="21"/>
                    <a:pt x="24" y="22"/>
                  </a:cubicBezTo>
                  <a:cubicBezTo>
                    <a:pt x="23" y="18"/>
                    <a:pt x="26" y="15"/>
                    <a:pt x="26" y="15"/>
                  </a:cubicBezTo>
                  <a:cubicBezTo>
                    <a:pt x="28" y="11"/>
                    <a:pt x="30" y="14"/>
                    <a:pt x="30" y="14"/>
                  </a:cubicBezTo>
                </a:path>
              </a:pathLst>
            </a:custGeom>
            <a:grpFill/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uk-UA" sz="1600" dirty="0"/>
            </a:p>
          </p:txBody>
        </p:sp>
      </p:grpSp>
      <p:sp>
        <p:nvSpPr>
          <p:cNvPr id="99" name="Місце для тексту 3">
            <a:extLst>
              <a:ext uri="{FF2B5EF4-FFF2-40B4-BE49-F238E27FC236}">
                <a16:creationId xmlns:a16="http://schemas.microsoft.com/office/drawing/2014/main" id="{E3640C0A-5FAD-BE1C-81A3-3D2327EB95EC}"/>
              </a:ext>
            </a:extLst>
          </p:cNvPr>
          <p:cNvSpPr txBox="1">
            <a:spLocks/>
          </p:cNvSpPr>
          <p:nvPr/>
        </p:nvSpPr>
        <p:spPr>
          <a:xfrm>
            <a:off x="515937" y="2317328"/>
            <a:ext cx="4124429" cy="222334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k-UA" sz="3200" dirty="0">
                <a:solidFill>
                  <a:schemeClr val="tx1"/>
                </a:solidFill>
              </a:rPr>
              <a:t>Найбільш привабливим </a:t>
            </a:r>
            <a:r>
              <a:rPr lang="uk-UA" sz="3200" dirty="0" err="1">
                <a:solidFill>
                  <a:schemeClr val="tx1"/>
                </a:solidFill>
              </a:rPr>
              <a:t>макрорегіоном</a:t>
            </a:r>
            <a:r>
              <a:rPr lang="uk-UA" sz="3200" dirty="0">
                <a:solidFill>
                  <a:schemeClr val="tx1"/>
                </a:solidFill>
              </a:rPr>
              <a:t> було визначено </a:t>
            </a:r>
            <a:r>
              <a:rPr lang="uk-UA" sz="3200" dirty="0">
                <a:solidFill>
                  <a:schemeClr val="tx1"/>
                </a:solidFill>
                <a:highlight>
                  <a:srgbClr val="FBAE18"/>
                </a:highlight>
              </a:rPr>
              <a:t>Причорноморські області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A6EF33D6-7776-3E61-6814-B9774644982F}"/>
              </a:ext>
            </a:extLst>
          </p:cNvPr>
          <p:cNvGrpSpPr/>
          <p:nvPr/>
        </p:nvGrpSpPr>
        <p:grpSpPr>
          <a:xfrm>
            <a:off x="2610600" y="4754880"/>
            <a:ext cx="4424400" cy="1679760"/>
            <a:chOff x="2610600" y="4754880"/>
            <a:chExt cx="4424400" cy="16797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6" name="Рукописный ввод 5">
                  <a:extLst>
                    <a:ext uri="{FF2B5EF4-FFF2-40B4-BE49-F238E27FC236}">
                      <a16:creationId xmlns:a16="http://schemas.microsoft.com/office/drawing/2014/main" id="{EACFF269-99FA-17CC-09A8-C484B8AE8F0C}"/>
                    </a:ext>
                  </a:extLst>
                </p14:cNvPr>
                <p14:cNvContentPartPr/>
                <p14:nvPr/>
              </p14:nvContentPartPr>
              <p14:xfrm>
                <a:off x="2610600" y="4964760"/>
                <a:ext cx="4252680" cy="1469880"/>
              </p14:xfrm>
            </p:contentPart>
          </mc:Choice>
          <mc:Fallback xmlns="">
            <p:pic>
              <p:nvPicPr>
                <p:cNvPr id="6" name="Рукописный ввод 5">
                  <a:extLst>
                    <a:ext uri="{FF2B5EF4-FFF2-40B4-BE49-F238E27FC236}">
                      <a16:creationId xmlns:a16="http://schemas.microsoft.com/office/drawing/2014/main" id="{EACFF269-99FA-17CC-09A8-C484B8AE8F0C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2592600" y="4947120"/>
                  <a:ext cx="4288320" cy="15055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9" name="Рукописный ввод 8">
                  <a:extLst>
                    <a:ext uri="{FF2B5EF4-FFF2-40B4-BE49-F238E27FC236}">
                      <a16:creationId xmlns:a16="http://schemas.microsoft.com/office/drawing/2014/main" id="{A24B8C67-647A-2CAB-C16C-823CB7EA741C}"/>
                    </a:ext>
                  </a:extLst>
                </p14:cNvPr>
                <p14:cNvContentPartPr/>
                <p14:nvPr/>
              </p14:nvContentPartPr>
              <p14:xfrm>
                <a:off x="6422640" y="4754880"/>
                <a:ext cx="612360" cy="932400"/>
              </p14:xfrm>
            </p:contentPart>
          </mc:Choice>
          <mc:Fallback xmlns="">
            <p:pic>
              <p:nvPicPr>
                <p:cNvPr id="9" name="Рукописный ввод 8">
                  <a:extLst>
                    <a:ext uri="{FF2B5EF4-FFF2-40B4-BE49-F238E27FC236}">
                      <a16:creationId xmlns:a16="http://schemas.microsoft.com/office/drawing/2014/main" id="{A24B8C67-647A-2CAB-C16C-823CB7EA741C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6405000" y="4736880"/>
                  <a:ext cx="648000" cy="96804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558104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'єкт 4" hidden="1">
            <a:extLst>
              <a:ext uri="{FF2B5EF4-FFF2-40B4-BE49-F238E27FC236}">
                <a16:creationId xmlns:a16="http://schemas.microsoft.com/office/drawing/2014/main" id="{5D8ADA94-0022-47FD-B11E-9EE20982B8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Об'єкт 4" hidden="1">
                        <a:extLst>
                          <a:ext uri="{FF2B5EF4-FFF2-40B4-BE49-F238E27FC236}">
                            <a16:creationId xmlns:a16="http://schemas.microsoft.com/office/drawing/2014/main" id="{5D8ADA94-0022-47FD-B11E-9EE20982B8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кутник 6" hidden="1">
            <a:extLst>
              <a:ext uri="{FF2B5EF4-FFF2-40B4-BE49-F238E27FC236}">
                <a16:creationId xmlns:a16="http://schemas.microsoft.com/office/drawing/2014/main" id="{B5FCAB56-6AE7-4B67-B5BC-639A83AFFA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2800" dirty="0">
              <a:latin typeface="Franklin Gothic Demi" panose="020B070302010202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4" name="Прямоугольник 25">
            <a:extLst>
              <a:ext uri="{FF2B5EF4-FFF2-40B4-BE49-F238E27FC236}">
                <a16:creationId xmlns:a16="http://schemas.microsoft.com/office/drawing/2014/main" id="{4873FEB1-37B5-19FE-837F-7B8559664112}"/>
              </a:ext>
            </a:extLst>
          </p:cNvPr>
          <p:cNvSpPr/>
          <p:nvPr/>
        </p:nvSpPr>
        <p:spPr>
          <a:xfrm>
            <a:off x="814388" y="549276"/>
            <a:ext cx="6906057" cy="575945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uk-UA" sz="2000" dirty="0">
                <a:latin typeface="+mj-lt"/>
              </a:rPr>
              <a:t>CTRL + C – копіювання об’єкту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uk-UA" sz="2000" dirty="0">
                <a:latin typeface="+mj-lt"/>
              </a:rPr>
              <a:t>CTRL + V – вставка об’єкту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uk-UA" sz="2000" dirty="0">
                <a:latin typeface="+mj-lt"/>
              </a:rPr>
              <a:t>CTRL + X – вирізання об’єкту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uk-UA" sz="2000" dirty="0">
                <a:latin typeface="+mj-lt"/>
              </a:rPr>
              <a:t>CTRL + Z – відміна останньої дії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uk-UA" sz="2000" dirty="0">
                <a:latin typeface="+mj-lt"/>
              </a:rPr>
              <a:t>CTRL + S – збереження презентації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uk-UA" sz="2000" dirty="0">
                <a:latin typeface="+mj-lt"/>
              </a:rPr>
              <a:t>CTRL + D – дублювання об’єкту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uk-UA" sz="2000" dirty="0">
                <a:latin typeface="+mj-lt"/>
              </a:rPr>
              <a:t>CTRL + G – групування виділених об’єктів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uk-UA" sz="2000" dirty="0">
                <a:latin typeface="+mj-lt"/>
              </a:rPr>
              <a:t>CTRL + SHIFT + G – розгрупування виділених об’єктів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uk-UA" sz="2000" dirty="0">
                <a:latin typeface="+mj-lt"/>
              </a:rPr>
              <a:t>CTRL + K – вставка гіперпосилання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uk-UA" sz="2000" dirty="0">
                <a:latin typeface="+mj-lt"/>
              </a:rPr>
              <a:t>CTRL + СТРІЛКА ВВЕРХ / ВНИЗ – переміщення слайду в послідовності</a:t>
            </a:r>
          </a:p>
        </p:txBody>
      </p:sp>
    </p:spTree>
    <p:extLst>
      <p:ext uri="{BB962C8B-B14F-4D97-AF65-F5344CB8AC3E}">
        <p14:creationId xmlns:p14="http://schemas.microsoft.com/office/powerpoint/2010/main" val="334913169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554B64-4457-450E-87F9-A52B139EA8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554B64-4457-450E-87F9-A52B139EA8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кутник 13">
            <a:extLst>
              <a:ext uri="{FF2B5EF4-FFF2-40B4-BE49-F238E27FC236}">
                <a16:creationId xmlns:a16="http://schemas.microsoft.com/office/drawing/2014/main" id="{A14FE9C0-B3BB-4470-824A-5C18DF861D3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uk-UA" sz="4800" dirty="0">
              <a:latin typeface="Franklin Gothic Heavy" panose="020B0903020102020204" pitchFamily="34" charset="0"/>
            </a:endParaRPr>
          </a:p>
        </p:txBody>
      </p:sp>
      <p:grpSp>
        <p:nvGrpSpPr>
          <p:cNvPr id="4" name="Групувати 3">
            <a:extLst>
              <a:ext uri="{FF2B5EF4-FFF2-40B4-BE49-F238E27FC236}">
                <a16:creationId xmlns:a16="http://schemas.microsoft.com/office/drawing/2014/main" id="{0E5D3BF8-F5B7-40A6-AC70-1FCE6BC0B2F0}"/>
              </a:ext>
            </a:extLst>
          </p:cNvPr>
          <p:cNvGrpSpPr/>
          <p:nvPr/>
        </p:nvGrpSpPr>
        <p:grpSpPr>
          <a:xfrm>
            <a:off x="814919" y="549275"/>
            <a:ext cx="2635929" cy="540000"/>
            <a:chOff x="4428714" y="405223"/>
            <a:chExt cx="2635929" cy="540000"/>
          </a:xfrm>
        </p:grpSpPr>
        <p:sp>
          <p:nvSpPr>
            <p:cNvPr id="2" name="Овал 1">
              <a:extLst>
                <a:ext uri="{FF2B5EF4-FFF2-40B4-BE49-F238E27FC236}">
                  <a16:creationId xmlns:a16="http://schemas.microsoft.com/office/drawing/2014/main" id="{28EA5771-CA78-48BE-8A17-314EEC0A0526}"/>
                </a:ext>
              </a:extLst>
            </p:cNvPr>
            <p:cNvSpPr/>
            <p:nvPr/>
          </p:nvSpPr>
          <p:spPr>
            <a:xfrm>
              <a:off x="6524643" y="405223"/>
              <a:ext cx="540000" cy="54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solidFill>
                    <a:srgbClr val="7B0000"/>
                  </a:solidFill>
                  <a:latin typeface="+mj-lt"/>
                </a:rPr>
                <a:t>4</a:t>
              </a:r>
            </a:p>
          </p:txBody>
        </p:sp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6648A949-B8CC-4A6D-94E5-2DFF39DC7ED4}"/>
                </a:ext>
              </a:extLst>
            </p:cNvPr>
            <p:cNvSpPr/>
            <p:nvPr/>
          </p:nvSpPr>
          <p:spPr>
            <a:xfrm>
              <a:off x="5826000" y="405223"/>
              <a:ext cx="540000" cy="540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>
                  <a:latin typeface="+mj-lt"/>
                </a:rPr>
                <a:t>3</a:t>
              </a:r>
              <a:endParaRPr lang="uk-UA" dirty="0">
                <a:latin typeface="+mj-lt"/>
              </a:endParaRPr>
            </a:p>
          </p:txBody>
        </p:sp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4B191F34-4590-4925-B7D1-9BBB0BC35E6A}"/>
                </a:ext>
              </a:extLst>
            </p:cNvPr>
            <p:cNvSpPr/>
            <p:nvPr/>
          </p:nvSpPr>
          <p:spPr>
            <a:xfrm>
              <a:off x="5127357" y="405223"/>
              <a:ext cx="540000" cy="540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2</a:t>
              </a:r>
            </a:p>
          </p:txBody>
        </p:sp>
        <p:sp>
          <p:nvSpPr>
            <p:cNvPr id="12" name="Овал 11">
              <a:extLst>
                <a:ext uri="{FF2B5EF4-FFF2-40B4-BE49-F238E27FC236}">
                  <a16:creationId xmlns:a16="http://schemas.microsoft.com/office/drawing/2014/main" id="{C33B1DF5-6D37-46EA-8E4C-6280EEF976E8}"/>
                </a:ext>
              </a:extLst>
            </p:cNvPr>
            <p:cNvSpPr/>
            <p:nvPr/>
          </p:nvSpPr>
          <p:spPr>
            <a:xfrm>
              <a:off x="4428714" y="405223"/>
              <a:ext cx="540000" cy="540000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1</a:t>
              </a:r>
            </a:p>
          </p:txBody>
        </p:sp>
      </p:grpSp>
      <p:sp>
        <p:nvSpPr>
          <p:cNvPr id="3" name="Текст 2">
            <a:extLst>
              <a:ext uri="{FF2B5EF4-FFF2-40B4-BE49-F238E27FC236}">
                <a16:creationId xmlns:a16="http://schemas.microsoft.com/office/drawing/2014/main" id="{62BDA759-9989-8E39-1064-E6FB4762FB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4919" y="2231923"/>
            <a:ext cx="10562167" cy="2113014"/>
          </a:xfrm>
        </p:spPr>
        <p:txBody>
          <a:bodyPr/>
          <a:lstStyle/>
          <a:p>
            <a:r>
              <a:rPr lang="ru-RU" dirty="0" err="1">
                <a:solidFill>
                  <a:schemeClr val="bg1"/>
                </a:solidFill>
              </a:rPr>
              <a:t>Анімації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C7A2AC60-1E62-E622-2FB8-603A1A204365}"/>
              </a:ext>
            </a:extLst>
          </p:cNvPr>
          <p:cNvSpPr/>
          <p:nvPr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889110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'єкт 4" hidden="1">
            <a:extLst>
              <a:ext uri="{FF2B5EF4-FFF2-40B4-BE49-F238E27FC236}">
                <a16:creationId xmlns:a16="http://schemas.microsoft.com/office/drawing/2014/main" id="{5D8ADA94-0022-47FD-B11E-9EE20982B8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Об'єкт 4" hidden="1">
                        <a:extLst>
                          <a:ext uri="{FF2B5EF4-FFF2-40B4-BE49-F238E27FC236}">
                            <a16:creationId xmlns:a16="http://schemas.microsoft.com/office/drawing/2014/main" id="{5D8ADA94-0022-47FD-B11E-9EE20982B8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кутник 6" hidden="1">
            <a:extLst>
              <a:ext uri="{FF2B5EF4-FFF2-40B4-BE49-F238E27FC236}">
                <a16:creationId xmlns:a16="http://schemas.microsoft.com/office/drawing/2014/main" id="{B5FCAB56-6AE7-4B67-B5BC-639A83AFFA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2800" dirty="0">
              <a:latin typeface="Franklin Gothic Demi" panose="020B070302010202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8" name="Прямоугольник 25">
            <a:extLst>
              <a:ext uri="{FF2B5EF4-FFF2-40B4-BE49-F238E27FC236}">
                <a16:creationId xmlns:a16="http://schemas.microsoft.com/office/drawing/2014/main" id="{8E673FB6-E0FE-4DF3-8E96-F1AA425DA93E}"/>
              </a:ext>
            </a:extLst>
          </p:cNvPr>
          <p:cNvSpPr/>
          <p:nvPr/>
        </p:nvSpPr>
        <p:spPr>
          <a:xfrm>
            <a:off x="5300518" y="2362807"/>
            <a:ext cx="4207164" cy="2132387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1200"/>
              </a:spcAft>
            </a:pPr>
            <a:r>
              <a:rPr lang="uk-UA" sz="3200" dirty="0">
                <a:latin typeface="+mj-lt"/>
              </a:rPr>
              <a:t>Щоб вони зробили презентацію красивою,</a:t>
            </a:r>
            <a:r>
              <a:rPr lang="en-US" sz="3200" dirty="0">
                <a:latin typeface="+mj-lt"/>
              </a:rPr>
              <a:t> </a:t>
            </a:r>
            <a:r>
              <a:rPr lang="uk-UA" sz="3200" dirty="0">
                <a:solidFill>
                  <a:schemeClr val="bg1"/>
                </a:solidFill>
                <a:latin typeface="+mj-lt"/>
              </a:rPr>
              <a:t>треба вміти їх використовувати</a:t>
            </a:r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3ED88575-2380-51E8-F77D-6228906CA691}"/>
              </a:ext>
            </a:extLst>
          </p:cNvPr>
          <p:cNvSpPr/>
          <p:nvPr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59B66CD-2A20-C8D3-4856-BDD9D57098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7629" y="1919965"/>
            <a:ext cx="3744371" cy="301807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704250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'єкт 4" hidden="1">
            <a:extLst>
              <a:ext uri="{FF2B5EF4-FFF2-40B4-BE49-F238E27FC236}">
                <a16:creationId xmlns:a16="http://schemas.microsoft.com/office/drawing/2014/main" id="{5D8ADA94-0022-47FD-B11E-9EE20982B8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Об'єкт 4" hidden="1">
                        <a:extLst>
                          <a:ext uri="{FF2B5EF4-FFF2-40B4-BE49-F238E27FC236}">
                            <a16:creationId xmlns:a16="http://schemas.microsoft.com/office/drawing/2014/main" id="{5D8ADA94-0022-47FD-B11E-9EE20982B8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кутник 6" hidden="1">
            <a:extLst>
              <a:ext uri="{FF2B5EF4-FFF2-40B4-BE49-F238E27FC236}">
                <a16:creationId xmlns:a16="http://schemas.microsoft.com/office/drawing/2014/main" id="{B5FCAB56-6AE7-4B67-B5BC-639A83AFFA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2800" dirty="0">
              <a:latin typeface="Franklin Gothic Demi" panose="020B070302010202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3ED88575-2380-51E8-F77D-6228906CA691}"/>
              </a:ext>
            </a:extLst>
          </p:cNvPr>
          <p:cNvSpPr/>
          <p:nvPr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59B66CD-2A20-C8D3-4856-BDD9D57098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7629" y="1919965"/>
            <a:ext cx="3744371" cy="301807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72547542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'єкт 4" hidden="1">
            <a:extLst>
              <a:ext uri="{FF2B5EF4-FFF2-40B4-BE49-F238E27FC236}">
                <a16:creationId xmlns:a16="http://schemas.microsoft.com/office/drawing/2014/main" id="{5D8ADA94-0022-47FD-B11E-9EE20982B8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Об'єкт 4" hidden="1">
                        <a:extLst>
                          <a:ext uri="{FF2B5EF4-FFF2-40B4-BE49-F238E27FC236}">
                            <a16:creationId xmlns:a16="http://schemas.microsoft.com/office/drawing/2014/main" id="{5D8ADA94-0022-47FD-B11E-9EE20982B8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кутник 6" hidden="1">
            <a:extLst>
              <a:ext uri="{FF2B5EF4-FFF2-40B4-BE49-F238E27FC236}">
                <a16:creationId xmlns:a16="http://schemas.microsoft.com/office/drawing/2014/main" id="{B5FCAB56-6AE7-4B67-B5BC-639A83AFFA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2800" dirty="0">
              <a:latin typeface="Franklin Gothic Demi" panose="020B070302010202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8" name="Прямоугольник 25">
            <a:extLst>
              <a:ext uri="{FF2B5EF4-FFF2-40B4-BE49-F238E27FC236}">
                <a16:creationId xmlns:a16="http://schemas.microsoft.com/office/drawing/2014/main" id="{8E673FB6-E0FE-4DF3-8E96-F1AA425DA93E}"/>
              </a:ext>
            </a:extLst>
          </p:cNvPr>
          <p:cNvSpPr/>
          <p:nvPr/>
        </p:nvSpPr>
        <p:spPr>
          <a:xfrm>
            <a:off x="5300518" y="2362807"/>
            <a:ext cx="4207164" cy="2132387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1200"/>
              </a:spcAft>
            </a:pPr>
            <a:r>
              <a:rPr lang="uk-UA" sz="3200" dirty="0">
                <a:latin typeface="+mj-lt"/>
              </a:rPr>
              <a:t>Щоб вони зробили презентацію красивою,</a:t>
            </a:r>
            <a:r>
              <a:rPr lang="en-US" sz="3200" dirty="0">
                <a:latin typeface="+mj-lt"/>
              </a:rPr>
              <a:t> </a:t>
            </a:r>
            <a:r>
              <a:rPr lang="uk-UA" sz="3200" dirty="0">
                <a:latin typeface="+mj-lt"/>
              </a:rPr>
              <a:t>треба вміти їх використовувати</a:t>
            </a:r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3ED88575-2380-51E8-F77D-6228906CA691}"/>
              </a:ext>
            </a:extLst>
          </p:cNvPr>
          <p:cNvSpPr/>
          <p:nvPr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59B66CD-2A20-C8D3-4856-BDD9D57098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7629" y="1919965"/>
            <a:ext cx="3744371" cy="301807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2547377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554B64-4457-450E-87F9-A52B139EA8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554B64-4457-450E-87F9-A52B139EA8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1074" name="Picture 2" descr="Дякую за увагу! ~ Gif-анимация (Надписи) ~ Beesona.Ru">
            <a:extLst>
              <a:ext uri="{FF2B5EF4-FFF2-40B4-BE49-F238E27FC236}">
                <a16:creationId xmlns:a16="http://schemas.microsoft.com/office/drawing/2014/main" id="{503F1685-1A93-408D-862F-C5BA19A1EF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1874" y="758757"/>
            <a:ext cx="5346666" cy="5340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068138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prestige"/>
        <p:sndAc>
          <p:stSnd>
            <p:snd r:embed="rId3" name="chimes.wav"/>
          </p:stSnd>
        </p:sndAc>
      </p:transition>
    </mc:Choice>
    <mc:Fallback xmlns="">
      <p:transition spd="slow">
        <p:fade/>
        <p:sndAc>
          <p:stSnd>
            <p:snd r:embed="rId7" name="chimes.wav"/>
          </p:stSnd>
        </p:sndAc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'єкт 4" hidden="1">
            <a:extLst>
              <a:ext uri="{FF2B5EF4-FFF2-40B4-BE49-F238E27FC236}">
                <a16:creationId xmlns:a16="http://schemas.microsoft.com/office/drawing/2014/main" id="{5D8ADA94-0022-47FD-B11E-9EE20982B8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Об'єкт 4" hidden="1">
                        <a:extLst>
                          <a:ext uri="{FF2B5EF4-FFF2-40B4-BE49-F238E27FC236}">
                            <a16:creationId xmlns:a16="http://schemas.microsoft.com/office/drawing/2014/main" id="{5D8ADA94-0022-47FD-B11E-9EE20982B8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кутник 6" hidden="1">
            <a:extLst>
              <a:ext uri="{FF2B5EF4-FFF2-40B4-BE49-F238E27FC236}">
                <a16:creationId xmlns:a16="http://schemas.microsoft.com/office/drawing/2014/main" id="{B5FCAB56-6AE7-4B67-B5BC-639A83AFFA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2800" dirty="0">
              <a:latin typeface="Franklin Gothic Demi" panose="020B070302010202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6" name="Прямоугольник 25">
            <a:extLst>
              <a:ext uri="{FF2B5EF4-FFF2-40B4-BE49-F238E27FC236}">
                <a16:creationId xmlns:a16="http://schemas.microsoft.com/office/drawing/2014/main" id="{5E4E1394-FE05-436E-8398-6C8DAA8FBAD1}"/>
              </a:ext>
            </a:extLst>
          </p:cNvPr>
          <p:cNvSpPr/>
          <p:nvPr/>
        </p:nvSpPr>
        <p:spPr>
          <a:xfrm>
            <a:off x="814388" y="549275"/>
            <a:ext cx="6906057" cy="5915775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US" sz="2000" dirty="0">
                <a:latin typeface="+mj-lt"/>
              </a:rPr>
              <a:t>CTRL + </a:t>
            </a:r>
            <a:r>
              <a:rPr lang="uk-UA" sz="2000" dirty="0" err="1">
                <a:latin typeface="+mj-lt"/>
              </a:rPr>
              <a:t>перетягнення</a:t>
            </a:r>
            <a:r>
              <a:rPr lang="uk-UA" sz="2000" dirty="0">
                <a:latin typeface="+mj-lt"/>
              </a:rPr>
              <a:t> курсору – копіювання об’єкту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US" sz="2000" dirty="0">
                <a:latin typeface="+mj-lt"/>
              </a:rPr>
              <a:t>CTRL + SHIFT + </a:t>
            </a:r>
            <a:r>
              <a:rPr lang="uk-UA" sz="2000" dirty="0" err="1">
                <a:latin typeface="+mj-lt"/>
              </a:rPr>
              <a:t>перетягнення</a:t>
            </a:r>
            <a:r>
              <a:rPr lang="uk-UA" sz="2000" dirty="0">
                <a:latin typeface="+mj-lt"/>
              </a:rPr>
              <a:t> курсору – копіювання об’єкту чітко вертикально або чітко горизонтально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US" sz="2000" dirty="0">
                <a:latin typeface="+mj-lt"/>
              </a:rPr>
              <a:t>CTRL + ALT + </a:t>
            </a:r>
            <a:r>
              <a:rPr lang="uk-UA" sz="2000" dirty="0" err="1">
                <a:latin typeface="+mj-lt"/>
              </a:rPr>
              <a:t>перетягнення</a:t>
            </a:r>
            <a:r>
              <a:rPr lang="uk-UA" sz="2000" dirty="0">
                <a:latin typeface="+mj-lt"/>
              </a:rPr>
              <a:t> курсору – плавне копіювання об’єкту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US" sz="2000" dirty="0">
                <a:latin typeface="+mj-lt"/>
              </a:rPr>
              <a:t>CTRL + SHIFT + ALT + </a:t>
            </a:r>
            <a:r>
              <a:rPr lang="uk-UA" sz="2000" dirty="0" err="1">
                <a:latin typeface="+mj-lt"/>
              </a:rPr>
              <a:t>перетягнення</a:t>
            </a:r>
            <a:r>
              <a:rPr lang="uk-UA" sz="2000" dirty="0">
                <a:latin typeface="+mj-lt"/>
              </a:rPr>
              <a:t> курсору – плавне копіювання об’єкту чітко вертикально або чітко горизонтально</a:t>
            </a:r>
          </a:p>
        </p:txBody>
      </p:sp>
    </p:spTree>
    <p:extLst>
      <p:ext uri="{BB962C8B-B14F-4D97-AF65-F5344CB8AC3E}">
        <p14:creationId xmlns:p14="http://schemas.microsoft.com/office/powerpoint/2010/main" val="19876677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'єкт 4" hidden="1">
            <a:extLst>
              <a:ext uri="{FF2B5EF4-FFF2-40B4-BE49-F238E27FC236}">
                <a16:creationId xmlns:a16="http://schemas.microsoft.com/office/drawing/2014/main" id="{5D8ADA94-0022-47FD-B11E-9EE20982B8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Об'єкт 4" hidden="1">
                        <a:extLst>
                          <a:ext uri="{FF2B5EF4-FFF2-40B4-BE49-F238E27FC236}">
                            <a16:creationId xmlns:a16="http://schemas.microsoft.com/office/drawing/2014/main" id="{5D8ADA94-0022-47FD-B11E-9EE20982B8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кутник 6" hidden="1">
            <a:extLst>
              <a:ext uri="{FF2B5EF4-FFF2-40B4-BE49-F238E27FC236}">
                <a16:creationId xmlns:a16="http://schemas.microsoft.com/office/drawing/2014/main" id="{B5FCAB56-6AE7-4B67-B5BC-639A83AFFA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2800" dirty="0">
              <a:latin typeface="Franklin Gothic Demi" panose="020B0703020102020204" pitchFamily="34" charset="0"/>
              <a:sym typeface="Franklin Gothic Demi" panose="020B0703020102020204" pitchFamily="34" charset="0"/>
            </a:endParaRPr>
          </a:p>
        </p:txBody>
      </p:sp>
      <p:sp>
        <p:nvSpPr>
          <p:cNvPr id="6" name="Прямоугольник 25">
            <a:extLst>
              <a:ext uri="{FF2B5EF4-FFF2-40B4-BE49-F238E27FC236}">
                <a16:creationId xmlns:a16="http://schemas.microsoft.com/office/drawing/2014/main" id="{5E4E1394-FE05-436E-8398-6C8DAA8FBAD1}"/>
              </a:ext>
            </a:extLst>
          </p:cNvPr>
          <p:cNvSpPr/>
          <p:nvPr/>
        </p:nvSpPr>
        <p:spPr>
          <a:xfrm>
            <a:off x="814388" y="549276"/>
            <a:ext cx="6906057" cy="575945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US" sz="2000">
                <a:latin typeface="+mj-lt"/>
              </a:rPr>
              <a:t>CTRL + B – </a:t>
            </a:r>
            <a:r>
              <a:rPr lang="uk-UA" sz="2000">
                <a:latin typeface="+mj-lt"/>
              </a:rPr>
              <a:t>жирний текст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US" sz="2000">
                <a:latin typeface="+mj-lt"/>
              </a:rPr>
              <a:t>CTRL + I – </a:t>
            </a:r>
            <a:r>
              <a:rPr lang="uk-UA" sz="2000">
                <a:latin typeface="+mj-lt"/>
              </a:rPr>
              <a:t>курсив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US" sz="2000">
                <a:latin typeface="+mj-lt"/>
              </a:rPr>
              <a:t>CTRL + U – </a:t>
            </a:r>
            <a:r>
              <a:rPr lang="uk-UA" sz="2000">
                <a:latin typeface="+mj-lt"/>
              </a:rPr>
              <a:t>підкреслений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US" sz="2000">
                <a:latin typeface="+mj-lt"/>
              </a:rPr>
              <a:t>CTRL + </a:t>
            </a:r>
            <a:r>
              <a:rPr lang="uk-UA" sz="2000">
                <a:latin typeface="+mj-lt"/>
              </a:rPr>
              <a:t>СТРІЛОЧКИ – переміщення в тексті не по буквах, а по словах / абзацах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US" sz="2000">
                <a:latin typeface="+mj-lt"/>
              </a:rPr>
              <a:t>SHIFT + </a:t>
            </a:r>
            <a:r>
              <a:rPr lang="uk-UA" sz="2000">
                <a:latin typeface="+mj-lt"/>
              </a:rPr>
              <a:t>СТРІЛОЧКИ – виділення слів / абзаців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US" sz="2000">
                <a:latin typeface="+mj-lt"/>
              </a:rPr>
              <a:t>CTRL + SHIFT + </a:t>
            </a:r>
            <a:r>
              <a:rPr lang="uk-UA" sz="2000">
                <a:latin typeface="+mj-lt"/>
              </a:rPr>
              <a:t>СТРІЛОЧКИ – виділення слів / абзаців повністю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US" sz="2000">
                <a:latin typeface="+mj-lt"/>
              </a:rPr>
              <a:t>CTRL + A – </a:t>
            </a:r>
            <a:r>
              <a:rPr lang="uk-UA" sz="2000">
                <a:latin typeface="+mj-lt"/>
              </a:rPr>
              <a:t>вибрати все</a:t>
            </a:r>
            <a:endParaRPr lang="en-US" sz="2000">
              <a:latin typeface="+mj-lt"/>
            </a:endParaRP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US" sz="2000">
                <a:latin typeface="+mj-lt"/>
              </a:rPr>
              <a:t>CTRL + SHIFT + C – </a:t>
            </a:r>
            <a:r>
              <a:rPr lang="uk-UA" sz="2000">
                <a:latin typeface="+mj-lt"/>
              </a:rPr>
              <a:t>скопіювати форматування</a:t>
            </a:r>
            <a:endParaRPr lang="en-US" sz="2000">
              <a:latin typeface="+mj-lt"/>
            </a:endParaRP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US" sz="2000">
                <a:latin typeface="+mj-lt"/>
              </a:rPr>
              <a:t>CTRL + SHIFT + V –</a:t>
            </a:r>
            <a:r>
              <a:rPr lang="uk-UA" sz="2000">
                <a:latin typeface="+mj-lt"/>
              </a:rPr>
              <a:t> вставити форматування</a:t>
            </a:r>
            <a:endParaRPr lang="uk-UA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875772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554B64-4457-450E-87F9-A52B139EA8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76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554B64-4457-450E-87F9-A52B139EA8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кутник 13">
            <a:extLst>
              <a:ext uri="{FF2B5EF4-FFF2-40B4-BE49-F238E27FC236}">
                <a16:creationId xmlns:a16="http://schemas.microsoft.com/office/drawing/2014/main" id="{A14FE9C0-B3BB-4470-824A-5C18DF861D3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uk-UA" sz="4800" dirty="0">
              <a:latin typeface="Franklin Gothic Heavy" panose="020B0903020102020204" pitchFamily="34" charset="0"/>
            </a:endParaRPr>
          </a:p>
        </p:txBody>
      </p:sp>
      <p:grpSp>
        <p:nvGrpSpPr>
          <p:cNvPr id="4" name="Групувати 3">
            <a:extLst>
              <a:ext uri="{FF2B5EF4-FFF2-40B4-BE49-F238E27FC236}">
                <a16:creationId xmlns:a16="http://schemas.microsoft.com/office/drawing/2014/main" id="{0E5D3BF8-F5B7-40A6-AC70-1FCE6BC0B2F0}"/>
              </a:ext>
            </a:extLst>
          </p:cNvPr>
          <p:cNvGrpSpPr/>
          <p:nvPr/>
        </p:nvGrpSpPr>
        <p:grpSpPr>
          <a:xfrm>
            <a:off x="814919" y="549275"/>
            <a:ext cx="4033215" cy="540000"/>
            <a:chOff x="4428714" y="405223"/>
            <a:chExt cx="4033215" cy="540000"/>
          </a:xfrm>
        </p:grpSpPr>
        <p:sp>
          <p:nvSpPr>
            <p:cNvPr id="2" name="Овал 1">
              <a:extLst>
                <a:ext uri="{FF2B5EF4-FFF2-40B4-BE49-F238E27FC236}">
                  <a16:creationId xmlns:a16="http://schemas.microsoft.com/office/drawing/2014/main" id="{28EA5771-CA78-48BE-8A17-314EEC0A0526}"/>
                </a:ext>
              </a:extLst>
            </p:cNvPr>
            <p:cNvSpPr/>
            <p:nvPr/>
          </p:nvSpPr>
          <p:spPr>
            <a:xfrm>
              <a:off x="6524643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4</a:t>
              </a:r>
            </a:p>
          </p:txBody>
        </p:sp>
        <p:sp>
          <p:nvSpPr>
            <p:cNvPr id="7" name="Овал 6">
              <a:extLst>
                <a:ext uri="{FF2B5EF4-FFF2-40B4-BE49-F238E27FC236}">
                  <a16:creationId xmlns:a16="http://schemas.microsoft.com/office/drawing/2014/main" id="{EE04EC6C-E813-405C-85E0-FCBDC316F647}"/>
                </a:ext>
              </a:extLst>
            </p:cNvPr>
            <p:cNvSpPr/>
            <p:nvPr/>
          </p:nvSpPr>
          <p:spPr>
            <a:xfrm>
              <a:off x="7223286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5</a:t>
              </a:r>
            </a:p>
          </p:txBody>
        </p:sp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6648A949-B8CC-4A6D-94E5-2DFF39DC7ED4}"/>
                </a:ext>
              </a:extLst>
            </p:cNvPr>
            <p:cNvSpPr/>
            <p:nvPr/>
          </p:nvSpPr>
          <p:spPr>
            <a:xfrm>
              <a:off x="5826000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3</a:t>
              </a:r>
            </a:p>
          </p:txBody>
        </p:sp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4B191F34-4590-4925-B7D1-9BBB0BC35E6A}"/>
                </a:ext>
              </a:extLst>
            </p:cNvPr>
            <p:cNvSpPr/>
            <p:nvPr/>
          </p:nvSpPr>
          <p:spPr>
            <a:xfrm>
              <a:off x="5127357" y="405223"/>
              <a:ext cx="540000" cy="540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2</a:t>
              </a:r>
            </a:p>
          </p:txBody>
        </p:sp>
        <p:sp>
          <p:nvSpPr>
            <p:cNvPr id="12" name="Овал 11">
              <a:extLst>
                <a:ext uri="{FF2B5EF4-FFF2-40B4-BE49-F238E27FC236}">
                  <a16:creationId xmlns:a16="http://schemas.microsoft.com/office/drawing/2014/main" id="{C33B1DF5-6D37-46EA-8E4C-6280EEF976E8}"/>
                </a:ext>
              </a:extLst>
            </p:cNvPr>
            <p:cNvSpPr/>
            <p:nvPr/>
          </p:nvSpPr>
          <p:spPr>
            <a:xfrm>
              <a:off x="4428714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1</a:t>
              </a:r>
            </a:p>
          </p:txBody>
        </p:sp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E9AF2337-8BDF-4A4D-8773-C8EBDD38FA86}"/>
                </a:ext>
              </a:extLst>
            </p:cNvPr>
            <p:cNvSpPr/>
            <p:nvPr/>
          </p:nvSpPr>
          <p:spPr>
            <a:xfrm>
              <a:off x="7921929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6</a:t>
              </a:r>
            </a:p>
          </p:txBody>
        </p:sp>
      </p:grpSp>
      <p:sp>
        <p:nvSpPr>
          <p:cNvPr id="3" name="Текст 2">
            <a:extLst>
              <a:ext uri="{FF2B5EF4-FFF2-40B4-BE49-F238E27FC236}">
                <a16:creationId xmlns:a16="http://schemas.microsoft.com/office/drawing/2014/main" id="{62BDA759-9989-8E39-1064-E6FB4762FB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4919" y="2231923"/>
            <a:ext cx="10562167" cy="2113014"/>
          </a:xfrm>
        </p:spPr>
        <p:txBody>
          <a:bodyPr/>
          <a:lstStyle/>
          <a:p>
            <a:r>
              <a:rPr lang="uk-UA" dirty="0">
                <a:solidFill>
                  <a:schemeClr val="bg1"/>
                </a:solidFill>
              </a:rPr>
              <a:t>Панель швидкого доступу</a:t>
            </a: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C7A2AC60-1E62-E622-2FB8-603A1A204365}"/>
              </a:ext>
            </a:extLst>
          </p:cNvPr>
          <p:cNvSpPr/>
          <p:nvPr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90241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'єкт 4" hidden="1">
            <a:extLst>
              <a:ext uri="{FF2B5EF4-FFF2-40B4-BE49-F238E27FC236}">
                <a16:creationId xmlns:a16="http://schemas.microsoft.com/office/drawing/2014/main" id="{5D8ADA94-0022-47FD-B11E-9EE20982B8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Об'єкт 4" hidden="1">
                        <a:extLst>
                          <a:ext uri="{FF2B5EF4-FFF2-40B4-BE49-F238E27FC236}">
                            <a16:creationId xmlns:a16="http://schemas.microsoft.com/office/drawing/2014/main" id="{5D8ADA94-0022-47FD-B11E-9EE20982B8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кутник 6" hidden="1">
            <a:extLst>
              <a:ext uri="{FF2B5EF4-FFF2-40B4-BE49-F238E27FC236}">
                <a16:creationId xmlns:a16="http://schemas.microsoft.com/office/drawing/2014/main" id="{B5FCAB56-6AE7-4B67-B5BC-639A83AFFA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2800" dirty="0">
              <a:latin typeface="Franklin Gothic Demi" panose="020B0703020102020204" pitchFamily="34" charset="0"/>
              <a:sym typeface="Franklin Gothic Demi" panose="020B07030201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DB2D7C5-5AA1-4AF4-9CF0-C987AE5474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27827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Прямоугольник 25">
            <a:extLst>
              <a:ext uri="{FF2B5EF4-FFF2-40B4-BE49-F238E27FC236}">
                <a16:creationId xmlns:a16="http://schemas.microsoft.com/office/drawing/2014/main" id="{8E673FB6-E0FE-4DF3-8E96-F1AA425DA93E}"/>
              </a:ext>
            </a:extLst>
          </p:cNvPr>
          <p:cNvSpPr/>
          <p:nvPr/>
        </p:nvSpPr>
        <p:spPr>
          <a:xfrm>
            <a:off x="468140" y="3811213"/>
            <a:ext cx="11255720" cy="2132387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>
              <a:spcAft>
                <a:spcPts val="1200"/>
              </a:spcAft>
            </a:pPr>
            <a:r>
              <a:rPr lang="uk-UA" sz="4000" dirty="0">
                <a:latin typeface="+mj-lt"/>
              </a:rPr>
              <a:t>Пришвидшить вашу роботу з презентацією в </a:t>
            </a:r>
            <a:r>
              <a:rPr lang="uk-UA" sz="4000" dirty="0">
                <a:solidFill>
                  <a:schemeClr val="accent1"/>
                </a:solidFill>
                <a:latin typeface="+mj-lt"/>
              </a:rPr>
              <a:t>мільйон разів</a:t>
            </a:r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01125A7D-0A3C-506E-94D3-987E0C2EBD8F}"/>
              </a:ext>
            </a:extLst>
          </p:cNvPr>
          <p:cNvSpPr/>
          <p:nvPr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64724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554B64-4457-450E-87F9-A52B139EA8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554B64-4457-450E-87F9-A52B139EA8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кутник 13">
            <a:extLst>
              <a:ext uri="{FF2B5EF4-FFF2-40B4-BE49-F238E27FC236}">
                <a16:creationId xmlns:a16="http://schemas.microsoft.com/office/drawing/2014/main" id="{A14FE9C0-B3BB-4470-824A-5C18DF861D3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uk-UA" sz="4800" dirty="0">
              <a:latin typeface="Franklin Gothic Heavy" panose="020B0903020102020204" pitchFamily="34" charset="0"/>
            </a:endParaRPr>
          </a:p>
        </p:txBody>
      </p:sp>
      <p:grpSp>
        <p:nvGrpSpPr>
          <p:cNvPr id="4" name="Групувати 3">
            <a:extLst>
              <a:ext uri="{FF2B5EF4-FFF2-40B4-BE49-F238E27FC236}">
                <a16:creationId xmlns:a16="http://schemas.microsoft.com/office/drawing/2014/main" id="{0E5D3BF8-F5B7-40A6-AC70-1FCE6BC0B2F0}"/>
              </a:ext>
            </a:extLst>
          </p:cNvPr>
          <p:cNvGrpSpPr/>
          <p:nvPr/>
        </p:nvGrpSpPr>
        <p:grpSpPr>
          <a:xfrm>
            <a:off x="814919" y="549275"/>
            <a:ext cx="4033215" cy="540000"/>
            <a:chOff x="4428714" y="405223"/>
            <a:chExt cx="4033215" cy="540000"/>
          </a:xfrm>
        </p:grpSpPr>
        <p:sp>
          <p:nvSpPr>
            <p:cNvPr id="2" name="Овал 1">
              <a:extLst>
                <a:ext uri="{FF2B5EF4-FFF2-40B4-BE49-F238E27FC236}">
                  <a16:creationId xmlns:a16="http://schemas.microsoft.com/office/drawing/2014/main" id="{28EA5771-CA78-48BE-8A17-314EEC0A0526}"/>
                </a:ext>
              </a:extLst>
            </p:cNvPr>
            <p:cNvSpPr/>
            <p:nvPr/>
          </p:nvSpPr>
          <p:spPr>
            <a:xfrm>
              <a:off x="6524643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4</a:t>
              </a:r>
            </a:p>
          </p:txBody>
        </p:sp>
        <p:sp>
          <p:nvSpPr>
            <p:cNvPr id="7" name="Овал 6">
              <a:extLst>
                <a:ext uri="{FF2B5EF4-FFF2-40B4-BE49-F238E27FC236}">
                  <a16:creationId xmlns:a16="http://schemas.microsoft.com/office/drawing/2014/main" id="{EE04EC6C-E813-405C-85E0-FCBDC316F647}"/>
                </a:ext>
              </a:extLst>
            </p:cNvPr>
            <p:cNvSpPr/>
            <p:nvPr/>
          </p:nvSpPr>
          <p:spPr>
            <a:xfrm>
              <a:off x="7223286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5</a:t>
              </a:r>
            </a:p>
          </p:txBody>
        </p:sp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6648A949-B8CC-4A6D-94E5-2DFF39DC7ED4}"/>
                </a:ext>
              </a:extLst>
            </p:cNvPr>
            <p:cNvSpPr/>
            <p:nvPr/>
          </p:nvSpPr>
          <p:spPr>
            <a:xfrm>
              <a:off x="5826000" y="405223"/>
              <a:ext cx="540000" cy="540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3</a:t>
              </a:r>
            </a:p>
          </p:txBody>
        </p:sp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4B191F34-4590-4925-B7D1-9BBB0BC35E6A}"/>
                </a:ext>
              </a:extLst>
            </p:cNvPr>
            <p:cNvSpPr/>
            <p:nvPr/>
          </p:nvSpPr>
          <p:spPr>
            <a:xfrm>
              <a:off x="5127357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2</a:t>
              </a:r>
            </a:p>
          </p:txBody>
        </p:sp>
        <p:sp>
          <p:nvSpPr>
            <p:cNvPr id="12" name="Овал 11">
              <a:extLst>
                <a:ext uri="{FF2B5EF4-FFF2-40B4-BE49-F238E27FC236}">
                  <a16:creationId xmlns:a16="http://schemas.microsoft.com/office/drawing/2014/main" id="{C33B1DF5-6D37-46EA-8E4C-6280EEF976E8}"/>
                </a:ext>
              </a:extLst>
            </p:cNvPr>
            <p:cNvSpPr/>
            <p:nvPr/>
          </p:nvSpPr>
          <p:spPr>
            <a:xfrm>
              <a:off x="4428714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1</a:t>
              </a:r>
            </a:p>
          </p:txBody>
        </p:sp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E9AF2337-8BDF-4A4D-8773-C8EBDD38FA86}"/>
                </a:ext>
              </a:extLst>
            </p:cNvPr>
            <p:cNvSpPr/>
            <p:nvPr/>
          </p:nvSpPr>
          <p:spPr>
            <a:xfrm>
              <a:off x="7921929" y="405223"/>
              <a:ext cx="540000" cy="5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uk-UA" dirty="0">
                  <a:latin typeface="+mj-lt"/>
                </a:rPr>
                <a:t>6</a:t>
              </a:r>
            </a:p>
          </p:txBody>
        </p:sp>
      </p:grpSp>
      <p:sp>
        <p:nvSpPr>
          <p:cNvPr id="3" name="Текст 2">
            <a:extLst>
              <a:ext uri="{FF2B5EF4-FFF2-40B4-BE49-F238E27FC236}">
                <a16:creationId xmlns:a16="http://schemas.microsoft.com/office/drawing/2014/main" id="{62BDA759-9989-8E39-1064-E6FB4762FB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4919" y="2231923"/>
            <a:ext cx="10562167" cy="2113014"/>
          </a:xfrm>
        </p:spPr>
        <p:txBody>
          <a:bodyPr/>
          <a:lstStyle/>
          <a:p>
            <a:r>
              <a:rPr lang="uk-UA" dirty="0">
                <a:solidFill>
                  <a:schemeClr val="bg1"/>
                </a:solidFill>
              </a:rPr>
              <a:t>Зразки слайдів і напрямні</a:t>
            </a: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C7A2AC60-1E62-E622-2FB8-603A1A204365}"/>
              </a:ext>
            </a:extLst>
          </p:cNvPr>
          <p:cNvSpPr/>
          <p:nvPr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62161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.jOLfUYSHUPgJyF_YP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BlyflVVidlXWabKThP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BlyflVVidlXWabKThP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BlyflVVidlXWabKThP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BlyflVVidlXWabKThPZ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BlyflVVidlXWabKThP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BlyflVVidlXWabKThP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BlyflVVidlXWabKThP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BlyflVVidlXWabKThPZ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BlyflVVidlXWabKThPZ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BlyflVVidlXWabKThPZ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FU5rEGIW5eartF.YjcQ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tZR_0mf3VFJVAgqijrr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HtOZluAf7_q7idd_cAl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nXSexgdmFLz5kEPelP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YnRdVPDTSr6rHn9VqnE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14XCqqNUed3Wpzn9sZC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B99xW32DCZCsTFxoMxL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cd2E_kol43407ffsfBi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x7nAjkaHKVnf8oJAYJ8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E3NGC3Po5roaw7dj94v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whFR5EQfmW7_qo6Qea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XssBEUoUlteIbQqoAp7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kGUoMs_769X.q9N1QSg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Rv8v6TgHvWhCqZWRaS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FU5rEGIW5eartF.YjcQ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D1FqEq6HbCV.5qyOymq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5saQ8RViDOfnJxtpspA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9Xt.EG3F8W2jB5.lGeo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tR7Ux_7khHGYeKLH0N7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TMiQqI0h1QbUO9RK_hv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E0yYJdSk5PYAed3zvJU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wmMz_U8M5bxeaTo3ZWH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_VBC.FboCYm9sk5xjx6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BFoFCBbPzU2lTB1pzMb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HVxGO.Ndp95UOK7sDxf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lVy8MrtHZ22tKOETv4l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WDj.hxroOgg8KhTKwux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bz_RzKF_NjWmGgci01g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FU5rEGIW5eartF.YjcQ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D1FqEq6HbCV.5qyOymq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wmMz_U8M5bxeaTo3ZWH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5saQ8RViDOfnJxtpsp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kUBKIIKtnJTTQs_OUph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9Xt.EG3F8W2jB5.lGeo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_VBC.FboCYm9sk5xjx6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E0yYJdSk5PYAed3zvJU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TMiQqI0h1QbUO9RK_hv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tR7Ux_7khHGYeKLH0N7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BFoFCBbPzU2lTB1pzMb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lVy8MrtHZ22tKOETv4l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HVxGO.Ndp95UOK7sDxf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WDj.hxroOgg8KhTKwux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bz_RzKF_NjWmGgci01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FU5rEGIW5eartF.YjcQ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BlyflVVidlXWabKThPZ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BlyflVVidlXWabKThPZ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BlyflVVidlXWabKThPZ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VDNG">
      <a:dk1>
        <a:sysClr val="windowText" lastClr="000000"/>
      </a:dk1>
      <a:lt1>
        <a:sysClr val="window" lastClr="FFFFFF"/>
      </a:lt1>
      <a:dk2>
        <a:srgbClr val="031912"/>
      </a:dk2>
      <a:lt2>
        <a:srgbClr val="0F3E24"/>
      </a:lt2>
      <a:accent1>
        <a:srgbClr val="56683B"/>
      </a:accent1>
      <a:accent2>
        <a:srgbClr val="3D301E"/>
      </a:accent2>
      <a:accent3>
        <a:srgbClr val="797162"/>
      </a:accent3>
      <a:accent4>
        <a:srgbClr val="A7A16E"/>
      </a:accent4>
      <a:accent5>
        <a:srgbClr val="C67A2E"/>
      </a:accent5>
      <a:accent6>
        <a:srgbClr val="DDCCB6"/>
      </a:accent6>
      <a:hlink>
        <a:srgbClr val="CA2110"/>
      </a:hlink>
      <a:folHlink>
        <a:srgbClr val="EFB400"/>
      </a:folHlink>
    </a:clrScheme>
    <a:fontScheme name="Навчання">
      <a:majorFont>
        <a:latin typeface="Ermilov"/>
        <a:ea typeface=""/>
        <a:cs typeface="Arial"/>
      </a:majorFont>
      <a:minorFont>
        <a:latin typeface="Roboto"/>
        <a:ea typeface=""/>
        <a:cs typeface="Arial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234</TotalTime>
  <Words>974</Words>
  <Application>Microsoft Office PowerPoint</Application>
  <PresentationFormat>Широкий екран</PresentationFormat>
  <Paragraphs>232</Paragraphs>
  <Slides>44</Slides>
  <Notes>4</Notes>
  <HiddenSlides>0</HiddenSlides>
  <MMClips>0</MMClips>
  <ScaleCrop>false</ScaleCrop>
  <HeadingPairs>
    <vt:vector size="8" baseType="variant">
      <vt:variant>
        <vt:lpstr>Використані шрифти</vt:lpstr>
      </vt:variant>
      <vt:variant>
        <vt:i4>10</vt:i4>
      </vt:variant>
      <vt:variant>
        <vt:lpstr>Тема</vt:lpstr>
      </vt:variant>
      <vt:variant>
        <vt:i4>1</vt:i4>
      </vt:variant>
      <vt:variant>
        <vt:lpstr>Вбудовані сервери OLE</vt:lpstr>
      </vt:variant>
      <vt:variant>
        <vt:i4>1</vt:i4>
      </vt:variant>
      <vt:variant>
        <vt:lpstr>Заголовки слайдів</vt:lpstr>
      </vt:variant>
      <vt:variant>
        <vt:i4>44</vt:i4>
      </vt:variant>
    </vt:vector>
  </HeadingPairs>
  <TitlesOfParts>
    <vt:vector size="56" baseType="lpstr">
      <vt:lpstr>Arial</vt:lpstr>
      <vt:lpstr>Calibri</vt:lpstr>
      <vt:lpstr>Courier New</vt:lpstr>
      <vt:lpstr>Ermilov</vt:lpstr>
      <vt:lpstr>e-Ukraine Head LOGO</vt:lpstr>
      <vt:lpstr>Franklin Gothic Demi</vt:lpstr>
      <vt:lpstr>Franklin Gothic Heavy</vt:lpstr>
      <vt:lpstr>Roboto</vt:lpstr>
      <vt:lpstr>Slime Yogurt Demo</vt:lpstr>
      <vt:lpstr>Wingdings</vt:lpstr>
      <vt:lpstr>Тема Office</vt:lpstr>
      <vt:lpstr>think-cell Slide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Yaroslav Zhydyk</dc:creator>
  <cp:lastModifiedBy>Yaroslav Zhydyk</cp:lastModifiedBy>
  <cp:revision>1</cp:revision>
  <dcterms:created xsi:type="dcterms:W3CDTF">2022-10-29T10:41:43Z</dcterms:created>
  <dcterms:modified xsi:type="dcterms:W3CDTF">2023-09-09T08:18:49Z</dcterms:modified>
</cp:coreProperties>
</file>